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 id="2147483649" r:id="rId2"/>
  </p:sldMasterIdLst>
  <p:notesMasterIdLst>
    <p:notesMasterId r:id="rId71"/>
  </p:notesMasterIdLst>
  <p:sldIdLst>
    <p:sldId id="276" r:id="rId3"/>
    <p:sldId id="279" r:id="rId4"/>
    <p:sldId id="261" r:id="rId5"/>
    <p:sldId id="409" r:id="rId6"/>
    <p:sldId id="410" r:id="rId7"/>
    <p:sldId id="508" r:id="rId8"/>
    <p:sldId id="412" r:id="rId9"/>
    <p:sldId id="568" r:id="rId10"/>
    <p:sldId id="569" r:id="rId11"/>
    <p:sldId id="419" r:id="rId12"/>
    <p:sldId id="420" r:id="rId13"/>
    <p:sldId id="323" r:id="rId14"/>
    <p:sldId id="294" r:id="rId15"/>
    <p:sldId id="314" r:id="rId16"/>
    <p:sldId id="495" r:id="rId17"/>
    <p:sldId id="493" r:id="rId18"/>
    <p:sldId id="494" r:id="rId19"/>
    <p:sldId id="367" r:id="rId20"/>
    <p:sldId id="301" r:id="rId21"/>
    <p:sldId id="491" r:id="rId22"/>
    <p:sldId id="440" r:id="rId23"/>
    <p:sldId id="260" r:id="rId24"/>
    <p:sldId id="369" r:id="rId25"/>
    <p:sldId id="365" r:id="rId26"/>
    <p:sldId id="356" r:id="rId27"/>
    <p:sldId id="502" r:id="rId28"/>
    <p:sldId id="503" r:id="rId29"/>
    <p:sldId id="333" r:id="rId30"/>
    <p:sldId id="571" r:id="rId31"/>
    <p:sldId id="572" r:id="rId32"/>
    <p:sldId id="573" r:id="rId33"/>
    <p:sldId id="334" r:id="rId34"/>
    <p:sldId id="492" r:id="rId35"/>
    <p:sldId id="467" r:id="rId36"/>
    <p:sldId id="460" r:id="rId37"/>
    <p:sldId id="471" r:id="rId38"/>
    <p:sldId id="474" r:id="rId39"/>
    <p:sldId id="501" r:id="rId40"/>
    <p:sldId id="496" r:id="rId41"/>
    <p:sldId id="497" r:id="rId42"/>
    <p:sldId id="498" r:id="rId43"/>
    <p:sldId id="499" r:id="rId44"/>
    <p:sldId id="500" r:id="rId45"/>
    <p:sldId id="411" r:id="rId46"/>
    <p:sldId id="400" r:id="rId47"/>
    <p:sldId id="401" r:id="rId48"/>
    <p:sldId id="444" r:id="rId49"/>
    <p:sldId id="348" r:id="rId50"/>
    <p:sldId id="350" r:id="rId51"/>
    <p:sldId id="351" r:id="rId52"/>
    <p:sldId id="404" r:id="rId53"/>
    <p:sldId id="507" r:id="rId54"/>
    <p:sldId id="427" r:id="rId55"/>
    <p:sldId id="403" r:id="rId56"/>
    <p:sldId id="364" r:id="rId57"/>
    <p:sldId id="504" r:id="rId58"/>
    <p:sldId id="274" r:id="rId59"/>
    <p:sldId id="505" r:id="rId60"/>
    <p:sldId id="278" r:id="rId61"/>
    <p:sldId id="506" r:id="rId62"/>
    <p:sldId id="280" r:id="rId63"/>
    <p:sldId id="281" r:id="rId64"/>
    <p:sldId id="277" r:id="rId65"/>
    <p:sldId id="286" r:id="rId66"/>
    <p:sldId id="275" r:id="rId67"/>
    <p:sldId id="282" r:id="rId68"/>
    <p:sldId id="305" r:id="rId69"/>
    <p:sldId id="570" r:id="rId70"/>
  </p:sldIdLst>
  <p:sldSz cx="9144000" cy="6858000" type="screen4x3"/>
  <p:notesSz cx="6796088" cy="9925050"/>
  <p:defaultTextStyle>
    <a:defPPr>
      <a:defRPr lang="en-GB"/>
    </a:defPPr>
    <a:lvl1pPr algn="l" defTabSz="449263" rtl="0" eaLnBrk="0" fontAlgn="base" hangingPunct="0">
      <a:spcBef>
        <a:spcPct val="0"/>
      </a:spcBef>
      <a:spcAft>
        <a:spcPct val="0"/>
      </a:spcAft>
      <a:defRPr sz="2200" kern="1200">
        <a:solidFill>
          <a:schemeClr val="bg1"/>
        </a:solidFill>
        <a:latin typeface="Arial" panose="020B0604020202020204" pitchFamily="34" charset="0"/>
        <a:ea typeface="ヒラギノ角ゴ Pro W3"/>
        <a:cs typeface="ヒラギノ角ゴ Pro W3"/>
      </a:defRPr>
    </a:lvl1pPr>
    <a:lvl2pPr marL="742950" indent="-285750" algn="l" defTabSz="449263" rtl="0" eaLnBrk="0" fontAlgn="base" hangingPunct="0">
      <a:spcBef>
        <a:spcPct val="0"/>
      </a:spcBef>
      <a:spcAft>
        <a:spcPct val="0"/>
      </a:spcAft>
      <a:defRPr sz="2200" kern="1200">
        <a:solidFill>
          <a:schemeClr val="bg1"/>
        </a:solidFill>
        <a:latin typeface="Arial" panose="020B0604020202020204" pitchFamily="34" charset="0"/>
        <a:ea typeface="ヒラギノ角ゴ Pro W3"/>
        <a:cs typeface="ヒラギノ角ゴ Pro W3"/>
      </a:defRPr>
    </a:lvl2pPr>
    <a:lvl3pPr marL="1143000" indent="-228600" algn="l" defTabSz="449263" rtl="0" eaLnBrk="0" fontAlgn="base" hangingPunct="0">
      <a:spcBef>
        <a:spcPct val="0"/>
      </a:spcBef>
      <a:spcAft>
        <a:spcPct val="0"/>
      </a:spcAft>
      <a:defRPr sz="2200" kern="1200">
        <a:solidFill>
          <a:schemeClr val="bg1"/>
        </a:solidFill>
        <a:latin typeface="Arial" panose="020B0604020202020204" pitchFamily="34" charset="0"/>
        <a:ea typeface="ヒラギノ角ゴ Pro W3"/>
        <a:cs typeface="ヒラギノ角ゴ Pro W3"/>
      </a:defRPr>
    </a:lvl3pPr>
    <a:lvl4pPr marL="1600200" indent="-228600" algn="l" defTabSz="449263" rtl="0" eaLnBrk="0" fontAlgn="base" hangingPunct="0">
      <a:spcBef>
        <a:spcPct val="0"/>
      </a:spcBef>
      <a:spcAft>
        <a:spcPct val="0"/>
      </a:spcAft>
      <a:defRPr sz="2200" kern="1200">
        <a:solidFill>
          <a:schemeClr val="bg1"/>
        </a:solidFill>
        <a:latin typeface="Arial" panose="020B0604020202020204" pitchFamily="34" charset="0"/>
        <a:ea typeface="ヒラギノ角ゴ Pro W3"/>
        <a:cs typeface="ヒラギノ角ゴ Pro W3"/>
      </a:defRPr>
    </a:lvl4pPr>
    <a:lvl5pPr marL="2057400" indent="-228600" algn="l" defTabSz="449263" rtl="0" eaLnBrk="0" fontAlgn="base" hangingPunct="0">
      <a:spcBef>
        <a:spcPct val="0"/>
      </a:spcBef>
      <a:spcAft>
        <a:spcPct val="0"/>
      </a:spcAft>
      <a:defRPr sz="2200" kern="1200">
        <a:solidFill>
          <a:schemeClr val="bg1"/>
        </a:solidFill>
        <a:latin typeface="Arial" panose="020B0604020202020204" pitchFamily="34" charset="0"/>
        <a:ea typeface="ヒラギノ角ゴ Pro W3"/>
        <a:cs typeface="ヒラギノ角ゴ Pro W3"/>
      </a:defRPr>
    </a:lvl5pPr>
    <a:lvl6pPr marL="2286000" algn="l" defTabSz="914400" rtl="0" eaLnBrk="1" latinLnBrk="0" hangingPunct="1">
      <a:defRPr sz="2200" kern="1200">
        <a:solidFill>
          <a:schemeClr val="bg1"/>
        </a:solidFill>
        <a:latin typeface="Arial" panose="020B0604020202020204" pitchFamily="34" charset="0"/>
        <a:ea typeface="ヒラギノ角ゴ Pro W3"/>
        <a:cs typeface="ヒラギノ角ゴ Pro W3"/>
      </a:defRPr>
    </a:lvl6pPr>
    <a:lvl7pPr marL="2743200" algn="l" defTabSz="914400" rtl="0" eaLnBrk="1" latinLnBrk="0" hangingPunct="1">
      <a:defRPr sz="2200" kern="1200">
        <a:solidFill>
          <a:schemeClr val="bg1"/>
        </a:solidFill>
        <a:latin typeface="Arial" panose="020B0604020202020204" pitchFamily="34" charset="0"/>
        <a:ea typeface="ヒラギノ角ゴ Pro W3"/>
        <a:cs typeface="ヒラギノ角ゴ Pro W3"/>
      </a:defRPr>
    </a:lvl7pPr>
    <a:lvl8pPr marL="3200400" algn="l" defTabSz="914400" rtl="0" eaLnBrk="1" latinLnBrk="0" hangingPunct="1">
      <a:defRPr sz="2200" kern="1200">
        <a:solidFill>
          <a:schemeClr val="bg1"/>
        </a:solidFill>
        <a:latin typeface="Arial" panose="020B0604020202020204" pitchFamily="34" charset="0"/>
        <a:ea typeface="ヒラギノ角ゴ Pro W3"/>
        <a:cs typeface="ヒラギノ角ゴ Pro W3"/>
      </a:defRPr>
    </a:lvl8pPr>
    <a:lvl9pPr marL="3657600" algn="l" defTabSz="914400" rtl="0" eaLnBrk="1" latinLnBrk="0" hangingPunct="1">
      <a:defRPr sz="2200" kern="1200">
        <a:solidFill>
          <a:schemeClr val="bg1"/>
        </a:solidFill>
        <a:latin typeface="Arial" panose="020B0604020202020204" pitchFamily="34" charset="0"/>
        <a:ea typeface="ヒラギノ角ゴ Pro W3"/>
        <a:cs typeface="ヒラギノ角ゴ Pro W3"/>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E61DEC-3A51-49B7-8B53-3BB5C2E112A0}" v="4" dt="2026-05-09T13:44:33.89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368" autoAdjust="0"/>
    <p:restoredTop sz="93980" autoAdjust="0"/>
  </p:normalViewPr>
  <p:slideViewPr>
    <p:cSldViewPr>
      <p:cViewPr varScale="1">
        <p:scale>
          <a:sx n="66" d="100"/>
          <a:sy n="66" d="100"/>
        </p:scale>
        <p:origin x="1582" y="52"/>
      </p:cViewPr>
      <p:guideLst>
        <p:guide orient="horz" pos="2160"/>
        <p:guide pos="2880"/>
      </p:guideLst>
    </p:cSldViewPr>
  </p:slideViewPr>
  <p:outlineViewPr>
    <p:cViewPr varScale="1">
      <p:scale>
        <a:sx n="170" d="200"/>
        <a:sy n="170" d="200"/>
      </p:scale>
      <p:origin x="-780" y="-84"/>
    </p:cViewPr>
  </p:outlineViewPr>
  <p:notesTextViewPr>
    <p:cViewPr>
      <p:scale>
        <a:sx n="1" d="1"/>
        <a:sy n="1" d="1"/>
      </p:scale>
      <p:origin x="0" y="0"/>
    </p:cViewPr>
  </p:notesTextViewPr>
  <p:notesViewPr>
    <p:cSldViewPr>
      <p:cViewPr varScale="1">
        <p:scale>
          <a:sx n="59" d="100"/>
          <a:sy n="59" d="100"/>
        </p:scale>
        <p:origin x="-1752"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16" Type="http://schemas.openxmlformats.org/officeDocument/2006/relationships/slide" Target="slides/slide1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theme" Target="theme/theme1.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microsoft.com/office/2015/10/relationships/revisionInfo" Target="revisionInfo.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microsoft.com/office/2016/11/relationships/changesInfo" Target="changesInfos/changesInfo1.xml"/><Relationship Id="rId7" Type="http://schemas.openxmlformats.org/officeDocument/2006/relationships/slide" Target="slides/slide5.xml"/><Relationship Id="rId71"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2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egory Sadyalunda" userId="63ee3676f9b4640e" providerId="LiveId" clId="{2EE61DEC-3A51-49B7-8B53-3BB5C2E112A0}"/>
    <pc:docChg chg="custSel modSld">
      <pc:chgData name="Gregory Sadyalunda" userId="63ee3676f9b4640e" providerId="LiveId" clId="{2EE61DEC-3A51-49B7-8B53-3BB5C2E112A0}" dt="2026-05-09T13:44:41.220" v="62" actId="6549"/>
      <pc:docMkLst>
        <pc:docMk/>
      </pc:docMkLst>
      <pc:sldChg chg="modSp mod">
        <pc:chgData name="Gregory Sadyalunda" userId="63ee3676f9b4640e" providerId="LiveId" clId="{2EE61DEC-3A51-49B7-8B53-3BB5C2E112A0}" dt="2026-05-09T13:44:41.220" v="62" actId="6549"/>
        <pc:sldMkLst>
          <pc:docMk/>
          <pc:sldMk cId="0" sldId="276"/>
        </pc:sldMkLst>
        <pc:spChg chg="mod">
          <ac:chgData name="Gregory Sadyalunda" userId="63ee3676f9b4640e" providerId="LiveId" clId="{2EE61DEC-3A51-49B7-8B53-3BB5C2E112A0}" dt="2026-05-09T13:44:41.220" v="62" actId="6549"/>
          <ac:spMkLst>
            <pc:docMk/>
            <pc:sldMk cId="0" sldId="276"/>
            <ac:spMk id="5124" creationId="{90529192-8E49-4FEB-9C66-A0AB72D3B33C}"/>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46D1605-8626-4AAD-A6FC-44B389FC3708}" type="doc">
      <dgm:prSet loTypeId="urn:microsoft.com/office/officeart/2005/8/layout/process3" loCatId="process" qsTypeId="urn:microsoft.com/office/officeart/2005/8/quickstyle/simple3" qsCatId="simple" csTypeId="urn:microsoft.com/office/officeart/2005/8/colors/accent6_1" csCatId="accent6" phldr="1"/>
      <dgm:spPr/>
      <dgm:t>
        <a:bodyPr/>
        <a:lstStyle/>
        <a:p>
          <a:endParaRPr lang="en-SG"/>
        </a:p>
      </dgm:t>
    </dgm:pt>
    <dgm:pt modelId="{F86C9EF7-5D01-473D-9672-978D75FEFF80}">
      <dgm:prSet phldrT="[Text]"/>
      <dgm:spPr/>
      <dgm:t>
        <a:bodyPr/>
        <a:lstStyle/>
        <a:p>
          <a:r>
            <a:rPr lang="en-SG" dirty="0"/>
            <a:t>Filing/Reception</a:t>
          </a:r>
        </a:p>
      </dgm:t>
    </dgm:pt>
    <dgm:pt modelId="{25E71D90-421E-40C8-A41A-EEE4C51E9D70}" type="parTrans" cxnId="{4D68038F-53E9-40BA-B336-7C4413D14E42}">
      <dgm:prSet/>
      <dgm:spPr/>
      <dgm:t>
        <a:bodyPr/>
        <a:lstStyle/>
        <a:p>
          <a:endParaRPr lang="en-SG"/>
        </a:p>
      </dgm:t>
    </dgm:pt>
    <dgm:pt modelId="{87DD8983-7AD3-4180-820B-7B87C71047DA}" type="sibTrans" cxnId="{4D68038F-53E9-40BA-B336-7C4413D14E42}">
      <dgm:prSet/>
      <dgm:spPr/>
      <dgm:t>
        <a:bodyPr/>
        <a:lstStyle/>
        <a:p>
          <a:endParaRPr lang="en-SG"/>
        </a:p>
      </dgm:t>
    </dgm:pt>
    <dgm:pt modelId="{F855572B-6BB1-4C82-96BF-77E3FF3A2A82}">
      <dgm:prSet phldrT="[Text]"/>
      <dgm:spPr/>
      <dgm:t>
        <a:bodyPr/>
        <a:lstStyle/>
        <a:p>
          <a:r>
            <a:rPr lang="en-SG" sz="1500" dirty="0"/>
            <a:t>IPAS Reception Module</a:t>
          </a:r>
        </a:p>
      </dgm:t>
    </dgm:pt>
    <dgm:pt modelId="{50F0531C-E3CE-47EF-BAC1-EBEE5C7859AB}" type="parTrans" cxnId="{815C27BB-C222-4D52-A61E-BFA1C42F308F}">
      <dgm:prSet/>
      <dgm:spPr/>
      <dgm:t>
        <a:bodyPr/>
        <a:lstStyle/>
        <a:p>
          <a:endParaRPr lang="en-SG"/>
        </a:p>
      </dgm:t>
    </dgm:pt>
    <dgm:pt modelId="{7797D3EE-6C72-4C1B-8F89-4E82F4D0C63A}" type="sibTrans" cxnId="{815C27BB-C222-4D52-A61E-BFA1C42F308F}">
      <dgm:prSet/>
      <dgm:spPr/>
      <dgm:t>
        <a:bodyPr/>
        <a:lstStyle/>
        <a:p>
          <a:endParaRPr lang="en-SG"/>
        </a:p>
      </dgm:t>
    </dgm:pt>
    <dgm:pt modelId="{634413D7-7C4A-4A15-AABF-2762AA2EF242}">
      <dgm:prSet phldrT="[Text]"/>
      <dgm:spPr/>
      <dgm:t>
        <a:bodyPr/>
        <a:lstStyle/>
        <a:p>
          <a:r>
            <a:rPr lang="en-SG" dirty="0"/>
            <a:t>Administration</a:t>
          </a:r>
        </a:p>
      </dgm:t>
    </dgm:pt>
    <dgm:pt modelId="{C9C0AC98-081B-4FCC-A375-2FF1F77A6559}" type="parTrans" cxnId="{01F8F0E5-38B5-4E40-A2AB-8F8807CDCE0D}">
      <dgm:prSet/>
      <dgm:spPr/>
      <dgm:t>
        <a:bodyPr/>
        <a:lstStyle/>
        <a:p>
          <a:endParaRPr lang="en-SG"/>
        </a:p>
      </dgm:t>
    </dgm:pt>
    <dgm:pt modelId="{741DAC63-7372-498B-B777-2BB0C6DEC3DF}" type="sibTrans" cxnId="{01F8F0E5-38B5-4E40-A2AB-8F8807CDCE0D}">
      <dgm:prSet/>
      <dgm:spPr/>
      <dgm:t>
        <a:bodyPr/>
        <a:lstStyle/>
        <a:p>
          <a:endParaRPr lang="en-SG"/>
        </a:p>
      </dgm:t>
    </dgm:pt>
    <dgm:pt modelId="{7A12F70F-9CED-4919-AA64-92686B9733D1}">
      <dgm:prSet phldrT="[Text]" custT="1"/>
      <dgm:spPr/>
      <dgm:t>
        <a:bodyPr/>
        <a:lstStyle/>
        <a:p>
          <a:r>
            <a:rPr lang="en-SG" sz="1500" b="0" dirty="0"/>
            <a:t>IPAS Core System</a:t>
          </a:r>
          <a:br>
            <a:rPr lang="en-SG" sz="1500" b="0" dirty="0"/>
          </a:br>
          <a:endParaRPr lang="en-SG" sz="1500" b="1" dirty="0"/>
        </a:p>
      </dgm:t>
    </dgm:pt>
    <dgm:pt modelId="{D6DA5208-32CA-4F64-B713-A2B801A1CC4F}" type="parTrans" cxnId="{29D17B7E-1920-4309-9645-742AB5834E7C}">
      <dgm:prSet/>
      <dgm:spPr/>
      <dgm:t>
        <a:bodyPr/>
        <a:lstStyle/>
        <a:p>
          <a:endParaRPr lang="en-SG"/>
        </a:p>
      </dgm:t>
    </dgm:pt>
    <dgm:pt modelId="{360E6666-6BB5-4DEC-AF83-9DEC6C0978AE}" type="sibTrans" cxnId="{29D17B7E-1920-4309-9645-742AB5834E7C}">
      <dgm:prSet/>
      <dgm:spPr/>
      <dgm:t>
        <a:bodyPr/>
        <a:lstStyle/>
        <a:p>
          <a:endParaRPr lang="en-SG"/>
        </a:p>
      </dgm:t>
    </dgm:pt>
    <dgm:pt modelId="{5342BDD0-56CA-4B2C-AB1E-6D4A6CE3EF44}">
      <dgm:prSet phldrT="[Text]"/>
      <dgm:spPr/>
      <dgm:t>
        <a:bodyPr/>
        <a:lstStyle/>
        <a:p>
          <a:r>
            <a:rPr lang="en-SG" dirty="0"/>
            <a:t>Publication &amp; Dissemination of Info.</a:t>
          </a:r>
        </a:p>
      </dgm:t>
    </dgm:pt>
    <dgm:pt modelId="{DA1115FF-3A07-44C1-92ED-939FDE456AA2}" type="parTrans" cxnId="{B0F7D489-EDBC-4089-B430-9F6BF6A91C20}">
      <dgm:prSet/>
      <dgm:spPr/>
      <dgm:t>
        <a:bodyPr/>
        <a:lstStyle/>
        <a:p>
          <a:endParaRPr lang="en-SG"/>
        </a:p>
      </dgm:t>
    </dgm:pt>
    <dgm:pt modelId="{5CA34C9B-4A7E-48AE-8B4B-C51BF2D4921B}" type="sibTrans" cxnId="{B0F7D489-EDBC-4089-B430-9F6BF6A91C20}">
      <dgm:prSet/>
      <dgm:spPr/>
      <dgm:t>
        <a:bodyPr/>
        <a:lstStyle/>
        <a:p>
          <a:endParaRPr lang="en-SG"/>
        </a:p>
      </dgm:t>
    </dgm:pt>
    <dgm:pt modelId="{F0D0FC9C-6692-4095-8B91-4FC3931308D1}">
      <dgm:prSet phldrT="[Text]" custT="1"/>
      <dgm:spPr/>
      <dgm:t>
        <a:bodyPr/>
        <a:lstStyle/>
        <a:p>
          <a:r>
            <a:rPr lang="en-SG" sz="1200" dirty="0"/>
            <a:t>IPAS Journal Management Module</a:t>
          </a:r>
        </a:p>
      </dgm:t>
    </dgm:pt>
    <dgm:pt modelId="{417BCC67-9A54-4477-BCA9-D79AFF57C8DE}" type="parTrans" cxnId="{6A577E34-31B8-4D9D-96BF-BC37E81685DC}">
      <dgm:prSet/>
      <dgm:spPr/>
      <dgm:t>
        <a:bodyPr/>
        <a:lstStyle/>
        <a:p>
          <a:endParaRPr lang="en-SG"/>
        </a:p>
      </dgm:t>
    </dgm:pt>
    <dgm:pt modelId="{556E2322-27DB-4208-9A1F-398BC758100A}" type="sibTrans" cxnId="{6A577E34-31B8-4D9D-96BF-BC37E81685DC}">
      <dgm:prSet/>
      <dgm:spPr/>
      <dgm:t>
        <a:bodyPr/>
        <a:lstStyle/>
        <a:p>
          <a:endParaRPr lang="en-SG"/>
        </a:p>
      </dgm:t>
    </dgm:pt>
    <dgm:pt modelId="{65CF5FEA-2B48-4BDD-95B1-A46527FF50DB}">
      <dgm:prSet phldrT="[Text]" custT="1"/>
      <dgm:spPr/>
      <dgm:t>
        <a:bodyPr/>
        <a:lstStyle/>
        <a:p>
          <a:r>
            <a:rPr lang="en-SG" sz="1200" dirty="0"/>
            <a:t>Data Exchange with </a:t>
          </a:r>
          <a:r>
            <a:rPr lang="en-SG" sz="1200" dirty="0" err="1"/>
            <a:t>PatentScope</a:t>
          </a:r>
          <a:r>
            <a:rPr lang="en-SG" sz="1200" dirty="0"/>
            <a:t>, Global Brand Database</a:t>
          </a:r>
        </a:p>
      </dgm:t>
    </dgm:pt>
    <dgm:pt modelId="{38AD2937-8BF5-494C-90F2-C6493789F0BE}" type="parTrans" cxnId="{279FFBA4-D8DA-4179-98AF-69329EE2A34D}">
      <dgm:prSet/>
      <dgm:spPr/>
      <dgm:t>
        <a:bodyPr/>
        <a:lstStyle/>
        <a:p>
          <a:endParaRPr lang="en-SG"/>
        </a:p>
      </dgm:t>
    </dgm:pt>
    <dgm:pt modelId="{0180F2D9-F6D4-499B-8AF0-A4AF93B46689}" type="sibTrans" cxnId="{279FFBA4-D8DA-4179-98AF-69329EE2A34D}">
      <dgm:prSet/>
      <dgm:spPr/>
      <dgm:t>
        <a:bodyPr/>
        <a:lstStyle/>
        <a:p>
          <a:endParaRPr lang="en-SG"/>
        </a:p>
      </dgm:t>
    </dgm:pt>
    <dgm:pt modelId="{15562FB4-07AB-4C06-820B-BA82AB6C5BA7}">
      <dgm:prSet phldrT="[Text]" custT="1"/>
      <dgm:spPr/>
      <dgm:t>
        <a:bodyPr/>
        <a:lstStyle/>
        <a:p>
          <a:r>
            <a:rPr lang="en-SG" sz="1500" b="1" dirty="0"/>
            <a:t>WIPO File </a:t>
          </a:r>
          <a:br>
            <a:rPr lang="en-SG" sz="1500" b="1" dirty="0"/>
          </a:br>
          <a:r>
            <a:rPr lang="en-SG" sz="1400" b="0" dirty="0"/>
            <a:t>Electronic Document Reception</a:t>
          </a:r>
        </a:p>
      </dgm:t>
    </dgm:pt>
    <dgm:pt modelId="{53332727-C7DC-4A44-87F1-E028AC0C4A7E}" type="parTrans" cxnId="{8C8F0A2F-E169-468B-A6A3-FD0ED6A13A5D}">
      <dgm:prSet/>
      <dgm:spPr/>
      <dgm:t>
        <a:bodyPr/>
        <a:lstStyle/>
        <a:p>
          <a:endParaRPr lang="en-SG"/>
        </a:p>
      </dgm:t>
    </dgm:pt>
    <dgm:pt modelId="{87CE63CE-6C51-4340-953B-0944C8BF7488}" type="sibTrans" cxnId="{8C8F0A2F-E169-468B-A6A3-FD0ED6A13A5D}">
      <dgm:prSet/>
      <dgm:spPr/>
      <dgm:t>
        <a:bodyPr/>
        <a:lstStyle/>
        <a:p>
          <a:endParaRPr lang="en-SG"/>
        </a:p>
      </dgm:t>
    </dgm:pt>
    <dgm:pt modelId="{6A9F60DC-81F6-49BC-AE44-1B5EE9A6A578}">
      <dgm:prSet phldrT="[Text]" custT="1"/>
      <dgm:spPr/>
      <dgm:t>
        <a:bodyPr/>
        <a:lstStyle/>
        <a:p>
          <a:r>
            <a:rPr lang="en-SG" sz="1400" b="1" dirty="0"/>
            <a:t>WIPO Publish</a:t>
          </a:r>
        </a:p>
      </dgm:t>
    </dgm:pt>
    <dgm:pt modelId="{E97201DF-5BC0-49A8-8E54-33CD2C1722A2}" type="parTrans" cxnId="{F8FFAD44-F854-4B4A-9BD0-35357D44A6B7}">
      <dgm:prSet/>
      <dgm:spPr/>
      <dgm:t>
        <a:bodyPr/>
        <a:lstStyle/>
        <a:p>
          <a:endParaRPr lang="en-SG"/>
        </a:p>
      </dgm:t>
    </dgm:pt>
    <dgm:pt modelId="{D2C31E58-4CE1-4AB6-82D7-E1D28FA83E66}" type="sibTrans" cxnId="{F8FFAD44-F854-4B4A-9BD0-35357D44A6B7}">
      <dgm:prSet/>
      <dgm:spPr/>
      <dgm:t>
        <a:bodyPr/>
        <a:lstStyle/>
        <a:p>
          <a:endParaRPr lang="en-SG"/>
        </a:p>
      </dgm:t>
    </dgm:pt>
    <dgm:pt modelId="{B1DCB5F0-E3D8-4A09-BB38-F9B5F21E9739}" type="pres">
      <dgm:prSet presAssocID="{746D1605-8626-4AAD-A6FC-44B389FC3708}" presName="linearFlow" presStyleCnt="0">
        <dgm:presLayoutVars>
          <dgm:dir/>
          <dgm:animLvl val="lvl"/>
          <dgm:resizeHandles val="exact"/>
        </dgm:presLayoutVars>
      </dgm:prSet>
      <dgm:spPr/>
    </dgm:pt>
    <dgm:pt modelId="{3F8D0E90-3827-4194-BD47-C01E50A9FCB3}" type="pres">
      <dgm:prSet presAssocID="{F86C9EF7-5D01-473D-9672-978D75FEFF80}" presName="composite" presStyleCnt="0"/>
      <dgm:spPr/>
    </dgm:pt>
    <dgm:pt modelId="{60DB97B5-94A9-4D5B-852D-D359CA8DB571}" type="pres">
      <dgm:prSet presAssocID="{F86C9EF7-5D01-473D-9672-978D75FEFF80}" presName="parTx" presStyleLbl="node1" presStyleIdx="0" presStyleCnt="3">
        <dgm:presLayoutVars>
          <dgm:chMax val="0"/>
          <dgm:chPref val="0"/>
          <dgm:bulletEnabled val="1"/>
        </dgm:presLayoutVars>
      </dgm:prSet>
      <dgm:spPr/>
    </dgm:pt>
    <dgm:pt modelId="{E9666710-AE06-4451-9432-9B2B7BB2FE47}" type="pres">
      <dgm:prSet presAssocID="{F86C9EF7-5D01-473D-9672-978D75FEFF80}" presName="parSh" presStyleLbl="node1" presStyleIdx="0" presStyleCnt="3"/>
      <dgm:spPr/>
    </dgm:pt>
    <dgm:pt modelId="{84303A6E-EBDE-4EFB-8F69-13D57F6EDB28}" type="pres">
      <dgm:prSet presAssocID="{F86C9EF7-5D01-473D-9672-978D75FEFF80}" presName="desTx" presStyleLbl="fgAcc1" presStyleIdx="0" presStyleCnt="3">
        <dgm:presLayoutVars>
          <dgm:bulletEnabled val="1"/>
        </dgm:presLayoutVars>
      </dgm:prSet>
      <dgm:spPr/>
    </dgm:pt>
    <dgm:pt modelId="{5004D885-C956-4617-AD05-C3E58C98468F}" type="pres">
      <dgm:prSet presAssocID="{87DD8983-7AD3-4180-820B-7B87C71047DA}" presName="sibTrans" presStyleLbl="sibTrans2D1" presStyleIdx="0" presStyleCnt="2"/>
      <dgm:spPr/>
    </dgm:pt>
    <dgm:pt modelId="{1E18903D-1E33-460C-8B47-88A8FEDFF8FE}" type="pres">
      <dgm:prSet presAssocID="{87DD8983-7AD3-4180-820B-7B87C71047DA}" presName="connTx" presStyleLbl="sibTrans2D1" presStyleIdx="0" presStyleCnt="2"/>
      <dgm:spPr/>
    </dgm:pt>
    <dgm:pt modelId="{81855F99-4CEC-4D1F-B793-956FEB72157D}" type="pres">
      <dgm:prSet presAssocID="{634413D7-7C4A-4A15-AABF-2762AA2EF242}" presName="composite" presStyleCnt="0"/>
      <dgm:spPr/>
    </dgm:pt>
    <dgm:pt modelId="{E903438C-6016-49A0-A9E2-09D95725500A}" type="pres">
      <dgm:prSet presAssocID="{634413D7-7C4A-4A15-AABF-2762AA2EF242}" presName="parTx" presStyleLbl="node1" presStyleIdx="0" presStyleCnt="3">
        <dgm:presLayoutVars>
          <dgm:chMax val="0"/>
          <dgm:chPref val="0"/>
          <dgm:bulletEnabled val="1"/>
        </dgm:presLayoutVars>
      </dgm:prSet>
      <dgm:spPr/>
    </dgm:pt>
    <dgm:pt modelId="{8DE30ED0-A8F5-4B3C-8F16-16D9E6BDD95B}" type="pres">
      <dgm:prSet presAssocID="{634413D7-7C4A-4A15-AABF-2762AA2EF242}" presName="parSh" presStyleLbl="node1" presStyleIdx="1" presStyleCnt="3"/>
      <dgm:spPr/>
    </dgm:pt>
    <dgm:pt modelId="{AA1E491E-AEFE-4B0D-A998-F8E690036399}" type="pres">
      <dgm:prSet presAssocID="{634413D7-7C4A-4A15-AABF-2762AA2EF242}" presName="desTx" presStyleLbl="fgAcc1" presStyleIdx="1" presStyleCnt="3">
        <dgm:presLayoutVars>
          <dgm:bulletEnabled val="1"/>
        </dgm:presLayoutVars>
      </dgm:prSet>
      <dgm:spPr/>
    </dgm:pt>
    <dgm:pt modelId="{833710EC-4AAE-4E38-8B99-D08DB14C41F0}" type="pres">
      <dgm:prSet presAssocID="{741DAC63-7372-498B-B777-2BB0C6DEC3DF}" presName="sibTrans" presStyleLbl="sibTrans2D1" presStyleIdx="1" presStyleCnt="2"/>
      <dgm:spPr/>
    </dgm:pt>
    <dgm:pt modelId="{7D4183E0-6E70-4FAB-B71B-8B44CAA7F009}" type="pres">
      <dgm:prSet presAssocID="{741DAC63-7372-498B-B777-2BB0C6DEC3DF}" presName="connTx" presStyleLbl="sibTrans2D1" presStyleIdx="1" presStyleCnt="2"/>
      <dgm:spPr/>
    </dgm:pt>
    <dgm:pt modelId="{0DD24128-70F9-4F7B-9BEA-0D88FF6E6841}" type="pres">
      <dgm:prSet presAssocID="{5342BDD0-56CA-4B2C-AB1E-6D4A6CE3EF44}" presName="composite" presStyleCnt="0"/>
      <dgm:spPr/>
    </dgm:pt>
    <dgm:pt modelId="{36C4BB7D-A9E2-43CE-ABC7-DF2C0A943E27}" type="pres">
      <dgm:prSet presAssocID="{5342BDD0-56CA-4B2C-AB1E-6D4A6CE3EF44}" presName="parTx" presStyleLbl="node1" presStyleIdx="1" presStyleCnt="3">
        <dgm:presLayoutVars>
          <dgm:chMax val="0"/>
          <dgm:chPref val="0"/>
          <dgm:bulletEnabled val="1"/>
        </dgm:presLayoutVars>
      </dgm:prSet>
      <dgm:spPr/>
    </dgm:pt>
    <dgm:pt modelId="{A5102617-5346-47D5-8DE6-51A34FB7AE48}" type="pres">
      <dgm:prSet presAssocID="{5342BDD0-56CA-4B2C-AB1E-6D4A6CE3EF44}" presName="parSh" presStyleLbl="node1" presStyleIdx="2" presStyleCnt="3"/>
      <dgm:spPr/>
    </dgm:pt>
    <dgm:pt modelId="{E1677C59-AE05-453C-AE0C-19FE78266FE2}" type="pres">
      <dgm:prSet presAssocID="{5342BDD0-56CA-4B2C-AB1E-6D4A6CE3EF44}" presName="desTx" presStyleLbl="fgAcc1" presStyleIdx="2" presStyleCnt="3">
        <dgm:presLayoutVars>
          <dgm:bulletEnabled val="1"/>
        </dgm:presLayoutVars>
      </dgm:prSet>
      <dgm:spPr/>
    </dgm:pt>
  </dgm:ptLst>
  <dgm:cxnLst>
    <dgm:cxn modelId="{D23D9A01-0814-4E7E-8BA0-A5C322A0953B}" type="presOf" srcId="{5342BDD0-56CA-4B2C-AB1E-6D4A6CE3EF44}" destId="{36C4BB7D-A9E2-43CE-ABC7-DF2C0A943E27}" srcOrd="0" destOrd="0" presId="urn:microsoft.com/office/officeart/2005/8/layout/process3"/>
    <dgm:cxn modelId="{E372F509-5613-47D8-B15D-B8B8136FA5C9}" type="presOf" srcId="{741DAC63-7372-498B-B777-2BB0C6DEC3DF}" destId="{833710EC-4AAE-4E38-8B99-D08DB14C41F0}" srcOrd="0" destOrd="0" presId="urn:microsoft.com/office/officeart/2005/8/layout/process3"/>
    <dgm:cxn modelId="{800BAB17-9AB2-4AC8-AA5D-6676D984B823}" type="presOf" srcId="{5342BDD0-56CA-4B2C-AB1E-6D4A6CE3EF44}" destId="{A5102617-5346-47D5-8DE6-51A34FB7AE48}" srcOrd="1" destOrd="0" presId="urn:microsoft.com/office/officeart/2005/8/layout/process3"/>
    <dgm:cxn modelId="{B6F67F18-C1C9-4DD4-BE55-FD18BD9F1640}" type="presOf" srcId="{634413D7-7C4A-4A15-AABF-2762AA2EF242}" destId="{E903438C-6016-49A0-A9E2-09D95725500A}" srcOrd="0" destOrd="0" presId="urn:microsoft.com/office/officeart/2005/8/layout/process3"/>
    <dgm:cxn modelId="{8C8F0A2F-E169-468B-A6A3-FD0ED6A13A5D}" srcId="{F86C9EF7-5D01-473D-9672-978D75FEFF80}" destId="{15562FB4-07AB-4C06-820B-BA82AB6C5BA7}" srcOrd="1" destOrd="0" parTransId="{53332727-C7DC-4A44-87F1-E028AC0C4A7E}" sibTransId="{87CE63CE-6C51-4340-953B-0944C8BF7488}"/>
    <dgm:cxn modelId="{C8142933-D646-4E2A-83F4-513CE714416A}" type="presOf" srcId="{634413D7-7C4A-4A15-AABF-2762AA2EF242}" destId="{8DE30ED0-A8F5-4B3C-8F16-16D9E6BDD95B}" srcOrd="1" destOrd="0" presId="urn:microsoft.com/office/officeart/2005/8/layout/process3"/>
    <dgm:cxn modelId="{6A577E34-31B8-4D9D-96BF-BC37E81685DC}" srcId="{5342BDD0-56CA-4B2C-AB1E-6D4A6CE3EF44}" destId="{F0D0FC9C-6692-4095-8B91-4FC3931308D1}" srcOrd="0" destOrd="0" parTransId="{417BCC67-9A54-4477-BCA9-D79AFF57C8DE}" sibTransId="{556E2322-27DB-4208-9A1F-398BC758100A}"/>
    <dgm:cxn modelId="{7C0E0F63-9585-4B49-A1B7-42E4093414D6}" type="presOf" srcId="{746D1605-8626-4AAD-A6FC-44B389FC3708}" destId="{B1DCB5F0-E3D8-4A09-BB38-F9B5F21E9739}" srcOrd="0" destOrd="0" presId="urn:microsoft.com/office/officeart/2005/8/layout/process3"/>
    <dgm:cxn modelId="{F8FFAD44-F854-4B4A-9BD0-35357D44A6B7}" srcId="{5342BDD0-56CA-4B2C-AB1E-6D4A6CE3EF44}" destId="{6A9F60DC-81F6-49BC-AE44-1B5EE9A6A578}" srcOrd="2" destOrd="0" parTransId="{E97201DF-5BC0-49A8-8E54-33CD2C1722A2}" sibTransId="{D2C31E58-4CE1-4AB6-82D7-E1D28FA83E66}"/>
    <dgm:cxn modelId="{5B0BE94E-8E70-4BFF-9AA0-0776B72FFF97}" type="presOf" srcId="{15562FB4-07AB-4C06-820B-BA82AB6C5BA7}" destId="{84303A6E-EBDE-4EFB-8F69-13D57F6EDB28}" srcOrd="0" destOrd="1" presId="urn:microsoft.com/office/officeart/2005/8/layout/process3"/>
    <dgm:cxn modelId="{96FA6972-6692-477B-8E81-900B80B1DE6D}" type="presOf" srcId="{F0D0FC9C-6692-4095-8B91-4FC3931308D1}" destId="{E1677C59-AE05-453C-AE0C-19FE78266FE2}" srcOrd="0" destOrd="0" presId="urn:microsoft.com/office/officeart/2005/8/layout/process3"/>
    <dgm:cxn modelId="{29D17B7E-1920-4309-9645-742AB5834E7C}" srcId="{634413D7-7C4A-4A15-AABF-2762AA2EF242}" destId="{7A12F70F-9CED-4919-AA64-92686B9733D1}" srcOrd="0" destOrd="0" parTransId="{D6DA5208-32CA-4F64-B713-A2B801A1CC4F}" sibTransId="{360E6666-6BB5-4DEC-AF83-9DEC6C0978AE}"/>
    <dgm:cxn modelId="{B0F7D489-EDBC-4089-B430-9F6BF6A91C20}" srcId="{746D1605-8626-4AAD-A6FC-44B389FC3708}" destId="{5342BDD0-56CA-4B2C-AB1E-6D4A6CE3EF44}" srcOrd="2" destOrd="0" parTransId="{DA1115FF-3A07-44C1-92ED-939FDE456AA2}" sibTransId="{5CA34C9B-4A7E-48AE-8B4B-C51BF2D4921B}"/>
    <dgm:cxn modelId="{0BB9028C-E3C2-467B-950C-26963A47437A}" type="presOf" srcId="{65CF5FEA-2B48-4BDD-95B1-A46527FF50DB}" destId="{E1677C59-AE05-453C-AE0C-19FE78266FE2}" srcOrd="0" destOrd="1" presId="urn:microsoft.com/office/officeart/2005/8/layout/process3"/>
    <dgm:cxn modelId="{4D68038F-53E9-40BA-B336-7C4413D14E42}" srcId="{746D1605-8626-4AAD-A6FC-44B389FC3708}" destId="{F86C9EF7-5D01-473D-9672-978D75FEFF80}" srcOrd="0" destOrd="0" parTransId="{25E71D90-421E-40C8-A41A-EEE4C51E9D70}" sibTransId="{87DD8983-7AD3-4180-820B-7B87C71047DA}"/>
    <dgm:cxn modelId="{965D3D93-29DE-4957-A1B4-DC91C168B57C}" type="presOf" srcId="{741DAC63-7372-498B-B777-2BB0C6DEC3DF}" destId="{7D4183E0-6E70-4FAB-B71B-8B44CAA7F009}" srcOrd="1" destOrd="0" presId="urn:microsoft.com/office/officeart/2005/8/layout/process3"/>
    <dgm:cxn modelId="{6A414B97-A34F-4398-A19E-FA590FBC58F2}" type="presOf" srcId="{F86C9EF7-5D01-473D-9672-978D75FEFF80}" destId="{E9666710-AE06-4451-9432-9B2B7BB2FE47}" srcOrd="1" destOrd="0" presId="urn:microsoft.com/office/officeart/2005/8/layout/process3"/>
    <dgm:cxn modelId="{F303B697-FAB3-453A-8738-CADDB40E99D2}" type="presOf" srcId="{6A9F60DC-81F6-49BC-AE44-1B5EE9A6A578}" destId="{E1677C59-AE05-453C-AE0C-19FE78266FE2}" srcOrd="0" destOrd="2" presId="urn:microsoft.com/office/officeart/2005/8/layout/process3"/>
    <dgm:cxn modelId="{279FFBA4-D8DA-4179-98AF-69329EE2A34D}" srcId="{5342BDD0-56CA-4B2C-AB1E-6D4A6CE3EF44}" destId="{65CF5FEA-2B48-4BDD-95B1-A46527FF50DB}" srcOrd="1" destOrd="0" parTransId="{38AD2937-8BF5-494C-90F2-C6493789F0BE}" sibTransId="{0180F2D9-F6D4-499B-8AF0-A4AF93B46689}"/>
    <dgm:cxn modelId="{EEF3A3AB-18DF-4956-927B-E754F18B23C1}" type="presOf" srcId="{7A12F70F-9CED-4919-AA64-92686B9733D1}" destId="{AA1E491E-AEFE-4B0D-A998-F8E690036399}" srcOrd="0" destOrd="0" presId="urn:microsoft.com/office/officeart/2005/8/layout/process3"/>
    <dgm:cxn modelId="{815C27BB-C222-4D52-A61E-BFA1C42F308F}" srcId="{F86C9EF7-5D01-473D-9672-978D75FEFF80}" destId="{F855572B-6BB1-4C82-96BF-77E3FF3A2A82}" srcOrd="0" destOrd="0" parTransId="{50F0531C-E3CE-47EF-BAC1-EBEE5C7859AB}" sibTransId="{7797D3EE-6C72-4C1B-8F89-4E82F4D0C63A}"/>
    <dgm:cxn modelId="{477B74DE-5C97-4B5F-A216-EE69D3ACB304}" type="presOf" srcId="{F86C9EF7-5D01-473D-9672-978D75FEFF80}" destId="{60DB97B5-94A9-4D5B-852D-D359CA8DB571}" srcOrd="0" destOrd="0" presId="urn:microsoft.com/office/officeart/2005/8/layout/process3"/>
    <dgm:cxn modelId="{01F8F0E5-38B5-4E40-A2AB-8F8807CDCE0D}" srcId="{746D1605-8626-4AAD-A6FC-44B389FC3708}" destId="{634413D7-7C4A-4A15-AABF-2762AA2EF242}" srcOrd="1" destOrd="0" parTransId="{C9C0AC98-081B-4FCC-A375-2FF1F77A6559}" sibTransId="{741DAC63-7372-498B-B777-2BB0C6DEC3DF}"/>
    <dgm:cxn modelId="{5300D0E7-CD3F-4404-B60E-4B5D2DB47409}" type="presOf" srcId="{F855572B-6BB1-4C82-96BF-77E3FF3A2A82}" destId="{84303A6E-EBDE-4EFB-8F69-13D57F6EDB28}" srcOrd="0" destOrd="0" presId="urn:microsoft.com/office/officeart/2005/8/layout/process3"/>
    <dgm:cxn modelId="{B26F46EC-83AB-42AF-B2DA-49B24BEB5366}" type="presOf" srcId="{87DD8983-7AD3-4180-820B-7B87C71047DA}" destId="{5004D885-C956-4617-AD05-C3E58C98468F}" srcOrd="0" destOrd="0" presId="urn:microsoft.com/office/officeart/2005/8/layout/process3"/>
    <dgm:cxn modelId="{401C27F8-2DC2-45C0-9E0E-E2E6C8769188}" type="presOf" srcId="{87DD8983-7AD3-4180-820B-7B87C71047DA}" destId="{1E18903D-1E33-460C-8B47-88A8FEDFF8FE}" srcOrd="1" destOrd="0" presId="urn:microsoft.com/office/officeart/2005/8/layout/process3"/>
    <dgm:cxn modelId="{5C33AC3D-6BC2-4B04-9BD5-9E833934CE91}" type="presParOf" srcId="{B1DCB5F0-E3D8-4A09-BB38-F9B5F21E9739}" destId="{3F8D0E90-3827-4194-BD47-C01E50A9FCB3}" srcOrd="0" destOrd="0" presId="urn:microsoft.com/office/officeart/2005/8/layout/process3"/>
    <dgm:cxn modelId="{ABC141A0-2916-47B6-954F-6E380C258222}" type="presParOf" srcId="{3F8D0E90-3827-4194-BD47-C01E50A9FCB3}" destId="{60DB97B5-94A9-4D5B-852D-D359CA8DB571}" srcOrd="0" destOrd="0" presId="urn:microsoft.com/office/officeart/2005/8/layout/process3"/>
    <dgm:cxn modelId="{8DB4AE48-6CA0-4A9D-8AA3-C3A354CFC336}" type="presParOf" srcId="{3F8D0E90-3827-4194-BD47-C01E50A9FCB3}" destId="{E9666710-AE06-4451-9432-9B2B7BB2FE47}" srcOrd="1" destOrd="0" presId="urn:microsoft.com/office/officeart/2005/8/layout/process3"/>
    <dgm:cxn modelId="{24AED1C9-2C31-412E-989C-1CEB46F36FCD}" type="presParOf" srcId="{3F8D0E90-3827-4194-BD47-C01E50A9FCB3}" destId="{84303A6E-EBDE-4EFB-8F69-13D57F6EDB28}" srcOrd="2" destOrd="0" presId="urn:microsoft.com/office/officeart/2005/8/layout/process3"/>
    <dgm:cxn modelId="{8B488BF3-5178-40E6-9851-D977A2BF6BA1}" type="presParOf" srcId="{B1DCB5F0-E3D8-4A09-BB38-F9B5F21E9739}" destId="{5004D885-C956-4617-AD05-C3E58C98468F}" srcOrd="1" destOrd="0" presId="urn:microsoft.com/office/officeart/2005/8/layout/process3"/>
    <dgm:cxn modelId="{8F2822F4-CE34-4564-AEEB-3A717E8F7B53}" type="presParOf" srcId="{5004D885-C956-4617-AD05-C3E58C98468F}" destId="{1E18903D-1E33-460C-8B47-88A8FEDFF8FE}" srcOrd="0" destOrd="0" presId="urn:microsoft.com/office/officeart/2005/8/layout/process3"/>
    <dgm:cxn modelId="{9A4F7475-16DD-4A95-A7E4-B798B7A316D0}" type="presParOf" srcId="{B1DCB5F0-E3D8-4A09-BB38-F9B5F21E9739}" destId="{81855F99-4CEC-4D1F-B793-956FEB72157D}" srcOrd="2" destOrd="0" presId="urn:microsoft.com/office/officeart/2005/8/layout/process3"/>
    <dgm:cxn modelId="{A337FC19-49EA-44E5-83D1-50E187CDA987}" type="presParOf" srcId="{81855F99-4CEC-4D1F-B793-956FEB72157D}" destId="{E903438C-6016-49A0-A9E2-09D95725500A}" srcOrd="0" destOrd="0" presId="urn:microsoft.com/office/officeart/2005/8/layout/process3"/>
    <dgm:cxn modelId="{EBD60DF6-6427-44DD-A64D-F75E324F02E8}" type="presParOf" srcId="{81855F99-4CEC-4D1F-B793-956FEB72157D}" destId="{8DE30ED0-A8F5-4B3C-8F16-16D9E6BDD95B}" srcOrd="1" destOrd="0" presId="urn:microsoft.com/office/officeart/2005/8/layout/process3"/>
    <dgm:cxn modelId="{7F4571FA-EB22-4664-B48A-42C3D411D9C1}" type="presParOf" srcId="{81855F99-4CEC-4D1F-B793-956FEB72157D}" destId="{AA1E491E-AEFE-4B0D-A998-F8E690036399}" srcOrd="2" destOrd="0" presId="urn:microsoft.com/office/officeart/2005/8/layout/process3"/>
    <dgm:cxn modelId="{D40B9A2A-7F67-4768-BCB9-F1D668659D6F}" type="presParOf" srcId="{B1DCB5F0-E3D8-4A09-BB38-F9B5F21E9739}" destId="{833710EC-4AAE-4E38-8B99-D08DB14C41F0}" srcOrd="3" destOrd="0" presId="urn:microsoft.com/office/officeart/2005/8/layout/process3"/>
    <dgm:cxn modelId="{DE385638-CFF2-433C-81BA-863D2B4FC921}" type="presParOf" srcId="{833710EC-4AAE-4E38-8B99-D08DB14C41F0}" destId="{7D4183E0-6E70-4FAB-B71B-8B44CAA7F009}" srcOrd="0" destOrd="0" presId="urn:microsoft.com/office/officeart/2005/8/layout/process3"/>
    <dgm:cxn modelId="{DE17D9D1-3F12-4854-8596-CCAEC10C320D}" type="presParOf" srcId="{B1DCB5F0-E3D8-4A09-BB38-F9B5F21E9739}" destId="{0DD24128-70F9-4F7B-9BEA-0D88FF6E6841}" srcOrd="4" destOrd="0" presId="urn:microsoft.com/office/officeart/2005/8/layout/process3"/>
    <dgm:cxn modelId="{6E1E3AD4-B982-4EC7-A4DA-19CE22B8B5E5}" type="presParOf" srcId="{0DD24128-70F9-4F7B-9BEA-0D88FF6E6841}" destId="{36C4BB7D-A9E2-43CE-ABC7-DF2C0A943E27}" srcOrd="0" destOrd="0" presId="urn:microsoft.com/office/officeart/2005/8/layout/process3"/>
    <dgm:cxn modelId="{9AB9DD6C-0FBC-4B9C-8B09-2872CE39501E}" type="presParOf" srcId="{0DD24128-70F9-4F7B-9BEA-0D88FF6E6841}" destId="{A5102617-5346-47D5-8DE6-51A34FB7AE48}" srcOrd="1" destOrd="0" presId="urn:microsoft.com/office/officeart/2005/8/layout/process3"/>
    <dgm:cxn modelId="{440C0C89-0125-4E20-9429-66529CB2814E}" type="presParOf" srcId="{0DD24128-70F9-4F7B-9BEA-0D88FF6E6841}" destId="{E1677C59-AE05-453C-AE0C-19FE78266FE2}"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46D1605-8626-4AAD-A6FC-44B389FC3708}" type="doc">
      <dgm:prSet loTypeId="urn:microsoft.com/office/officeart/2005/8/layout/process3" loCatId="process" qsTypeId="urn:microsoft.com/office/officeart/2005/8/quickstyle/simple3" qsCatId="simple" csTypeId="urn:microsoft.com/office/officeart/2005/8/colors/accent6_1" csCatId="accent6" phldr="1"/>
      <dgm:spPr/>
      <dgm:t>
        <a:bodyPr/>
        <a:lstStyle/>
        <a:p>
          <a:endParaRPr lang="en-SG"/>
        </a:p>
      </dgm:t>
    </dgm:pt>
    <dgm:pt modelId="{F86C9EF7-5D01-473D-9672-978D75FEFF80}">
      <dgm:prSet phldrT="[Text]" custT="1"/>
      <dgm:spPr/>
      <dgm:t>
        <a:bodyPr/>
        <a:lstStyle/>
        <a:p>
          <a:r>
            <a:rPr lang="en-SG" sz="1300" dirty="0"/>
            <a:t>Archive &amp; File Management</a:t>
          </a:r>
        </a:p>
      </dgm:t>
    </dgm:pt>
    <dgm:pt modelId="{25E71D90-421E-40C8-A41A-EEE4C51E9D70}" type="parTrans" cxnId="{4D68038F-53E9-40BA-B336-7C4413D14E42}">
      <dgm:prSet/>
      <dgm:spPr/>
      <dgm:t>
        <a:bodyPr/>
        <a:lstStyle/>
        <a:p>
          <a:endParaRPr lang="en-SG" sz="1300"/>
        </a:p>
      </dgm:t>
    </dgm:pt>
    <dgm:pt modelId="{87DD8983-7AD3-4180-820B-7B87C71047DA}" type="sibTrans" cxnId="{4D68038F-53E9-40BA-B336-7C4413D14E42}">
      <dgm:prSet custT="1"/>
      <dgm:spPr>
        <a:noFill/>
      </dgm:spPr>
      <dgm:t>
        <a:bodyPr/>
        <a:lstStyle/>
        <a:p>
          <a:endParaRPr lang="en-SG" sz="1300"/>
        </a:p>
      </dgm:t>
    </dgm:pt>
    <dgm:pt modelId="{F855572B-6BB1-4C82-96BF-77E3FF3A2A82}">
      <dgm:prSet phldrT="[Text]" custT="1"/>
      <dgm:spPr/>
      <dgm:t>
        <a:bodyPr/>
        <a:lstStyle/>
        <a:p>
          <a:r>
            <a:rPr lang="en-SG" sz="1300" dirty="0"/>
            <a:t>IPAS dossier tracking</a:t>
          </a:r>
        </a:p>
      </dgm:t>
    </dgm:pt>
    <dgm:pt modelId="{50F0531C-E3CE-47EF-BAC1-EBEE5C7859AB}" type="parTrans" cxnId="{815C27BB-C222-4D52-A61E-BFA1C42F308F}">
      <dgm:prSet/>
      <dgm:spPr/>
      <dgm:t>
        <a:bodyPr/>
        <a:lstStyle/>
        <a:p>
          <a:endParaRPr lang="en-SG" sz="1300"/>
        </a:p>
      </dgm:t>
    </dgm:pt>
    <dgm:pt modelId="{7797D3EE-6C72-4C1B-8F89-4E82F4D0C63A}" type="sibTrans" cxnId="{815C27BB-C222-4D52-A61E-BFA1C42F308F}">
      <dgm:prSet/>
      <dgm:spPr/>
      <dgm:t>
        <a:bodyPr/>
        <a:lstStyle/>
        <a:p>
          <a:endParaRPr lang="en-SG" sz="1300"/>
        </a:p>
      </dgm:t>
    </dgm:pt>
    <dgm:pt modelId="{634413D7-7C4A-4A15-AABF-2762AA2EF242}">
      <dgm:prSet phldrT="[Text]" custT="1"/>
      <dgm:spPr/>
      <dgm:t>
        <a:bodyPr/>
        <a:lstStyle/>
        <a:p>
          <a:r>
            <a:rPr lang="en-SG" sz="1300" dirty="0"/>
            <a:t>Examination</a:t>
          </a:r>
        </a:p>
      </dgm:t>
    </dgm:pt>
    <dgm:pt modelId="{C9C0AC98-081B-4FCC-A375-2FF1F77A6559}" type="parTrans" cxnId="{01F8F0E5-38B5-4E40-A2AB-8F8807CDCE0D}">
      <dgm:prSet/>
      <dgm:spPr/>
      <dgm:t>
        <a:bodyPr/>
        <a:lstStyle/>
        <a:p>
          <a:endParaRPr lang="en-SG" sz="1300"/>
        </a:p>
      </dgm:t>
    </dgm:pt>
    <dgm:pt modelId="{741DAC63-7372-498B-B777-2BB0C6DEC3DF}" type="sibTrans" cxnId="{01F8F0E5-38B5-4E40-A2AB-8F8807CDCE0D}">
      <dgm:prSet custT="1"/>
      <dgm:spPr>
        <a:noFill/>
      </dgm:spPr>
      <dgm:t>
        <a:bodyPr/>
        <a:lstStyle/>
        <a:p>
          <a:endParaRPr lang="en-SG" sz="1300"/>
        </a:p>
      </dgm:t>
    </dgm:pt>
    <dgm:pt modelId="{7A12F70F-9CED-4919-AA64-92686B9733D1}">
      <dgm:prSet phldrT="[Text]" custT="1"/>
      <dgm:spPr/>
      <dgm:t>
        <a:bodyPr/>
        <a:lstStyle/>
        <a:p>
          <a:r>
            <a:rPr lang="en-SG" sz="1300" dirty="0"/>
            <a:t>IPAS Support for TM Examination</a:t>
          </a:r>
        </a:p>
      </dgm:t>
    </dgm:pt>
    <dgm:pt modelId="{D6DA5208-32CA-4F64-B713-A2B801A1CC4F}" type="parTrans" cxnId="{29D17B7E-1920-4309-9645-742AB5834E7C}">
      <dgm:prSet/>
      <dgm:spPr/>
      <dgm:t>
        <a:bodyPr/>
        <a:lstStyle/>
        <a:p>
          <a:endParaRPr lang="en-SG" sz="1300"/>
        </a:p>
      </dgm:t>
    </dgm:pt>
    <dgm:pt modelId="{360E6666-6BB5-4DEC-AF83-9DEC6C0978AE}" type="sibTrans" cxnId="{29D17B7E-1920-4309-9645-742AB5834E7C}">
      <dgm:prSet/>
      <dgm:spPr/>
      <dgm:t>
        <a:bodyPr/>
        <a:lstStyle/>
        <a:p>
          <a:endParaRPr lang="en-SG" sz="1300"/>
        </a:p>
      </dgm:t>
    </dgm:pt>
    <dgm:pt modelId="{5342BDD0-56CA-4B2C-AB1E-6D4A6CE3EF44}">
      <dgm:prSet phldrT="[Text]" custT="1"/>
      <dgm:spPr/>
      <dgm:t>
        <a:bodyPr/>
        <a:lstStyle/>
        <a:p>
          <a:r>
            <a:rPr lang="en-SG" sz="1300" dirty="0"/>
            <a:t>Integration with Global IP Systems</a:t>
          </a:r>
        </a:p>
      </dgm:t>
    </dgm:pt>
    <dgm:pt modelId="{DA1115FF-3A07-44C1-92ED-939FDE456AA2}" type="parTrans" cxnId="{B0F7D489-EDBC-4089-B430-9F6BF6A91C20}">
      <dgm:prSet/>
      <dgm:spPr/>
      <dgm:t>
        <a:bodyPr/>
        <a:lstStyle/>
        <a:p>
          <a:endParaRPr lang="en-SG" sz="1300"/>
        </a:p>
      </dgm:t>
    </dgm:pt>
    <dgm:pt modelId="{5CA34C9B-4A7E-48AE-8B4B-C51BF2D4921B}" type="sibTrans" cxnId="{B0F7D489-EDBC-4089-B430-9F6BF6A91C20}">
      <dgm:prSet/>
      <dgm:spPr/>
      <dgm:t>
        <a:bodyPr/>
        <a:lstStyle/>
        <a:p>
          <a:endParaRPr lang="en-SG" sz="1300"/>
        </a:p>
      </dgm:t>
    </dgm:pt>
    <dgm:pt modelId="{F0D0FC9C-6692-4095-8B91-4FC3931308D1}">
      <dgm:prSet phldrT="[Text]" custT="1"/>
      <dgm:spPr/>
      <dgm:t>
        <a:bodyPr/>
        <a:lstStyle/>
        <a:p>
          <a:r>
            <a:rPr lang="en-SG" sz="1300" dirty="0"/>
            <a:t>Madrid Module</a:t>
          </a:r>
        </a:p>
      </dgm:t>
    </dgm:pt>
    <dgm:pt modelId="{417BCC67-9A54-4477-BCA9-D79AFF57C8DE}" type="parTrans" cxnId="{6A577E34-31B8-4D9D-96BF-BC37E81685DC}">
      <dgm:prSet/>
      <dgm:spPr/>
      <dgm:t>
        <a:bodyPr/>
        <a:lstStyle/>
        <a:p>
          <a:endParaRPr lang="en-SG" sz="1300"/>
        </a:p>
      </dgm:t>
    </dgm:pt>
    <dgm:pt modelId="{556E2322-27DB-4208-9A1F-398BC758100A}" type="sibTrans" cxnId="{6A577E34-31B8-4D9D-96BF-BC37E81685DC}">
      <dgm:prSet/>
      <dgm:spPr/>
      <dgm:t>
        <a:bodyPr/>
        <a:lstStyle/>
        <a:p>
          <a:endParaRPr lang="en-SG" sz="1300"/>
        </a:p>
      </dgm:t>
    </dgm:pt>
    <dgm:pt modelId="{F121BAB7-D1F8-4620-B73F-EF5EE8065A3B}">
      <dgm:prSet phldrT="[Text]" custT="1"/>
      <dgm:spPr/>
      <dgm:t>
        <a:bodyPr/>
        <a:lstStyle/>
        <a:p>
          <a:r>
            <a:rPr lang="en-SG" sz="1300" dirty="0"/>
            <a:t>WIPO Scan</a:t>
          </a:r>
        </a:p>
      </dgm:t>
    </dgm:pt>
    <dgm:pt modelId="{65AAA0EE-445A-4E46-9BD8-908A7875EF30}" type="parTrans" cxnId="{466EB500-4E54-4E6A-8B8C-33C04E94593D}">
      <dgm:prSet/>
      <dgm:spPr/>
      <dgm:t>
        <a:bodyPr/>
        <a:lstStyle/>
        <a:p>
          <a:endParaRPr lang="en-SG" sz="1300"/>
        </a:p>
      </dgm:t>
    </dgm:pt>
    <dgm:pt modelId="{92AF340C-CBFD-4EAC-A65F-E766DBC9D6A9}" type="sibTrans" cxnId="{466EB500-4E54-4E6A-8B8C-33C04E94593D}">
      <dgm:prSet/>
      <dgm:spPr/>
      <dgm:t>
        <a:bodyPr/>
        <a:lstStyle/>
        <a:p>
          <a:endParaRPr lang="en-SG" sz="1300"/>
        </a:p>
      </dgm:t>
    </dgm:pt>
    <dgm:pt modelId="{87B46472-E24B-4451-AFA6-F555EE6B1398}">
      <dgm:prSet phldrT="[Text]" custT="1"/>
      <dgm:spPr/>
      <dgm:t>
        <a:bodyPr/>
        <a:lstStyle/>
        <a:p>
          <a:r>
            <a:rPr lang="en-SG" sz="1300" dirty="0"/>
            <a:t>WIPO EDMS</a:t>
          </a:r>
        </a:p>
      </dgm:t>
    </dgm:pt>
    <dgm:pt modelId="{D4399950-E32C-4676-A28D-7A0EA2ED2203}" type="parTrans" cxnId="{5B51FE17-2E8C-4B7D-8168-C0E84BF8BEC5}">
      <dgm:prSet/>
      <dgm:spPr/>
      <dgm:t>
        <a:bodyPr/>
        <a:lstStyle/>
        <a:p>
          <a:endParaRPr lang="en-SG" sz="1300"/>
        </a:p>
      </dgm:t>
    </dgm:pt>
    <dgm:pt modelId="{D61A60DB-0658-4B76-94FE-C996654BDB08}" type="sibTrans" cxnId="{5B51FE17-2E8C-4B7D-8168-C0E84BF8BEC5}">
      <dgm:prSet/>
      <dgm:spPr/>
      <dgm:t>
        <a:bodyPr/>
        <a:lstStyle/>
        <a:p>
          <a:endParaRPr lang="en-SG" sz="1300"/>
        </a:p>
      </dgm:t>
    </dgm:pt>
    <dgm:pt modelId="{8F5A4884-0962-4C3C-8E23-EB159ACFB548}">
      <dgm:prSet phldrT="[Text]" custT="1"/>
      <dgm:spPr/>
      <dgm:t>
        <a:bodyPr/>
        <a:lstStyle/>
        <a:p>
          <a:r>
            <a:rPr lang="en-SG" sz="1300" b="1" dirty="0"/>
            <a:t>More Support for Patent Examination</a:t>
          </a:r>
        </a:p>
      </dgm:t>
    </dgm:pt>
    <dgm:pt modelId="{98330F06-571E-40DE-AD96-03DAC8BE7E50}" type="parTrans" cxnId="{C49FDD5B-9DC6-4F7F-9292-55EBBBC5250E}">
      <dgm:prSet/>
      <dgm:spPr/>
      <dgm:t>
        <a:bodyPr/>
        <a:lstStyle/>
        <a:p>
          <a:endParaRPr lang="en-SG"/>
        </a:p>
      </dgm:t>
    </dgm:pt>
    <dgm:pt modelId="{68EEFF43-86D4-4B00-9AAD-44A13232DC63}" type="sibTrans" cxnId="{C49FDD5B-9DC6-4F7F-9292-55EBBBC5250E}">
      <dgm:prSet/>
      <dgm:spPr/>
      <dgm:t>
        <a:bodyPr/>
        <a:lstStyle/>
        <a:p>
          <a:endParaRPr lang="en-SG"/>
        </a:p>
      </dgm:t>
    </dgm:pt>
    <dgm:pt modelId="{289DF03F-5AC4-4265-A529-95D2E472E6D9}">
      <dgm:prSet phldrT="[Text]" custT="1"/>
      <dgm:spPr/>
      <dgm:t>
        <a:bodyPr/>
        <a:lstStyle/>
        <a:p>
          <a:endParaRPr lang="en-SG" sz="1300" dirty="0"/>
        </a:p>
      </dgm:t>
    </dgm:pt>
    <dgm:pt modelId="{D66C5AE1-C1E0-4C7C-83FF-46517B559FE8}" type="parTrans" cxnId="{A0B67DC1-A4D5-4007-85F8-9DBD4A5B8E34}">
      <dgm:prSet/>
      <dgm:spPr/>
      <dgm:t>
        <a:bodyPr/>
        <a:lstStyle/>
        <a:p>
          <a:endParaRPr lang="en-SG"/>
        </a:p>
      </dgm:t>
    </dgm:pt>
    <dgm:pt modelId="{3E5D96BE-8CC7-4FEE-A504-8DC45CE0590F}" type="sibTrans" cxnId="{A0B67DC1-A4D5-4007-85F8-9DBD4A5B8E34}">
      <dgm:prSet/>
      <dgm:spPr/>
      <dgm:t>
        <a:bodyPr/>
        <a:lstStyle/>
        <a:p>
          <a:endParaRPr lang="en-SG"/>
        </a:p>
      </dgm:t>
    </dgm:pt>
    <dgm:pt modelId="{CBE6A4AA-28C7-42E8-9C99-E4087FBD596D}">
      <dgm:prSet phldrT="[Text]" custT="1"/>
      <dgm:spPr/>
      <dgm:t>
        <a:bodyPr/>
        <a:lstStyle/>
        <a:p>
          <a:r>
            <a:rPr lang="en-SG" sz="1300" b="1" dirty="0"/>
            <a:t>WIPO CASE Integration</a:t>
          </a:r>
        </a:p>
      </dgm:t>
    </dgm:pt>
    <dgm:pt modelId="{3EC77121-7A6B-4DD7-9CE7-44A0687BE0F6}" type="parTrans" cxnId="{07CD826C-699B-44E5-86D5-69D1068CCE7F}">
      <dgm:prSet/>
      <dgm:spPr/>
      <dgm:t>
        <a:bodyPr/>
        <a:lstStyle/>
        <a:p>
          <a:endParaRPr lang="en-SG"/>
        </a:p>
      </dgm:t>
    </dgm:pt>
    <dgm:pt modelId="{B5DD1B37-8155-4C55-95FE-31C96F77BD01}" type="sibTrans" cxnId="{07CD826C-699B-44E5-86D5-69D1068CCE7F}">
      <dgm:prSet/>
      <dgm:spPr/>
      <dgm:t>
        <a:bodyPr/>
        <a:lstStyle/>
        <a:p>
          <a:endParaRPr lang="en-SG"/>
        </a:p>
      </dgm:t>
    </dgm:pt>
    <dgm:pt modelId="{44A6818C-8DCE-4B7D-8748-CEF42C340D3E}">
      <dgm:prSet phldrT="[Text]" custT="1"/>
      <dgm:spPr/>
      <dgm:t>
        <a:bodyPr/>
        <a:lstStyle/>
        <a:p>
          <a:r>
            <a:rPr lang="en-SG" sz="1300" b="1" dirty="0"/>
            <a:t>PCT Integration</a:t>
          </a:r>
        </a:p>
      </dgm:t>
    </dgm:pt>
    <dgm:pt modelId="{5ED2961A-6E24-4B28-83B9-DB7BCDA9AD73}" type="parTrans" cxnId="{0E42B5AA-35DC-4E34-9D38-35CD01C1FEDD}">
      <dgm:prSet/>
      <dgm:spPr/>
      <dgm:t>
        <a:bodyPr/>
        <a:lstStyle/>
        <a:p>
          <a:endParaRPr lang="en-SG"/>
        </a:p>
      </dgm:t>
    </dgm:pt>
    <dgm:pt modelId="{30836F18-5E44-4959-9319-7A68AA3A4360}" type="sibTrans" cxnId="{0E42B5AA-35DC-4E34-9D38-35CD01C1FEDD}">
      <dgm:prSet/>
      <dgm:spPr/>
      <dgm:t>
        <a:bodyPr/>
        <a:lstStyle/>
        <a:p>
          <a:endParaRPr lang="en-SG"/>
        </a:p>
      </dgm:t>
    </dgm:pt>
    <dgm:pt modelId="{B743D431-4E24-4315-BE29-56A47717F7FA}">
      <dgm:prSet phldrT="[Text]" custT="1"/>
      <dgm:spPr/>
      <dgm:t>
        <a:bodyPr/>
        <a:lstStyle/>
        <a:p>
          <a:r>
            <a:rPr lang="en-SG" sz="1300" b="1" dirty="0"/>
            <a:t>WIPO Publish EDMS</a:t>
          </a:r>
        </a:p>
      </dgm:t>
    </dgm:pt>
    <dgm:pt modelId="{A1B8FC37-BB72-4BA6-8AFD-99FB8EBDD57E}" type="parTrans" cxnId="{D00EB1D0-71DD-4AE9-8B87-4D954675C3FD}">
      <dgm:prSet/>
      <dgm:spPr/>
      <dgm:t>
        <a:bodyPr/>
        <a:lstStyle/>
        <a:p>
          <a:endParaRPr lang="en-SG"/>
        </a:p>
      </dgm:t>
    </dgm:pt>
    <dgm:pt modelId="{FA160DDE-7B2A-4AD0-92CC-FACC6A2AF7C4}" type="sibTrans" cxnId="{D00EB1D0-71DD-4AE9-8B87-4D954675C3FD}">
      <dgm:prSet/>
      <dgm:spPr/>
      <dgm:t>
        <a:bodyPr/>
        <a:lstStyle/>
        <a:p>
          <a:endParaRPr lang="en-SG"/>
        </a:p>
      </dgm:t>
    </dgm:pt>
    <dgm:pt modelId="{B1DCB5F0-E3D8-4A09-BB38-F9B5F21E9739}" type="pres">
      <dgm:prSet presAssocID="{746D1605-8626-4AAD-A6FC-44B389FC3708}" presName="linearFlow" presStyleCnt="0">
        <dgm:presLayoutVars>
          <dgm:dir/>
          <dgm:animLvl val="lvl"/>
          <dgm:resizeHandles val="exact"/>
        </dgm:presLayoutVars>
      </dgm:prSet>
      <dgm:spPr/>
    </dgm:pt>
    <dgm:pt modelId="{3F8D0E90-3827-4194-BD47-C01E50A9FCB3}" type="pres">
      <dgm:prSet presAssocID="{F86C9EF7-5D01-473D-9672-978D75FEFF80}" presName="composite" presStyleCnt="0"/>
      <dgm:spPr/>
    </dgm:pt>
    <dgm:pt modelId="{60DB97B5-94A9-4D5B-852D-D359CA8DB571}" type="pres">
      <dgm:prSet presAssocID="{F86C9EF7-5D01-473D-9672-978D75FEFF80}" presName="parTx" presStyleLbl="node1" presStyleIdx="0" presStyleCnt="3">
        <dgm:presLayoutVars>
          <dgm:chMax val="0"/>
          <dgm:chPref val="0"/>
          <dgm:bulletEnabled val="1"/>
        </dgm:presLayoutVars>
      </dgm:prSet>
      <dgm:spPr/>
    </dgm:pt>
    <dgm:pt modelId="{E9666710-AE06-4451-9432-9B2B7BB2FE47}" type="pres">
      <dgm:prSet presAssocID="{F86C9EF7-5D01-473D-9672-978D75FEFF80}" presName="parSh" presStyleLbl="node1" presStyleIdx="0" presStyleCnt="3"/>
      <dgm:spPr/>
    </dgm:pt>
    <dgm:pt modelId="{84303A6E-EBDE-4EFB-8F69-13D57F6EDB28}" type="pres">
      <dgm:prSet presAssocID="{F86C9EF7-5D01-473D-9672-978D75FEFF80}" presName="desTx" presStyleLbl="fgAcc1" presStyleIdx="0" presStyleCnt="3" custScaleY="84893" custLinFactNeighborY="-15591">
        <dgm:presLayoutVars>
          <dgm:bulletEnabled val="1"/>
        </dgm:presLayoutVars>
      </dgm:prSet>
      <dgm:spPr/>
    </dgm:pt>
    <dgm:pt modelId="{5004D885-C956-4617-AD05-C3E58C98468F}" type="pres">
      <dgm:prSet presAssocID="{87DD8983-7AD3-4180-820B-7B87C71047DA}" presName="sibTrans" presStyleLbl="sibTrans2D1" presStyleIdx="0" presStyleCnt="2"/>
      <dgm:spPr/>
    </dgm:pt>
    <dgm:pt modelId="{1E18903D-1E33-460C-8B47-88A8FEDFF8FE}" type="pres">
      <dgm:prSet presAssocID="{87DD8983-7AD3-4180-820B-7B87C71047DA}" presName="connTx" presStyleLbl="sibTrans2D1" presStyleIdx="0" presStyleCnt="2"/>
      <dgm:spPr/>
    </dgm:pt>
    <dgm:pt modelId="{81855F99-4CEC-4D1F-B793-956FEB72157D}" type="pres">
      <dgm:prSet presAssocID="{634413D7-7C4A-4A15-AABF-2762AA2EF242}" presName="composite" presStyleCnt="0"/>
      <dgm:spPr/>
    </dgm:pt>
    <dgm:pt modelId="{E903438C-6016-49A0-A9E2-09D95725500A}" type="pres">
      <dgm:prSet presAssocID="{634413D7-7C4A-4A15-AABF-2762AA2EF242}" presName="parTx" presStyleLbl="node1" presStyleIdx="0" presStyleCnt="3">
        <dgm:presLayoutVars>
          <dgm:chMax val="0"/>
          <dgm:chPref val="0"/>
          <dgm:bulletEnabled val="1"/>
        </dgm:presLayoutVars>
      </dgm:prSet>
      <dgm:spPr/>
    </dgm:pt>
    <dgm:pt modelId="{8DE30ED0-A8F5-4B3C-8F16-16D9E6BDD95B}" type="pres">
      <dgm:prSet presAssocID="{634413D7-7C4A-4A15-AABF-2762AA2EF242}" presName="parSh" presStyleLbl="node1" presStyleIdx="1" presStyleCnt="3"/>
      <dgm:spPr/>
    </dgm:pt>
    <dgm:pt modelId="{AA1E491E-AEFE-4B0D-A998-F8E690036399}" type="pres">
      <dgm:prSet presAssocID="{634413D7-7C4A-4A15-AABF-2762AA2EF242}" presName="desTx" presStyleLbl="fgAcc1" presStyleIdx="1" presStyleCnt="3" custScaleY="84893" custLinFactNeighborX="291" custLinFactNeighborY="-15591">
        <dgm:presLayoutVars>
          <dgm:bulletEnabled val="1"/>
        </dgm:presLayoutVars>
      </dgm:prSet>
      <dgm:spPr/>
    </dgm:pt>
    <dgm:pt modelId="{833710EC-4AAE-4E38-8B99-D08DB14C41F0}" type="pres">
      <dgm:prSet presAssocID="{741DAC63-7372-498B-B777-2BB0C6DEC3DF}" presName="sibTrans" presStyleLbl="sibTrans2D1" presStyleIdx="1" presStyleCnt="2"/>
      <dgm:spPr/>
    </dgm:pt>
    <dgm:pt modelId="{7D4183E0-6E70-4FAB-B71B-8B44CAA7F009}" type="pres">
      <dgm:prSet presAssocID="{741DAC63-7372-498B-B777-2BB0C6DEC3DF}" presName="connTx" presStyleLbl="sibTrans2D1" presStyleIdx="1" presStyleCnt="2"/>
      <dgm:spPr/>
    </dgm:pt>
    <dgm:pt modelId="{0DD24128-70F9-4F7B-9BEA-0D88FF6E6841}" type="pres">
      <dgm:prSet presAssocID="{5342BDD0-56CA-4B2C-AB1E-6D4A6CE3EF44}" presName="composite" presStyleCnt="0"/>
      <dgm:spPr/>
    </dgm:pt>
    <dgm:pt modelId="{36C4BB7D-A9E2-43CE-ABC7-DF2C0A943E27}" type="pres">
      <dgm:prSet presAssocID="{5342BDD0-56CA-4B2C-AB1E-6D4A6CE3EF44}" presName="parTx" presStyleLbl="node1" presStyleIdx="1" presStyleCnt="3">
        <dgm:presLayoutVars>
          <dgm:chMax val="0"/>
          <dgm:chPref val="0"/>
          <dgm:bulletEnabled val="1"/>
        </dgm:presLayoutVars>
      </dgm:prSet>
      <dgm:spPr/>
    </dgm:pt>
    <dgm:pt modelId="{A5102617-5346-47D5-8DE6-51A34FB7AE48}" type="pres">
      <dgm:prSet presAssocID="{5342BDD0-56CA-4B2C-AB1E-6D4A6CE3EF44}" presName="parSh" presStyleLbl="node1" presStyleIdx="2" presStyleCnt="3"/>
      <dgm:spPr/>
    </dgm:pt>
    <dgm:pt modelId="{E1677C59-AE05-453C-AE0C-19FE78266FE2}" type="pres">
      <dgm:prSet presAssocID="{5342BDD0-56CA-4B2C-AB1E-6D4A6CE3EF44}" presName="desTx" presStyleLbl="fgAcc1" presStyleIdx="2" presStyleCnt="3" custScaleY="84893" custLinFactNeighborY="-15591">
        <dgm:presLayoutVars>
          <dgm:bulletEnabled val="1"/>
        </dgm:presLayoutVars>
      </dgm:prSet>
      <dgm:spPr/>
    </dgm:pt>
  </dgm:ptLst>
  <dgm:cxnLst>
    <dgm:cxn modelId="{466EB500-4E54-4E6A-8B8C-33C04E94593D}" srcId="{F86C9EF7-5D01-473D-9672-978D75FEFF80}" destId="{F121BAB7-D1F8-4620-B73F-EF5EE8065A3B}" srcOrd="1" destOrd="0" parTransId="{65AAA0EE-445A-4E46-9BD8-908A7875EF30}" sibTransId="{92AF340C-CBFD-4EAC-A65F-E766DBC9D6A9}"/>
    <dgm:cxn modelId="{963A6317-FCFD-475E-832B-B8BEE48046C1}" type="presOf" srcId="{87DD8983-7AD3-4180-820B-7B87C71047DA}" destId="{1E18903D-1E33-460C-8B47-88A8FEDFF8FE}" srcOrd="1" destOrd="0" presId="urn:microsoft.com/office/officeart/2005/8/layout/process3"/>
    <dgm:cxn modelId="{5B51FE17-2E8C-4B7D-8168-C0E84BF8BEC5}" srcId="{F86C9EF7-5D01-473D-9672-978D75FEFF80}" destId="{87B46472-E24B-4451-AFA6-F555EE6B1398}" srcOrd="2" destOrd="0" parTransId="{D4399950-E32C-4676-A28D-7A0EA2ED2203}" sibTransId="{D61A60DB-0658-4B76-94FE-C996654BDB08}"/>
    <dgm:cxn modelId="{57C50C23-76A6-4881-9643-A99429360D4A}" type="presOf" srcId="{741DAC63-7372-498B-B777-2BB0C6DEC3DF}" destId="{7D4183E0-6E70-4FAB-B71B-8B44CAA7F009}" srcOrd="1" destOrd="0" presId="urn:microsoft.com/office/officeart/2005/8/layout/process3"/>
    <dgm:cxn modelId="{CACF4A26-25BB-456E-8B70-E48AFF6AB33F}" type="presOf" srcId="{7A12F70F-9CED-4919-AA64-92686B9733D1}" destId="{AA1E491E-AEFE-4B0D-A998-F8E690036399}" srcOrd="0" destOrd="0" presId="urn:microsoft.com/office/officeart/2005/8/layout/process3"/>
    <dgm:cxn modelId="{6A577E34-31B8-4D9D-96BF-BC37E81685DC}" srcId="{5342BDD0-56CA-4B2C-AB1E-6D4A6CE3EF44}" destId="{F0D0FC9C-6692-4095-8B91-4FC3931308D1}" srcOrd="0" destOrd="0" parTransId="{417BCC67-9A54-4477-BCA9-D79AFF57C8DE}" sibTransId="{556E2322-27DB-4208-9A1F-398BC758100A}"/>
    <dgm:cxn modelId="{6C449437-6D19-4CF9-8180-6F6C2E8345DB}" type="presOf" srcId="{CBE6A4AA-28C7-42E8-9C99-E4087FBD596D}" destId="{E1677C59-AE05-453C-AE0C-19FE78266FE2}" srcOrd="0" destOrd="2" presId="urn:microsoft.com/office/officeart/2005/8/layout/process3"/>
    <dgm:cxn modelId="{88AA713A-7519-401B-A9C1-60D3C0014938}" type="presOf" srcId="{746D1605-8626-4AAD-A6FC-44B389FC3708}" destId="{B1DCB5F0-E3D8-4A09-BB38-F9B5F21E9739}" srcOrd="0" destOrd="0" presId="urn:microsoft.com/office/officeart/2005/8/layout/process3"/>
    <dgm:cxn modelId="{ED6C553E-9EEA-4C0E-B76D-9566D9266B7E}" type="presOf" srcId="{B743D431-4E24-4315-BE29-56A47717F7FA}" destId="{84303A6E-EBDE-4EFB-8F69-13D57F6EDB28}" srcOrd="0" destOrd="3" presId="urn:microsoft.com/office/officeart/2005/8/layout/process3"/>
    <dgm:cxn modelId="{C49FDD5B-9DC6-4F7F-9292-55EBBBC5250E}" srcId="{634413D7-7C4A-4A15-AABF-2762AA2EF242}" destId="{8F5A4884-0962-4C3C-8E23-EB159ACFB548}" srcOrd="1" destOrd="0" parTransId="{98330F06-571E-40DE-AD96-03DAC8BE7E50}" sibTransId="{68EEFF43-86D4-4B00-9AAD-44A13232DC63}"/>
    <dgm:cxn modelId="{7AFC6144-7491-4D9D-8E75-9528C5AB9DEC}" type="presOf" srcId="{44A6818C-8DCE-4B7D-8748-CEF42C340D3E}" destId="{E1677C59-AE05-453C-AE0C-19FE78266FE2}" srcOrd="0" destOrd="1" presId="urn:microsoft.com/office/officeart/2005/8/layout/process3"/>
    <dgm:cxn modelId="{07CD826C-699B-44E5-86D5-69D1068CCE7F}" srcId="{5342BDD0-56CA-4B2C-AB1E-6D4A6CE3EF44}" destId="{CBE6A4AA-28C7-42E8-9C99-E4087FBD596D}" srcOrd="2" destOrd="0" parTransId="{3EC77121-7A6B-4DD7-9CE7-44A0687BE0F6}" sibTransId="{B5DD1B37-8155-4C55-95FE-31C96F77BD01}"/>
    <dgm:cxn modelId="{29D17B7E-1920-4309-9645-742AB5834E7C}" srcId="{634413D7-7C4A-4A15-AABF-2762AA2EF242}" destId="{7A12F70F-9CED-4919-AA64-92686B9733D1}" srcOrd="0" destOrd="0" parTransId="{D6DA5208-32CA-4F64-B713-A2B801A1CC4F}" sibTransId="{360E6666-6BB5-4DEC-AF83-9DEC6C0978AE}"/>
    <dgm:cxn modelId="{B0F7D489-EDBC-4089-B430-9F6BF6A91C20}" srcId="{746D1605-8626-4AAD-A6FC-44B389FC3708}" destId="{5342BDD0-56CA-4B2C-AB1E-6D4A6CE3EF44}" srcOrd="2" destOrd="0" parTransId="{DA1115FF-3A07-44C1-92ED-939FDE456AA2}" sibTransId="{5CA34C9B-4A7E-48AE-8B4B-C51BF2D4921B}"/>
    <dgm:cxn modelId="{C756528E-21F6-4917-8DFD-BF17FEF538F7}" type="presOf" srcId="{87B46472-E24B-4451-AFA6-F555EE6B1398}" destId="{84303A6E-EBDE-4EFB-8F69-13D57F6EDB28}" srcOrd="0" destOrd="2" presId="urn:microsoft.com/office/officeart/2005/8/layout/process3"/>
    <dgm:cxn modelId="{4D68038F-53E9-40BA-B336-7C4413D14E42}" srcId="{746D1605-8626-4AAD-A6FC-44B389FC3708}" destId="{F86C9EF7-5D01-473D-9672-978D75FEFF80}" srcOrd="0" destOrd="0" parTransId="{25E71D90-421E-40C8-A41A-EEE4C51E9D70}" sibTransId="{87DD8983-7AD3-4180-820B-7B87C71047DA}"/>
    <dgm:cxn modelId="{7E4E8895-BAA0-452B-8A07-A87EFD3BD7BE}" type="presOf" srcId="{F121BAB7-D1F8-4620-B73F-EF5EE8065A3B}" destId="{84303A6E-EBDE-4EFB-8F69-13D57F6EDB28}" srcOrd="0" destOrd="1" presId="urn:microsoft.com/office/officeart/2005/8/layout/process3"/>
    <dgm:cxn modelId="{5C391F9C-97A1-4B2B-A168-5C0B8BB07211}" type="presOf" srcId="{87DD8983-7AD3-4180-820B-7B87C71047DA}" destId="{5004D885-C956-4617-AD05-C3E58C98468F}" srcOrd="0" destOrd="0" presId="urn:microsoft.com/office/officeart/2005/8/layout/process3"/>
    <dgm:cxn modelId="{AE58AAA5-4E0D-4947-897D-773BABEFA5B7}" type="presOf" srcId="{F86C9EF7-5D01-473D-9672-978D75FEFF80}" destId="{E9666710-AE06-4451-9432-9B2B7BB2FE47}" srcOrd="1" destOrd="0" presId="urn:microsoft.com/office/officeart/2005/8/layout/process3"/>
    <dgm:cxn modelId="{0E42B5AA-35DC-4E34-9D38-35CD01C1FEDD}" srcId="{5342BDD0-56CA-4B2C-AB1E-6D4A6CE3EF44}" destId="{44A6818C-8DCE-4B7D-8748-CEF42C340D3E}" srcOrd="1" destOrd="0" parTransId="{5ED2961A-6E24-4B28-83B9-DB7BCDA9AD73}" sibTransId="{30836F18-5E44-4959-9319-7A68AA3A4360}"/>
    <dgm:cxn modelId="{18D939B2-7B6E-4560-905F-219B05A48F48}" type="presOf" srcId="{741DAC63-7372-498B-B777-2BB0C6DEC3DF}" destId="{833710EC-4AAE-4E38-8B99-D08DB14C41F0}" srcOrd="0" destOrd="0" presId="urn:microsoft.com/office/officeart/2005/8/layout/process3"/>
    <dgm:cxn modelId="{AFBA11B9-0FCF-40AB-9C1E-365BEDA1AE66}" type="presOf" srcId="{8F5A4884-0962-4C3C-8E23-EB159ACFB548}" destId="{AA1E491E-AEFE-4B0D-A998-F8E690036399}" srcOrd="0" destOrd="1" presId="urn:microsoft.com/office/officeart/2005/8/layout/process3"/>
    <dgm:cxn modelId="{815C27BB-C222-4D52-A61E-BFA1C42F308F}" srcId="{F86C9EF7-5D01-473D-9672-978D75FEFF80}" destId="{F855572B-6BB1-4C82-96BF-77E3FF3A2A82}" srcOrd="0" destOrd="0" parTransId="{50F0531C-E3CE-47EF-BAC1-EBEE5C7859AB}" sibTransId="{7797D3EE-6C72-4C1B-8F89-4E82F4D0C63A}"/>
    <dgm:cxn modelId="{A0B67DC1-A4D5-4007-85F8-9DBD4A5B8E34}" srcId="{634413D7-7C4A-4A15-AABF-2762AA2EF242}" destId="{289DF03F-5AC4-4265-A529-95D2E472E6D9}" srcOrd="2" destOrd="0" parTransId="{D66C5AE1-C1E0-4C7C-83FF-46517B559FE8}" sibTransId="{3E5D96BE-8CC7-4FEE-A504-8DC45CE0590F}"/>
    <dgm:cxn modelId="{2B57E2CD-3F0C-4FBC-B972-4B19904505F3}" type="presOf" srcId="{634413D7-7C4A-4A15-AABF-2762AA2EF242}" destId="{E903438C-6016-49A0-A9E2-09D95725500A}" srcOrd="0" destOrd="0" presId="urn:microsoft.com/office/officeart/2005/8/layout/process3"/>
    <dgm:cxn modelId="{D00EB1D0-71DD-4AE9-8B87-4D954675C3FD}" srcId="{F86C9EF7-5D01-473D-9672-978D75FEFF80}" destId="{B743D431-4E24-4315-BE29-56A47717F7FA}" srcOrd="3" destOrd="0" parTransId="{A1B8FC37-BB72-4BA6-8AFD-99FB8EBDD57E}" sibTransId="{FA160DDE-7B2A-4AD0-92CC-FACC6A2AF7C4}"/>
    <dgm:cxn modelId="{B4C91FD5-DE4C-4FC8-BA77-AA7353113864}" type="presOf" srcId="{5342BDD0-56CA-4B2C-AB1E-6D4A6CE3EF44}" destId="{A5102617-5346-47D5-8DE6-51A34FB7AE48}" srcOrd="1" destOrd="0" presId="urn:microsoft.com/office/officeart/2005/8/layout/process3"/>
    <dgm:cxn modelId="{61A91EDD-0432-4947-A344-50BC5FEDF801}" type="presOf" srcId="{634413D7-7C4A-4A15-AABF-2762AA2EF242}" destId="{8DE30ED0-A8F5-4B3C-8F16-16D9E6BDD95B}" srcOrd="1" destOrd="0" presId="urn:microsoft.com/office/officeart/2005/8/layout/process3"/>
    <dgm:cxn modelId="{01F8F0E5-38B5-4E40-A2AB-8F8807CDCE0D}" srcId="{746D1605-8626-4AAD-A6FC-44B389FC3708}" destId="{634413D7-7C4A-4A15-AABF-2762AA2EF242}" srcOrd="1" destOrd="0" parTransId="{C9C0AC98-081B-4FCC-A375-2FF1F77A6559}" sibTransId="{741DAC63-7372-498B-B777-2BB0C6DEC3DF}"/>
    <dgm:cxn modelId="{3F93AAEB-A53F-4975-BBF8-F3B86899DCD7}" type="presOf" srcId="{289DF03F-5AC4-4265-A529-95D2E472E6D9}" destId="{AA1E491E-AEFE-4B0D-A998-F8E690036399}" srcOrd="0" destOrd="2" presId="urn:microsoft.com/office/officeart/2005/8/layout/process3"/>
    <dgm:cxn modelId="{948757F3-2442-4AE7-8C4E-4CEFC2C1F982}" type="presOf" srcId="{F0D0FC9C-6692-4095-8B91-4FC3931308D1}" destId="{E1677C59-AE05-453C-AE0C-19FE78266FE2}" srcOrd="0" destOrd="0" presId="urn:microsoft.com/office/officeart/2005/8/layout/process3"/>
    <dgm:cxn modelId="{00B38CF3-CA34-4BE4-8A04-B108E7B1B7AB}" type="presOf" srcId="{F855572B-6BB1-4C82-96BF-77E3FF3A2A82}" destId="{84303A6E-EBDE-4EFB-8F69-13D57F6EDB28}" srcOrd="0" destOrd="0" presId="urn:microsoft.com/office/officeart/2005/8/layout/process3"/>
    <dgm:cxn modelId="{291907F9-7900-4A2F-A4E7-14430776757D}" type="presOf" srcId="{F86C9EF7-5D01-473D-9672-978D75FEFF80}" destId="{60DB97B5-94A9-4D5B-852D-D359CA8DB571}" srcOrd="0" destOrd="0" presId="urn:microsoft.com/office/officeart/2005/8/layout/process3"/>
    <dgm:cxn modelId="{C12FC6F9-4D9A-4E83-ACFE-38568BABB0D2}" type="presOf" srcId="{5342BDD0-56CA-4B2C-AB1E-6D4A6CE3EF44}" destId="{36C4BB7D-A9E2-43CE-ABC7-DF2C0A943E27}" srcOrd="0" destOrd="0" presId="urn:microsoft.com/office/officeart/2005/8/layout/process3"/>
    <dgm:cxn modelId="{347463EF-0768-4939-B104-D1B4031C88D3}" type="presParOf" srcId="{B1DCB5F0-E3D8-4A09-BB38-F9B5F21E9739}" destId="{3F8D0E90-3827-4194-BD47-C01E50A9FCB3}" srcOrd="0" destOrd="0" presId="urn:microsoft.com/office/officeart/2005/8/layout/process3"/>
    <dgm:cxn modelId="{92D99E6D-99BA-4BA2-BE57-D5469FDEE086}" type="presParOf" srcId="{3F8D0E90-3827-4194-BD47-C01E50A9FCB3}" destId="{60DB97B5-94A9-4D5B-852D-D359CA8DB571}" srcOrd="0" destOrd="0" presId="urn:microsoft.com/office/officeart/2005/8/layout/process3"/>
    <dgm:cxn modelId="{D8D350F9-59AC-4477-B0C6-1B4AA8CDF3C0}" type="presParOf" srcId="{3F8D0E90-3827-4194-BD47-C01E50A9FCB3}" destId="{E9666710-AE06-4451-9432-9B2B7BB2FE47}" srcOrd="1" destOrd="0" presId="urn:microsoft.com/office/officeart/2005/8/layout/process3"/>
    <dgm:cxn modelId="{CC8F7E28-494D-44D1-BAE6-E7FB3BCBCE51}" type="presParOf" srcId="{3F8D0E90-3827-4194-BD47-C01E50A9FCB3}" destId="{84303A6E-EBDE-4EFB-8F69-13D57F6EDB28}" srcOrd="2" destOrd="0" presId="urn:microsoft.com/office/officeart/2005/8/layout/process3"/>
    <dgm:cxn modelId="{8DB3A359-A8BA-4C3E-B632-B24F7E3C4D07}" type="presParOf" srcId="{B1DCB5F0-E3D8-4A09-BB38-F9B5F21E9739}" destId="{5004D885-C956-4617-AD05-C3E58C98468F}" srcOrd="1" destOrd="0" presId="urn:microsoft.com/office/officeart/2005/8/layout/process3"/>
    <dgm:cxn modelId="{C41CFA87-A781-43C5-8962-E83889FD003D}" type="presParOf" srcId="{5004D885-C956-4617-AD05-C3E58C98468F}" destId="{1E18903D-1E33-460C-8B47-88A8FEDFF8FE}" srcOrd="0" destOrd="0" presId="urn:microsoft.com/office/officeart/2005/8/layout/process3"/>
    <dgm:cxn modelId="{D135C404-CAF1-405C-94F4-E5FB807AAF68}" type="presParOf" srcId="{B1DCB5F0-E3D8-4A09-BB38-F9B5F21E9739}" destId="{81855F99-4CEC-4D1F-B793-956FEB72157D}" srcOrd="2" destOrd="0" presId="urn:microsoft.com/office/officeart/2005/8/layout/process3"/>
    <dgm:cxn modelId="{EC7610FC-FC09-4396-A707-5152C95492EE}" type="presParOf" srcId="{81855F99-4CEC-4D1F-B793-956FEB72157D}" destId="{E903438C-6016-49A0-A9E2-09D95725500A}" srcOrd="0" destOrd="0" presId="urn:microsoft.com/office/officeart/2005/8/layout/process3"/>
    <dgm:cxn modelId="{5CE96F87-855D-4558-B65C-AFEEB3ACE461}" type="presParOf" srcId="{81855F99-4CEC-4D1F-B793-956FEB72157D}" destId="{8DE30ED0-A8F5-4B3C-8F16-16D9E6BDD95B}" srcOrd="1" destOrd="0" presId="urn:microsoft.com/office/officeart/2005/8/layout/process3"/>
    <dgm:cxn modelId="{41088A4B-F60A-4585-BCD3-0D6CBFD8E14C}" type="presParOf" srcId="{81855F99-4CEC-4D1F-B793-956FEB72157D}" destId="{AA1E491E-AEFE-4B0D-A998-F8E690036399}" srcOrd="2" destOrd="0" presId="urn:microsoft.com/office/officeart/2005/8/layout/process3"/>
    <dgm:cxn modelId="{AC719AF0-D097-417E-AE86-C6CBF6B2F630}" type="presParOf" srcId="{B1DCB5F0-E3D8-4A09-BB38-F9B5F21E9739}" destId="{833710EC-4AAE-4E38-8B99-D08DB14C41F0}" srcOrd="3" destOrd="0" presId="urn:microsoft.com/office/officeart/2005/8/layout/process3"/>
    <dgm:cxn modelId="{DFD94513-3ED6-454A-9988-1EEA55255558}" type="presParOf" srcId="{833710EC-4AAE-4E38-8B99-D08DB14C41F0}" destId="{7D4183E0-6E70-4FAB-B71B-8B44CAA7F009}" srcOrd="0" destOrd="0" presId="urn:microsoft.com/office/officeart/2005/8/layout/process3"/>
    <dgm:cxn modelId="{66E6B571-CA85-4381-97D2-B7D993083FDD}" type="presParOf" srcId="{B1DCB5F0-E3D8-4A09-BB38-F9B5F21E9739}" destId="{0DD24128-70F9-4F7B-9BEA-0D88FF6E6841}" srcOrd="4" destOrd="0" presId="urn:microsoft.com/office/officeart/2005/8/layout/process3"/>
    <dgm:cxn modelId="{3DACB416-77DF-4E8F-A6B5-AE53E3CFA726}" type="presParOf" srcId="{0DD24128-70F9-4F7B-9BEA-0D88FF6E6841}" destId="{36C4BB7D-A9E2-43CE-ABC7-DF2C0A943E27}" srcOrd="0" destOrd="0" presId="urn:microsoft.com/office/officeart/2005/8/layout/process3"/>
    <dgm:cxn modelId="{30B98F34-4660-4E74-BD08-9794514239C7}" type="presParOf" srcId="{0DD24128-70F9-4F7B-9BEA-0D88FF6E6841}" destId="{A5102617-5346-47D5-8DE6-51A34FB7AE48}" srcOrd="1" destOrd="0" presId="urn:microsoft.com/office/officeart/2005/8/layout/process3"/>
    <dgm:cxn modelId="{447CAA14-82AF-4646-9FCF-1C27F8BF518E}" type="presParOf" srcId="{0DD24128-70F9-4F7B-9BEA-0D88FF6E6841}" destId="{E1677C59-AE05-453C-AE0C-19FE78266FE2}" srcOrd="2" destOrd="0" presId="urn:microsoft.com/office/officeart/2005/8/layout/process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666710-AE06-4451-9432-9B2B7BB2FE47}">
      <dsp:nvSpPr>
        <dsp:cNvPr id="0" name=""/>
        <dsp:cNvSpPr/>
      </dsp:nvSpPr>
      <dsp:spPr>
        <a:xfrm>
          <a:off x="4369" y="909168"/>
          <a:ext cx="1986657" cy="1140994"/>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106680" rIns="106680" bIns="57150" numCol="1" spcCol="1270" anchor="t" anchorCtr="0">
          <a:noAutofit/>
        </a:bodyPr>
        <a:lstStyle/>
        <a:p>
          <a:pPr marL="0" lvl="0" indent="0" algn="l" defTabSz="666750">
            <a:lnSpc>
              <a:spcPct val="90000"/>
            </a:lnSpc>
            <a:spcBef>
              <a:spcPct val="0"/>
            </a:spcBef>
            <a:spcAft>
              <a:spcPct val="35000"/>
            </a:spcAft>
            <a:buNone/>
          </a:pPr>
          <a:r>
            <a:rPr lang="en-SG" sz="1500" kern="1200" dirty="0"/>
            <a:t>Filing/Reception</a:t>
          </a:r>
        </a:p>
      </dsp:txBody>
      <dsp:txXfrm>
        <a:off x="4369" y="909168"/>
        <a:ext cx="1986657" cy="760663"/>
      </dsp:txXfrm>
    </dsp:sp>
    <dsp:sp modelId="{84303A6E-EBDE-4EFB-8F69-13D57F6EDB28}">
      <dsp:nvSpPr>
        <dsp:cNvPr id="0" name=""/>
        <dsp:cNvSpPr/>
      </dsp:nvSpPr>
      <dsp:spPr>
        <a:xfrm>
          <a:off x="411275" y="1669831"/>
          <a:ext cx="1986657" cy="1485000"/>
        </a:xfrm>
        <a:prstGeom prst="roundRect">
          <a:avLst>
            <a:gd name="adj" fmla="val 10000"/>
          </a:avLst>
        </a:prstGeom>
        <a:solidFill>
          <a:schemeClr val="accent6">
            <a:alpha val="90000"/>
            <a:tint val="40000"/>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Char char="•"/>
          </a:pPr>
          <a:r>
            <a:rPr lang="en-SG" sz="1500" kern="1200" dirty="0"/>
            <a:t>IPAS Reception Module</a:t>
          </a:r>
        </a:p>
        <a:p>
          <a:pPr marL="114300" lvl="1" indent="-114300" algn="l" defTabSz="666750">
            <a:lnSpc>
              <a:spcPct val="90000"/>
            </a:lnSpc>
            <a:spcBef>
              <a:spcPct val="0"/>
            </a:spcBef>
            <a:spcAft>
              <a:spcPct val="15000"/>
            </a:spcAft>
            <a:buChar char="•"/>
          </a:pPr>
          <a:r>
            <a:rPr lang="en-SG" sz="1500" b="1" kern="1200" dirty="0"/>
            <a:t>WIPO File </a:t>
          </a:r>
          <a:br>
            <a:rPr lang="en-SG" sz="1500" b="1" kern="1200" dirty="0"/>
          </a:br>
          <a:r>
            <a:rPr lang="en-SG" sz="1400" b="0" kern="1200" dirty="0"/>
            <a:t>Electronic Document Reception</a:t>
          </a:r>
        </a:p>
      </dsp:txBody>
      <dsp:txXfrm>
        <a:off x="454769" y="1713325"/>
        <a:ext cx="1899669" cy="1398012"/>
      </dsp:txXfrm>
    </dsp:sp>
    <dsp:sp modelId="{5004D885-C956-4617-AD05-C3E58C98468F}">
      <dsp:nvSpPr>
        <dsp:cNvPr id="0" name=""/>
        <dsp:cNvSpPr/>
      </dsp:nvSpPr>
      <dsp:spPr>
        <a:xfrm>
          <a:off x="2292196" y="1042189"/>
          <a:ext cx="638480" cy="494620"/>
        </a:xfrm>
        <a:prstGeom prst="rightArrow">
          <a:avLst>
            <a:gd name="adj1" fmla="val 60000"/>
            <a:gd name="adj2" fmla="val 50000"/>
          </a:avLst>
        </a:prstGeom>
        <a:gradFill rotWithShape="0">
          <a:gsLst>
            <a:gs pos="0">
              <a:schemeClr val="accent6">
                <a:tint val="60000"/>
                <a:hueOff val="0"/>
                <a:satOff val="0"/>
                <a:lumOff val="0"/>
                <a:alphaOff val="0"/>
                <a:tint val="50000"/>
                <a:satMod val="300000"/>
              </a:schemeClr>
            </a:gs>
            <a:gs pos="35000">
              <a:schemeClr val="accent6">
                <a:tint val="60000"/>
                <a:hueOff val="0"/>
                <a:satOff val="0"/>
                <a:lumOff val="0"/>
                <a:alphaOff val="0"/>
                <a:tint val="37000"/>
                <a:satMod val="300000"/>
              </a:schemeClr>
            </a:gs>
            <a:gs pos="100000">
              <a:schemeClr val="accent6">
                <a:tint val="6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SG" sz="1200" kern="1200"/>
        </a:p>
      </dsp:txBody>
      <dsp:txXfrm>
        <a:off x="2292196" y="1141113"/>
        <a:ext cx="490094" cy="296772"/>
      </dsp:txXfrm>
    </dsp:sp>
    <dsp:sp modelId="{8DE30ED0-A8F5-4B3C-8F16-16D9E6BDD95B}">
      <dsp:nvSpPr>
        <dsp:cNvPr id="0" name=""/>
        <dsp:cNvSpPr/>
      </dsp:nvSpPr>
      <dsp:spPr>
        <a:xfrm>
          <a:off x="3195706" y="909168"/>
          <a:ext cx="1986657" cy="1140994"/>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106680" rIns="106680" bIns="57150" numCol="1" spcCol="1270" anchor="t" anchorCtr="0">
          <a:noAutofit/>
        </a:bodyPr>
        <a:lstStyle/>
        <a:p>
          <a:pPr marL="0" lvl="0" indent="0" algn="l" defTabSz="666750">
            <a:lnSpc>
              <a:spcPct val="90000"/>
            </a:lnSpc>
            <a:spcBef>
              <a:spcPct val="0"/>
            </a:spcBef>
            <a:spcAft>
              <a:spcPct val="35000"/>
            </a:spcAft>
            <a:buNone/>
          </a:pPr>
          <a:r>
            <a:rPr lang="en-SG" sz="1500" kern="1200" dirty="0"/>
            <a:t>Administration</a:t>
          </a:r>
        </a:p>
      </dsp:txBody>
      <dsp:txXfrm>
        <a:off x="3195706" y="909168"/>
        <a:ext cx="1986657" cy="760663"/>
      </dsp:txXfrm>
    </dsp:sp>
    <dsp:sp modelId="{AA1E491E-AEFE-4B0D-A998-F8E690036399}">
      <dsp:nvSpPr>
        <dsp:cNvPr id="0" name=""/>
        <dsp:cNvSpPr/>
      </dsp:nvSpPr>
      <dsp:spPr>
        <a:xfrm>
          <a:off x="3602612" y="1669831"/>
          <a:ext cx="1986657" cy="1485000"/>
        </a:xfrm>
        <a:prstGeom prst="roundRect">
          <a:avLst>
            <a:gd name="adj" fmla="val 10000"/>
          </a:avLst>
        </a:prstGeom>
        <a:solidFill>
          <a:schemeClr val="accent6">
            <a:alpha val="90000"/>
            <a:tint val="40000"/>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Char char="•"/>
          </a:pPr>
          <a:r>
            <a:rPr lang="en-SG" sz="1500" b="0" kern="1200" dirty="0"/>
            <a:t>IPAS Core System</a:t>
          </a:r>
          <a:br>
            <a:rPr lang="en-SG" sz="1500" b="0" kern="1200" dirty="0"/>
          </a:br>
          <a:endParaRPr lang="en-SG" sz="1500" b="1" kern="1200" dirty="0"/>
        </a:p>
      </dsp:txBody>
      <dsp:txXfrm>
        <a:off x="3646106" y="1713325"/>
        <a:ext cx="1899669" cy="1398012"/>
      </dsp:txXfrm>
    </dsp:sp>
    <dsp:sp modelId="{833710EC-4AAE-4E38-8B99-D08DB14C41F0}">
      <dsp:nvSpPr>
        <dsp:cNvPr id="0" name=""/>
        <dsp:cNvSpPr/>
      </dsp:nvSpPr>
      <dsp:spPr>
        <a:xfrm>
          <a:off x="5483534" y="1042189"/>
          <a:ext cx="638480" cy="494620"/>
        </a:xfrm>
        <a:prstGeom prst="rightArrow">
          <a:avLst>
            <a:gd name="adj1" fmla="val 60000"/>
            <a:gd name="adj2" fmla="val 50000"/>
          </a:avLst>
        </a:prstGeom>
        <a:gradFill rotWithShape="0">
          <a:gsLst>
            <a:gs pos="0">
              <a:schemeClr val="accent6">
                <a:tint val="60000"/>
                <a:hueOff val="0"/>
                <a:satOff val="0"/>
                <a:lumOff val="0"/>
                <a:alphaOff val="0"/>
                <a:tint val="50000"/>
                <a:satMod val="300000"/>
              </a:schemeClr>
            </a:gs>
            <a:gs pos="35000">
              <a:schemeClr val="accent6">
                <a:tint val="60000"/>
                <a:hueOff val="0"/>
                <a:satOff val="0"/>
                <a:lumOff val="0"/>
                <a:alphaOff val="0"/>
                <a:tint val="37000"/>
                <a:satMod val="300000"/>
              </a:schemeClr>
            </a:gs>
            <a:gs pos="100000">
              <a:schemeClr val="accent6">
                <a:tint val="6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SG" sz="1200" kern="1200"/>
        </a:p>
      </dsp:txBody>
      <dsp:txXfrm>
        <a:off x="5483534" y="1141113"/>
        <a:ext cx="490094" cy="296772"/>
      </dsp:txXfrm>
    </dsp:sp>
    <dsp:sp modelId="{A5102617-5346-47D5-8DE6-51A34FB7AE48}">
      <dsp:nvSpPr>
        <dsp:cNvPr id="0" name=""/>
        <dsp:cNvSpPr/>
      </dsp:nvSpPr>
      <dsp:spPr>
        <a:xfrm>
          <a:off x="6387044" y="909168"/>
          <a:ext cx="1986657" cy="1140994"/>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106680" rIns="106680" bIns="57150" numCol="1" spcCol="1270" anchor="t" anchorCtr="0">
          <a:noAutofit/>
        </a:bodyPr>
        <a:lstStyle/>
        <a:p>
          <a:pPr marL="0" lvl="0" indent="0" algn="l" defTabSz="666750">
            <a:lnSpc>
              <a:spcPct val="90000"/>
            </a:lnSpc>
            <a:spcBef>
              <a:spcPct val="0"/>
            </a:spcBef>
            <a:spcAft>
              <a:spcPct val="35000"/>
            </a:spcAft>
            <a:buNone/>
          </a:pPr>
          <a:r>
            <a:rPr lang="en-SG" sz="1500" kern="1200" dirty="0"/>
            <a:t>Publication &amp; Dissemination of Info.</a:t>
          </a:r>
        </a:p>
      </dsp:txBody>
      <dsp:txXfrm>
        <a:off x="6387044" y="909168"/>
        <a:ext cx="1986657" cy="760663"/>
      </dsp:txXfrm>
    </dsp:sp>
    <dsp:sp modelId="{E1677C59-AE05-453C-AE0C-19FE78266FE2}">
      <dsp:nvSpPr>
        <dsp:cNvPr id="0" name=""/>
        <dsp:cNvSpPr/>
      </dsp:nvSpPr>
      <dsp:spPr>
        <a:xfrm>
          <a:off x="6793950" y="1669831"/>
          <a:ext cx="1986657" cy="1485000"/>
        </a:xfrm>
        <a:prstGeom prst="roundRect">
          <a:avLst>
            <a:gd name="adj" fmla="val 10000"/>
          </a:avLst>
        </a:prstGeom>
        <a:solidFill>
          <a:schemeClr val="accent6">
            <a:alpha val="90000"/>
            <a:tint val="40000"/>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SG" sz="1200" kern="1200" dirty="0"/>
            <a:t>IPAS Journal Management Module</a:t>
          </a:r>
        </a:p>
        <a:p>
          <a:pPr marL="114300" lvl="1" indent="-114300" algn="l" defTabSz="533400">
            <a:lnSpc>
              <a:spcPct val="90000"/>
            </a:lnSpc>
            <a:spcBef>
              <a:spcPct val="0"/>
            </a:spcBef>
            <a:spcAft>
              <a:spcPct val="15000"/>
            </a:spcAft>
            <a:buChar char="•"/>
          </a:pPr>
          <a:r>
            <a:rPr lang="en-SG" sz="1200" kern="1200" dirty="0"/>
            <a:t>Data Exchange with </a:t>
          </a:r>
          <a:r>
            <a:rPr lang="en-SG" sz="1200" kern="1200" dirty="0" err="1"/>
            <a:t>PatentScope</a:t>
          </a:r>
          <a:r>
            <a:rPr lang="en-SG" sz="1200" kern="1200" dirty="0"/>
            <a:t>, Global Brand Database</a:t>
          </a:r>
        </a:p>
        <a:p>
          <a:pPr marL="114300" lvl="1" indent="-114300" algn="l" defTabSz="622300">
            <a:lnSpc>
              <a:spcPct val="90000"/>
            </a:lnSpc>
            <a:spcBef>
              <a:spcPct val="0"/>
            </a:spcBef>
            <a:spcAft>
              <a:spcPct val="15000"/>
            </a:spcAft>
            <a:buChar char="•"/>
          </a:pPr>
          <a:r>
            <a:rPr lang="en-SG" sz="1400" b="1" kern="1200" dirty="0"/>
            <a:t>WIPO Publish</a:t>
          </a:r>
        </a:p>
      </dsp:txBody>
      <dsp:txXfrm>
        <a:off x="6837444" y="1713325"/>
        <a:ext cx="1899669" cy="13980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666710-AE06-4451-9432-9B2B7BB2FE47}">
      <dsp:nvSpPr>
        <dsp:cNvPr id="0" name=""/>
        <dsp:cNvSpPr/>
      </dsp:nvSpPr>
      <dsp:spPr>
        <a:xfrm>
          <a:off x="3923" y="5962"/>
          <a:ext cx="1784034" cy="1339199"/>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2456" tIns="92456" rIns="92456" bIns="49530" numCol="1" spcCol="1270" anchor="t" anchorCtr="0">
          <a:noAutofit/>
        </a:bodyPr>
        <a:lstStyle/>
        <a:p>
          <a:pPr marL="0" lvl="0" indent="0" algn="l" defTabSz="577850">
            <a:lnSpc>
              <a:spcPct val="90000"/>
            </a:lnSpc>
            <a:spcBef>
              <a:spcPct val="0"/>
            </a:spcBef>
            <a:spcAft>
              <a:spcPct val="35000"/>
            </a:spcAft>
            <a:buNone/>
          </a:pPr>
          <a:r>
            <a:rPr lang="en-SG" sz="1300" kern="1200" dirty="0"/>
            <a:t>Archive &amp; File Management</a:t>
          </a:r>
        </a:p>
      </dsp:txBody>
      <dsp:txXfrm>
        <a:off x="3923" y="5962"/>
        <a:ext cx="1784034" cy="713613"/>
      </dsp:txXfrm>
    </dsp:sp>
    <dsp:sp modelId="{84303A6E-EBDE-4EFB-8F69-13D57F6EDB28}">
      <dsp:nvSpPr>
        <dsp:cNvPr id="0" name=""/>
        <dsp:cNvSpPr/>
      </dsp:nvSpPr>
      <dsp:spPr>
        <a:xfrm>
          <a:off x="369328" y="576058"/>
          <a:ext cx="1784034" cy="1515849"/>
        </a:xfrm>
        <a:prstGeom prst="roundRect">
          <a:avLst>
            <a:gd name="adj" fmla="val 10000"/>
          </a:avLst>
        </a:prstGeom>
        <a:solidFill>
          <a:schemeClr val="accent6">
            <a:alpha val="90000"/>
            <a:tint val="40000"/>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l" defTabSz="577850">
            <a:lnSpc>
              <a:spcPct val="90000"/>
            </a:lnSpc>
            <a:spcBef>
              <a:spcPct val="0"/>
            </a:spcBef>
            <a:spcAft>
              <a:spcPct val="15000"/>
            </a:spcAft>
            <a:buChar char="•"/>
          </a:pPr>
          <a:r>
            <a:rPr lang="en-SG" sz="1300" kern="1200" dirty="0"/>
            <a:t>IPAS dossier tracking</a:t>
          </a:r>
        </a:p>
        <a:p>
          <a:pPr marL="114300" lvl="1" indent="-114300" algn="l" defTabSz="577850">
            <a:lnSpc>
              <a:spcPct val="90000"/>
            </a:lnSpc>
            <a:spcBef>
              <a:spcPct val="0"/>
            </a:spcBef>
            <a:spcAft>
              <a:spcPct val="15000"/>
            </a:spcAft>
            <a:buChar char="•"/>
          </a:pPr>
          <a:r>
            <a:rPr lang="en-SG" sz="1300" kern="1200" dirty="0"/>
            <a:t>WIPO Scan</a:t>
          </a:r>
        </a:p>
        <a:p>
          <a:pPr marL="114300" lvl="1" indent="-114300" algn="l" defTabSz="577850">
            <a:lnSpc>
              <a:spcPct val="90000"/>
            </a:lnSpc>
            <a:spcBef>
              <a:spcPct val="0"/>
            </a:spcBef>
            <a:spcAft>
              <a:spcPct val="15000"/>
            </a:spcAft>
            <a:buChar char="•"/>
          </a:pPr>
          <a:r>
            <a:rPr lang="en-SG" sz="1300" kern="1200" dirty="0"/>
            <a:t>WIPO EDMS</a:t>
          </a:r>
        </a:p>
        <a:p>
          <a:pPr marL="114300" lvl="1" indent="-114300" algn="l" defTabSz="577850">
            <a:lnSpc>
              <a:spcPct val="90000"/>
            </a:lnSpc>
            <a:spcBef>
              <a:spcPct val="0"/>
            </a:spcBef>
            <a:spcAft>
              <a:spcPct val="15000"/>
            </a:spcAft>
            <a:buChar char="•"/>
          </a:pPr>
          <a:r>
            <a:rPr lang="en-SG" sz="1300" b="1" kern="1200" dirty="0"/>
            <a:t>WIPO Publish EDMS</a:t>
          </a:r>
        </a:p>
      </dsp:txBody>
      <dsp:txXfrm>
        <a:off x="413726" y="620456"/>
        <a:ext cx="1695238" cy="1427053"/>
      </dsp:txXfrm>
    </dsp:sp>
    <dsp:sp modelId="{5004D885-C956-4617-AD05-C3E58C98468F}">
      <dsp:nvSpPr>
        <dsp:cNvPr id="0" name=""/>
        <dsp:cNvSpPr/>
      </dsp:nvSpPr>
      <dsp:spPr>
        <a:xfrm>
          <a:off x="2058411" y="140683"/>
          <a:ext cx="573360" cy="444172"/>
        </a:xfrm>
        <a:prstGeom prst="rightArrow">
          <a:avLst>
            <a:gd name="adj1" fmla="val 60000"/>
            <a:gd name="adj2" fmla="val 50000"/>
          </a:avLst>
        </a:prstGeom>
        <a:no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SG" sz="1300" kern="1200"/>
        </a:p>
      </dsp:txBody>
      <dsp:txXfrm>
        <a:off x="2058411" y="229517"/>
        <a:ext cx="440108" cy="266504"/>
      </dsp:txXfrm>
    </dsp:sp>
    <dsp:sp modelId="{8DE30ED0-A8F5-4B3C-8F16-16D9E6BDD95B}">
      <dsp:nvSpPr>
        <dsp:cNvPr id="0" name=""/>
        <dsp:cNvSpPr/>
      </dsp:nvSpPr>
      <dsp:spPr>
        <a:xfrm>
          <a:off x="2869770" y="5962"/>
          <a:ext cx="1784034" cy="1339199"/>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2456" tIns="92456" rIns="92456" bIns="49530" numCol="1" spcCol="1270" anchor="t" anchorCtr="0">
          <a:noAutofit/>
        </a:bodyPr>
        <a:lstStyle/>
        <a:p>
          <a:pPr marL="0" lvl="0" indent="0" algn="l" defTabSz="577850">
            <a:lnSpc>
              <a:spcPct val="90000"/>
            </a:lnSpc>
            <a:spcBef>
              <a:spcPct val="0"/>
            </a:spcBef>
            <a:spcAft>
              <a:spcPct val="35000"/>
            </a:spcAft>
            <a:buNone/>
          </a:pPr>
          <a:r>
            <a:rPr lang="en-SG" sz="1300" kern="1200" dirty="0"/>
            <a:t>Examination</a:t>
          </a:r>
        </a:p>
      </dsp:txBody>
      <dsp:txXfrm>
        <a:off x="2869770" y="5962"/>
        <a:ext cx="1784034" cy="713613"/>
      </dsp:txXfrm>
    </dsp:sp>
    <dsp:sp modelId="{AA1E491E-AEFE-4B0D-A998-F8E690036399}">
      <dsp:nvSpPr>
        <dsp:cNvPr id="0" name=""/>
        <dsp:cNvSpPr/>
      </dsp:nvSpPr>
      <dsp:spPr>
        <a:xfrm>
          <a:off x="3240366" y="576058"/>
          <a:ext cx="1784034" cy="1515849"/>
        </a:xfrm>
        <a:prstGeom prst="roundRect">
          <a:avLst>
            <a:gd name="adj" fmla="val 10000"/>
          </a:avLst>
        </a:prstGeom>
        <a:solidFill>
          <a:schemeClr val="accent6">
            <a:alpha val="90000"/>
            <a:tint val="40000"/>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l" defTabSz="577850">
            <a:lnSpc>
              <a:spcPct val="90000"/>
            </a:lnSpc>
            <a:spcBef>
              <a:spcPct val="0"/>
            </a:spcBef>
            <a:spcAft>
              <a:spcPct val="15000"/>
            </a:spcAft>
            <a:buChar char="•"/>
          </a:pPr>
          <a:r>
            <a:rPr lang="en-SG" sz="1300" kern="1200" dirty="0"/>
            <a:t>IPAS Support for TM Examination</a:t>
          </a:r>
        </a:p>
        <a:p>
          <a:pPr marL="114300" lvl="1" indent="-114300" algn="l" defTabSz="577850">
            <a:lnSpc>
              <a:spcPct val="90000"/>
            </a:lnSpc>
            <a:spcBef>
              <a:spcPct val="0"/>
            </a:spcBef>
            <a:spcAft>
              <a:spcPct val="15000"/>
            </a:spcAft>
            <a:buChar char="•"/>
          </a:pPr>
          <a:r>
            <a:rPr lang="en-SG" sz="1300" b="1" kern="1200" dirty="0"/>
            <a:t>More Support for Patent Examination</a:t>
          </a:r>
        </a:p>
        <a:p>
          <a:pPr marL="114300" lvl="1" indent="-114300" algn="l" defTabSz="577850">
            <a:lnSpc>
              <a:spcPct val="90000"/>
            </a:lnSpc>
            <a:spcBef>
              <a:spcPct val="0"/>
            </a:spcBef>
            <a:spcAft>
              <a:spcPct val="15000"/>
            </a:spcAft>
            <a:buChar char="•"/>
          </a:pPr>
          <a:endParaRPr lang="en-SG" sz="1300" kern="1200" dirty="0"/>
        </a:p>
      </dsp:txBody>
      <dsp:txXfrm>
        <a:off x="3284764" y="620456"/>
        <a:ext cx="1695238" cy="1427053"/>
      </dsp:txXfrm>
    </dsp:sp>
    <dsp:sp modelId="{833710EC-4AAE-4E38-8B99-D08DB14C41F0}">
      <dsp:nvSpPr>
        <dsp:cNvPr id="0" name=""/>
        <dsp:cNvSpPr/>
      </dsp:nvSpPr>
      <dsp:spPr>
        <a:xfrm>
          <a:off x="4924257" y="140683"/>
          <a:ext cx="573360" cy="444172"/>
        </a:xfrm>
        <a:prstGeom prst="rightArrow">
          <a:avLst>
            <a:gd name="adj1" fmla="val 60000"/>
            <a:gd name="adj2" fmla="val 50000"/>
          </a:avLst>
        </a:prstGeom>
        <a:no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SG" sz="1300" kern="1200"/>
        </a:p>
      </dsp:txBody>
      <dsp:txXfrm>
        <a:off x="4924257" y="229517"/>
        <a:ext cx="440108" cy="266504"/>
      </dsp:txXfrm>
    </dsp:sp>
    <dsp:sp modelId="{A5102617-5346-47D5-8DE6-51A34FB7AE48}">
      <dsp:nvSpPr>
        <dsp:cNvPr id="0" name=""/>
        <dsp:cNvSpPr/>
      </dsp:nvSpPr>
      <dsp:spPr>
        <a:xfrm>
          <a:off x="5735617" y="5962"/>
          <a:ext cx="1784034" cy="1339199"/>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2456" tIns="92456" rIns="92456" bIns="49530" numCol="1" spcCol="1270" anchor="t" anchorCtr="0">
          <a:noAutofit/>
        </a:bodyPr>
        <a:lstStyle/>
        <a:p>
          <a:pPr marL="0" lvl="0" indent="0" algn="l" defTabSz="577850">
            <a:lnSpc>
              <a:spcPct val="90000"/>
            </a:lnSpc>
            <a:spcBef>
              <a:spcPct val="0"/>
            </a:spcBef>
            <a:spcAft>
              <a:spcPct val="35000"/>
            </a:spcAft>
            <a:buNone/>
          </a:pPr>
          <a:r>
            <a:rPr lang="en-SG" sz="1300" kern="1200" dirty="0"/>
            <a:t>Integration with Global IP Systems</a:t>
          </a:r>
        </a:p>
      </dsp:txBody>
      <dsp:txXfrm>
        <a:off x="5735617" y="5962"/>
        <a:ext cx="1784034" cy="713613"/>
      </dsp:txXfrm>
    </dsp:sp>
    <dsp:sp modelId="{E1677C59-AE05-453C-AE0C-19FE78266FE2}">
      <dsp:nvSpPr>
        <dsp:cNvPr id="0" name=""/>
        <dsp:cNvSpPr/>
      </dsp:nvSpPr>
      <dsp:spPr>
        <a:xfrm>
          <a:off x="6101022" y="576058"/>
          <a:ext cx="1784034" cy="1515849"/>
        </a:xfrm>
        <a:prstGeom prst="roundRect">
          <a:avLst>
            <a:gd name="adj" fmla="val 10000"/>
          </a:avLst>
        </a:prstGeom>
        <a:solidFill>
          <a:schemeClr val="accent6">
            <a:alpha val="90000"/>
            <a:tint val="40000"/>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l" defTabSz="577850">
            <a:lnSpc>
              <a:spcPct val="90000"/>
            </a:lnSpc>
            <a:spcBef>
              <a:spcPct val="0"/>
            </a:spcBef>
            <a:spcAft>
              <a:spcPct val="15000"/>
            </a:spcAft>
            <a:buChar char="•"/>
          </a:pPr>
          <a:r>
            <a:rPr lang="en-SG" sz="1300" kern="1200" dirty="0"/>
            <a:t>Madrid Module</a:t>
          </a:r>
        </a:p>
        <a:p>
          <a:pPr marL="114300" lvl="1" indent="-114300" algn="l" defTabSz="577850">
            <a:lnSpc>
              <a:spcPct val="90000"/>
            </a:lnSpc>
            <a:spcBef>
              <a:spcPct val="0"/>
            </a:spcBef>
            <a:spcAft>
              <a:spcPct val="15000"/>
            </a:spcAft>
            <a:buChar char="•"/>
          </a:pPr>
          <a:r>
            <a:rPr lang="en-SG" sz="1300" b="1" kern="1200" dirty="0"/>
            <a:t>PCT Integration</a:t>
          </a:r>
        </a:p>
        <a:p>
          <a:pPr marL="114300" lvl="1" indent="-114300" algn="l" defTabSz="577850">
            <a:lnSpc>
              <a:spcPct val="90000"/>
            </a:lnSpc>
            <a:spcBef>
              <a:spcPct val="0"/>
            </a:spcBef>
            <a:spcAft>
              <a:spcPct val="15000"/>
            </a:spcAft>
            <a:buChar char="•"/>
          </a:pPr>
          <a:r>
            <a:rPr lang="en-SG" sz="1300" b="1" kern="1200" dirty="0"/>
            <a:t>WIPO CASE Integration</a:t>
          </a:r>
        </a:p>
      </dsp:txBody>
      <dsp:txXfrm>
        <a:off x="6145420" y="620456"/>
        <a:ext cx="1695238" cy="1427053"/>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98" name="AutoShape 1">
            <a:extLst>
              <a:ext uri="{FF2B5EF4-FFF2-40B4-BE49-F238E27FC236}">
                <a16:creationId xmlns:a16="http://schemas.microsoft.com/office/drawing/2014/main" id="{84792994-AA11-40E0-9A45-DA0492DE1830}"/>
              </a:ext>
            </a:extLst>
          </p:cNvPr>
          <p:cNvSpPr>
            <a:spLocks noChangeArrowheads="1"/>
          </p:cNvSpPr>
          <p:nvPr/>
        </p:nvSpPr>
        <p:spPr bwMode="auto">
          <a:xfrm>
            <a:off x="0" y="0"/>
            <a:ext cx="6796088" cy="9925050"/>
          </a:xfrm>
          <a:prstGeom prst="roundRect">
            <a:avLst>
              <a:gd name="adj" fmla="val 23"/>
            </a:avLst>
          </a:prstGeom>
          <a:solidFill>
            <a:srgbClr val="FFFFFF"/>
          </a:solidFill>
          <a:ln>
            <a:noFill/>
          </a:ln>
          <a:effectLst/>
          <a:extLs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eaLnBrk="1" hangingPunct="1">
              <a:spcBef>
                <a:spcPts val="550"/>
              </a:spcBef>
              <a:buClr>
                <a:srgbClr val="000000"/>
              </a:buClr>
              <a:buSzPct val="100000"/>
              <a:buFont typeface="Times New Roman" panose="02020603050405020304" pitchFamily="18" charset="0"/>
              <a:buNone/>
            </a:pPr>
            <a:endParaRPr lang="en-US" altLang="en-US"/>
          </a:p>
        </p:txBody>
      </p:sp>
      <p:sp>
        <p:nvSpPr>
          <p:cNvPr id="4099" name="Text Box 2">
            <a:extLst>
              <a:ext uri="{FF2B5EF4-FFF2-40B4-BE49-F238E27FC236}">
                <a16:creationId xmlns:a16="http://schemas.microsoft.com/office/drawing/2014/main" id="{C08589C6-2D0F-4075-8930-DF91DB4AFE0F}"/>
              </a:ext>
            </a:extLst>
          </p:cNvPr>
          <p:cNvSpPr txBox="1">
            <a:spLocks noChangeArrowheads="1"/>
          </p:cNvSpPr>
          <p:nvPr/>
        </p:nvSpPr>
        <p:spPr bwMode="auto">
          <a:xfrm>
            <a:off x="0" y="0"/>
            <a:ext cx="2946400" cy="4968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eaLnBrk="1" hangingPunct="1">
              <a:spcBef>
                <a:spcPts val="550"/>
              </a:spcBef>
              <a:buClr>
                <a:srgbClr val="000000"/>
              </a:buClr>
              <a:buSzPct val="100000"/>
              <a:buFont typeface="Times New Roman" panose="02020603050405020304" pitchFamily="18" charset="0"/>
              <a:buNone/>
            </a:pPr>
            <a:endParaRPr lang="en-US" altLang="en-US"/>
          </a:p>
        </p:txBody>
      </p:sp>
      <p:sp>
        <p:nvSpPr>
          <p:cNvPr id="2" name="Rectangle 3">
            <a:extLst>
              <a:ext uri="{FF2B5EF4-FFF2-40B4-BE49-F238E27FC236}">
                <a16:creationId xmlns:a16="http://schemas.microsoft.com/office/drawing/2014/main" id="{4D6E897C-AA5D-42CA-A850-0BE81A28098F}"/>
              </a:ext>
            </a:extLst>
          </p:cNvPr>
          <p:cNvSpPr>
            <a:spLocks noGrp="1" noChangeArrowheads="1"/>
          </p:cNvSpPr>
          <p:nvPr>
            <p:ph type="dt"/>
          </p:nvPr>
        </p:nvSpPr>
        <p:spPr bwMode="auto">
          <a:xfrm>
            <a:off x="3849688" y="0"/>
            <a:ext cx="2944812" cy="495300"/>
          </a:xfrm>
          <a:prstGeom prst="rect">
            <a:avLst/>
          </a:prstGeom>
          <a:noFill/>
          <a:ln>
            <a:noFill/>
          </a:ln>
          <a:effectLst/>
        </p:spPr>
        <p:txBody>
          <a:bodyPr vert="horz" wrap="square" lIns="90000" tIns="46800" rIns="90000" bIns="46800" numCol="1" anchor="t" anchorCtr="0" compatLnSpc="1">
            <a:prstTxWarp prst="textNoShape">
              <a:avLst/>
            </a:prstTxWarp>
          </a:bodyPr>
          <a:lstStyle>
            <a:lvl1pPr marL="215900" indent="-215900" algn="r" eaLnBrk="1" hangingPunct="1">
              <a:spcBef>
                <a:spcPts val="300"/>
              </a:spcBef>
              <a:buClr>
                <a:srgbClr val="000000"/>
              </a:buClr>
              <a:buSzPct val="45000"/>
              <a:buFont typeface="Wingdings" charset="2"/>
              <a:buChar char=""/>
              <a:tabLst>
                <a:tab pos="723900" algn="l"/>
                <a:tab pos="1447800" algn="l"/>
                <a:tab pos="2171700" algn="l"/>
                <a:tab pos="2895600" algn="l"/>
              </a:tabLst>
              <a:defRPr sz="1200">
                <a:solidFill>
                  <a:srgbClr val="000000"/>
                </a:solidFill>
                <a:latin typeface="Times New Roman" pitchFamily="16" charset="0"/>
                <a:ea typeface="+mn-ea"/>
                <a:cs typeface="Arial" charset="0"/>
              </a:defRPr>
            </a:lvl1pPr>
          </a:lstStyle>
          <a:p>
            <a:pPr>
              <a:defRPr/>
            </a:pPr>
            <a:endParaRPr lang="en-US" altLang="en-US"/>
          </a:p>
        </p:txBody>
      </p:sp>
      <p:sp>
        <p:nvSpPr>
          <p:cNvPr id="4101" name="Rectangle 4">
            <a:extLst>
              <a:ext uri="{FF2B5EF4-FFF2-40B4-BE49-F238E27FC236}">
                <a16:creationId xmlns:a16="http://schemas.microsoft.com/office/drawing/2014/main" id="{8B3F1501-1521-49BB-A980-2E215D83548C}"/>
              </a:ext>
            </a:extLst>
          </p:cNvPr>
          <p:cNvSpPr>
            <a:spLocks noGrp="1" noRot="1" noChangeAspect="1" noChangeArrowheads="1"/>
          </p:cNvSpPr>
          <p:nvPr>
            <p:ph type="sldImg"/>
          </p:nvPr>
        </p:nvSpPr>
        <p:spPr bwMode="auto">
          <a:xfrm>
            <a:off x="917575" y="744538"/>
            <a:ext cx="4960938" cy="3721100"/>
          </a:xfrm>
          <a:prstGeom prst="rect">
            <a:avLst/>
          </a:prstGeom>
          <a:noFill/>
          <a:ln w="12600" cap="sq">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p>
      <p:sp>
        <p:nvSpPr>
          <p:cNvPr id="3" name="Rectangle 5">
            <a:extLst>
              <a:ext uri="{FF2B5EF4-FFF2-40B4-BE49-F238E27FC236}">
                <a16:creationId xmlns:a16="http://schemas.microsoft.com/office/drawing/2014/main" id="{7D956D83-D32E-48E9-AEBB-4D439BC3C4BD}"/>
              </a:ext>
            </a:extLst>
          </p:cNvPr>
          <p:cNvSpPr>
            <a:spLocks noGrp="1" noChangeArrowheads="1"/>
          </p:cNvSpPr>
          <p:nvPr>
            <p:ph type="body"/>
          </p:nvPr>
        </p:nvSpPr>
        <p:spPr bwMode="auto">
          <a:xfrm>
            <a:off x="679450" y="4714875"/>
            <a:ext cx="5437188" cy="4465638"/>
          </a:xfrm>
          <a:prstGeom prst="rect">
            <a:avLst/>
          </a:prstGeom>
          <a:noFill/>
          <a:ln>
            <a:noFill/>
          </a:ln>
          <a:effectLst/>
        </p:spPr>
        <p:txBody>
          <a:bodyPr vert="horz" wrap="square" lIns="90000" tIns="46800" rIns="90000" bIns="46800" numCol="1" anchor="t" anchorCtr="0" compatLnSpc="1">
            <a:prstTxWarp prst="textNoShape">
              <a:avLst/>
            </a:prstTxWarp>
          </a:bodyPr>
          <a:lstStyle/>
          <a:p>
            <a:pPr lvl="0"/>
            <a:endParaRPr lang="en-US" altLang="en-US" noProof="0"/>
          </a:p>
        </p:txBody>
      </p:sp>
      <p:sp>
        <p:nvSpPr>
          <p:cNvPr id="4103" name="Text Box 6">
            <a:extLst>
              <a:ext uri="{FF2B5EF4-FFF2-40B4-BE49-F238E27FC236}">
                <a16:creationId xmlns:a16="http://schemas.microsoft.com/office/drawing/2014/main" id="{39A64AAE-B8CC-48B1-B6C0-FDDAD7530686}"/>
              </a:ext>
            </a:extLst>
          </p:cNvPr>
          <p:cNvSpPr txBox="1">
            <a:spLocks noChangeArrowheads="1"/>
          </p:cNvSpPr>
          <p:nvPr/>
        </p:nvSpPr>
        <p:spPr bwMode="auto">
          <a:xfrm>
            <a:off x="0" y="9428163"/>
            <a:ext cx="2946400" cy="496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eaLnBrk="1" hangingPunct="1">
              <a:spcBef>
                <a:spcPts val="550"/>
              </a:spcBef>
              <a:buClr>
                <a:srgbClr val="000000"/>
              </a:buClr>
              <a:buSzPct val="100000"/>
              <a:buFont typeface="Times New Roman" panose="02020603050405020304" pitchFamily="18" charset="0"/>
              <a:buNone/>
            </a:pPr>
            <a:endParaRPr lang="en-US" altLang="en-US"/>
          </a:p>
        </p:txBody>
      </p:sp>
      <p:sp>
        <p:nvSpPr>
          <p:cNvPr id="4" name="Rectangle 7">
            <a:extLst>
              <a:ext uri="{FF2B5EF4-FFF2-40B4-BE49-F238E27FC236}">
                <a16:creationId xmlns:a16="http://schemas.microsoft.com/office/drawing/2014/main" id="{2C2B3200-E1D1-4662-AE69-00F9DD7B837F}"/>
              </a:ext>
            </a:extLst>
          </p:cNvPr>
          <p:cNvSpPr>
            <a:spLocks noGrp="1" noChangeArrowheads="1"/>
          </p:cNvSpPr>
          <p:nvPr>
            <p:ph type="sldNum"/>
          </p:nvPr>
        </p:nvSpPr>
        <p:spPr bwMode="auto">
          <a:xfrm>
            <a:off x="3849688" y="9428163"/>
            <a:ext cx="2944812" cy="495300"/>
          </a:xfrm>
          <a:prstGeom prst="rect">
            <a:avLst/>
          </a:prstGeom>
          <a:noFill/>
          <a:ln>
            <a:noFill/>
          </a:ln>
          <a:effectLst/>
        </p:spPr>
        <p:txBody>
          <a:bodyPr vert="horz" wrap="square" lIns="90000" tIns="46800" rIns="90000" bIns="46800" numCol="1" anchor="b" anchorCtr="0" compatLnSpc="1">
            <a:prstTxWarp prst="textNoShape">
              <a:avLst/>
            </a:prstTxWarp>
          </a:bodyPr>
          <a:lstStyle>
            <a:lvl1pPr marL="215900" indent="-215900" algn="r" eaLnBrk="1" hangingPunct="1">
              <a:spcBef>
                <a:spcPts val="300"/>
              </a:spcBef>
              <a:buClr>
                <a:srgbClr val="000000"/>
              </a:buClr>
              <a:buSzPct val="45000"/>
              <a:buFont typeface="Wingdings" panose="05000000000000000000" pitchFamily="2" charset="2"/>
              <a:buChar char=""/>
              <a:tabLst>
                <a:tab pos="723900" algn="l"/>
                <a:tab pos="1447800" algn="l"/>
                <a:tab pos="2171700" algn="l"/>
                <a:tab pos="2895600" algn="l"/>
              </a:tabLst>
              <a:defRPr sz="1200">
                <a:solidFill>
                  <a:srgbClr val="000000"/>
                </a:solidFill>
                <a:latin typeface="Times New Roman" panose="02020603050405020304" pitchFamily="18" charset="0"/>
                <a:cs typeface="Arial" panose="020B0604020202020204" pitchFamily="34" charset="0"/>
              </a:defRPr>
            </a:lvl1pPr>
          </a:lstStyle>
          <a:p>
            <a:pPr>
              <a:defRPr/>
            </a:pPr>
            <a:fld id="{0A556F17-BD6D-4A1A-8824-AD6236EAA722}"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defTabSz="449263"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pitchFamily="16" charset="0"/>
        <a:ea typeface="+mn-ea"/>
        <a:cs typeface="+mn-cs"/>
      </a:defRPr>
    </a:lvl1pPr>
    <a:lvl2pPr marL="742950" indent="-285750" algn="l" defTabSz="449263"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pitchFamily="16" charset="0"/>
        <a:ea typeface="+mn-ea"/>
        <a:cs typeface="+mn-cs"/>
      </a:defRPr>
    </a:lvl2pPr>
    <a:lvl3pPr marL="1143000" indent="-228600" algn="l" defTabSz="449263"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pitchFamily="16" charset="0"/>
        <a:ea typeface="+mn-ea"/>
        <a:cs typeface="+mn-cs"/>
      </a:defRPr>
    </a:lvl3pPr>
    <a:lvl4pPr marL="1600200" indent="-228600" algn="l" defTabSz="449263"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pitchFamily="16" charset="0"/>
        <a:ea typeface="+mn-ea"/>
        <a:cs typeface="+mn-cs"/>
      </a:defRPr>
    </a:lvl4pPr>
    <a:lvl5pPr marL="2057400" indent="-228600" algn="l" defTabSz="449263"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pitchFamily="16"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146" name="Rectangle 11">
            <a:extLst>
              <a:ext uri="{FF2B5EF4-FFF2-40B4-BE49-F238E27FC236}">
                <a16:creationId xmlns:a16="http://schemas.microsoft.com/office/drawing/2014/main" id="{21F615E7-396A-4A7B-8CBF-1D933CA32503}"/>
              </a:ext>
            </a:extLst>
          </p:cNvPr>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07963" indent="-201613">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1pPr>
            <a:lvl2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2pPr>
            <a:lvl3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3pPr>
            <a:lvl4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4pPr>
            <a:lvl5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5pPr>
            <a:lvl6pPr marL="25146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6pPr>
            <a:lvl7pPr marL="29718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7pPr>
            <a:lvl8pPr marL="34290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8pPr>
            <a:lvl9pPr marL="38862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9pPr>
          </a:lstStyle>
          <a:p>
            <a:pPr>
              <a:spcBef>
                <a:spcPts val="725"/>
              </a:spcBef>
              <a:buSzPct val="45000"/>
              <a:buFont typeface="Wingdings" panose="05000000000000000000" pitchFamily="2" charset="2"/>
              <a:buChar char=""/>
            </a:pPr>
            <a:fld id="{DA77E968-E955-4866-ABE0-8A0D1F4DE403}" type="slidenum">
              <a:rPr lang="en-US" altLang="en-US" smtClean="0">
                <a:ea typeface="Arial Unicode MS" pitchFamily="34" charset="-128"/>
              </a:rPr>
              <a:pPr>
                <a:spcBef>
                  <a:spcPts val="725"/>
                </a:spcBef>
                <a:buSzPct val="45000"/>
                <a:buFont typeface="Wingdings" panose="05000000000000000000" pitchFamily="2" charset="2"/>
                <a:buChar char=""/>
              </a:pPr>
              <a:t>1</a:t>
            </a:fld>
            <a:endParaRPr lang="en-US" altLang="en-US">
              <a:ea typeface="Arial Unicode MS" pitchFamily="34" charset="-128"/>
            </a:endParaRPr>
          </a:p>
        </p:txBody>
      </p:sp>
      <p:sp>
        <p:nvSpPr>
          <p:cNvPr id="6147" name="Text Box 1">
            <a:extLst>
              <a:ext uri="{FF2B5EF4-FFF2-40B4-BE49-F238E27FC236}">
                <a16:creationId xmlns:a16="http://schemas.microsoft.com/office/drawing/2014/main" id="{F7E46AC1-233F-4F1D-8FC5-FF7933E2E9CD}"/>
              </a:ext>
            </a:extLst>
          </p:cNvPr>
          <p:cNvSpPr txBox="1">
            <a:spLocks noChangeArrowheads="1"/>
          </p:cNvSpPr>
          <p:nvPr/>
        </p:nvSpPr>
        <p:spPr bwMode="auto">
          <a:xfrm>
            <a:off x="3849688" y="9428163"/>
            <a:ext cx="2940050" cy="490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6814" tIns="45143" rIns="86814" bIns="45143" anchor="b"/>
          <a:lstStyle>
            <a:lvl1pPr marL="215900" indent="-209550">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1pPr>
            <a:lvl2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2pPr>
            <a:lvl3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3pPr>
            <a:lvl4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4pPr>
            <a:lvl5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5pPr>
            <a:lvl6pPr marL="25146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6pPr>
            <a:lvl7pPr marL="29718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7pPr>
            <a:lvl8pPr marL="34290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8pPr>
            <a:lvl9pPr marL="38862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9pPr>
          </a:lstStyle>
          <a:p>
            <a:pPr algn="r" eaLnBrk="1" hangingPunct="1">
              <a:spcBef>
                <a:spcPts val="725"/>
              </a:spcBef>
              <a:buClrTx/>
              <a:buSzPct val="45000"/>
            </a:pPr>
            <a:fld id="{2E330FC7-E856-4FAF-BA0F-57D15167B3A9}" type="slidenum">
              <a:rPr lang="en-US" altLang="en-US">
                <a:ea typeface="Arial Unicode MS" pitchFamily="34" charset="-128"/>
              </a:rPr>
              <a:pPr algn="r" eaLnBrk="1" hangingPunct="1">
                <a:spcBef>
                  <a:spcPts val="725"/>
                </a:spcBef>
                <a:buClrTx/>
                <a:buSzPct val="45000"/>
              </a:pPr>
              <a:t>1</a:t>
            </a:fld>
            <a:endParaRPr lang="en-US" altLang="en-US">
              <a:ea typeface="Arial Unicode MS" pitchFamily="34" charset="-128"/>
            </a:endParaRPr>
          </a:p>
        </p:txBody>
      </p:sp>
      <p:sp>
        <p:nvSpPr>
          <p:cNvPr id="6148" name="Rectangle 2">
            <a:extLst>
              <a:ext uri="{FF2B5EF4-FFF2-40B4-BE49-F238E27FC236}">
                <a16:creationId xmlns:a16="http://schemas.microsoft.com/office/drawing/2014/main" id="{673CEC6D-1CA7-41B0-A9EC-D12825AF2759}"/>
              </a:ext>
            </a:extLst>
          </p:cNvPr>
          <p:cNvSpPr>
            <a:spLocks noGrp="1" noRot="1" noChangeAspect="1" noChangeArrowheads="1" noTextEdit="1"/>
          </p:cNvSpPr>
          <p:nvPr>
            <p:ph type="sldImg"/>
          </p:nvPr>
        </p:nvSpPr>
        <p:spPr>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9" name="Rectangle 3">
            <a:extLst>
              <a:ext uri="{FF2B5EF4-FFF2-40B4-BE49-F238E27FC236}">
                <a16:creationId xmlns:a16="http://schemas.microsoft.com/office/drawing/2014/main" id="{EDEE1EDD-F44B-43FE-86F9-76C7F15DB66D}"/>
              </a:ext>
            </a:extLst>
          </p:cNvPr>
          <p:cNvSpPr>
            <a:spLocks noGrp="1" noChangeArrowheads="1"/>
          </p:cNvSpPr>
          <p:nvPr>
            <p:ph type="body" idx="1"/>
          </p:nvPr>
        </p:nvSpPr>
        <p:spPr>
          <a:xfrm>
            <a:off x="679450" y="4713288"/>
            <a:ext cx="5437188" cy="44672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latin typeface="Times New Roman" panose="02020603050405020304" pitchFamily="18"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a:extLst>
              <a:ext uri="{FF2B5EF4-FFF2-40B4-BE49-F238E27FC236}">
                <a16:creationId xmlns:a16="http://schemas.microsoft.com/office/drawing/2014/main" id="{B7062950-8744-4251-82C6-F8BFF3413B0F}"/>
              </a:ext>
            </a:extLst>
          </p:cNvPr>
          <p:cNvSpPr>
            <a:spLocks noGrp="1" noRot="1" noChangeAspect="1" noChangeArrowheads="1" noTextEdit="1"/>
          </p:cNvSpPr>
          <p:nvPr>
            <p:ph type="sldImg"/>
          </p:nvPr>
        </p:nvSpPr>
        <p:spPr>
          <a:ln/>
        </p:spPr>
      </p:sp>
      <p:sp>
        <p:nvSpPr>
          <p:cNvPr id="3" name="Notes Placeholder 2">
            <a:extLst>
              <a:ext uri="{FF2B5EF4-FFF2-40B4-BE49-F238E27FC236}">
                <a16:creationId xmlns:a16="http://schemas.microsoft.com/office/drawing/2014/main" id="{9F9A4A7D-BEB6-48A7-BC0E-442BC24E767A}"/>
              </a:ext>
            </a:extLst>
          </p:cNvPr>
          <p:cNvSpPr>
            <a:spLocks noGrp="1"/>
          </p:cNvSpPr>
          <p:nvPr>
            <p:ph type="body" idx="1"/>
          </p:nvPr>
        </p:nvSpPr>
        <p:spPr/>
        <p:txBody>
          <a:bodyPr/>
          <a:lstStyle/>
          <a:p>
            <a:pPr>
              <a:defRPr/>
            </a:pPr>
            <a:r>
              <a:rPr lang="en-US" dirty="0"/>
              <a:t>We have been held back for years by our lack of good IT infrastructure.</a:t>
            </a:r>
          </a:p>
          <a:p>
            <a:pPr>
              <a:defRPr/>
            </a:pPr>
            <a:r>
              <a:rPr lang="en-US" dirty="0"/>
              <a:t>That’s all changed now.</a:t>
            </a:r>
          </a:p>
          <a:p>
            <a:pPr>
              <a:defRPr/>
            </a:pPr>
            <a:endParaRPr lang="en-US" dirty="0"/>
          </a:p>
          <a:p>
            <a:pPr>
              <a:defRPr/>
            </a:pPr>
            <a:r>
              <a:rPr lang="en-US" dirty="0"/>
              <a:t>The biggest cloud service provider (AWS) has more than 200 data </a:t>
            </a:r>
            <a:r>
              <a:rPr lang="en-US" dirty="0" err="1"/>
              <a:t>centres</a:t>
            </a:r>
            <a:r>
              <a:rPr lang="en-US" dirty="0"/>
              <a:t> and more than 2 million servers.</a:t>
            </a:r>
          </a:p>
          <a:p>
            <a:pPr>
              <a:defRPr/>
            </a:pPr>
            <a:r>
              <a:rPr lang="en-US" dirty="0"/>
              <a:t>You can rent by the hour, and pay around $5000 per year for the equivalent of a modern, high-tech data </a:t>
            </a:r>
            <a:r>
              <a:rPr lang="en-US" dirty="0" err="1"/>
              <a:t>centre</a:t>
            </a:r>
            <a:r>
              <a:rPr lang="en-US" dirty="0"/>
              <a:t>.</a:t>
            </a:r>
          </a:p>
          <a:p>
            <a:pPr>
              <a:defRPr/>
            </a:pPr>
            <a:endParaRPr lang="en-US" dirty="0"/>
          </a:p>
          <a:p>
            <a:pPr>
              <a:defRPr/>
            </a:pPr>
            <a:r>
              <a:rPr lang="en-US" dirty="0"/>
              <a:t>At WIPO we have already achieved cost savings of up to 80% on some of our applications by moving to the cloud.</a:t>
            </a:r>
          </a:p>
          <a:p>
            <a:pPr>
              <a:defRPr/>
            </a:pPr>
            <a:endParaRPr lang="en-US" dirty="0"/>
          </a:p>
          <a:p>
            <a:pPr>
              <a:defRPr/>
            </a:pPr>
            <a:r>
              <a:rPr lang="en-US" dirty="0"/>
              <a:t>What does this mean for us:</a:t>
            </a:r>
          </a:p>
          <a:p>
            <a:pPr marL="171450" indent="-171450">
              <a:buFontTx/>
              <a:buChar char="-"/>
              <a:defRPr/>
            </a:pPr>
            <a:r>
              <a:rPr lang="en-US" dirty="0"/>
              <a:t>We can focus on the business instead of servers, cabling, backups, etc.</a:t>
            </a:r>
          </a:p>
          <a:p>
            <a:pPr marL="171450" indent="-171450">
              <a:buFontTx/>
              <a:buChar char="-"/>
              <a:defRPr/>
            </a:pPr>
            <a:r>
              <a:rPr lang="en-US" dirty="0"/>
              <a:t>Much faster to deploy new services such as online filing.</a:t>
            </a:r>
          </a:p>
          <a:p>
            <a:pPr>
              <a:buFontTx/>
              <a:buNone/>
              <a:defRPr/>
            </a:pPr>
            <a:endParaRPr lang="en-US" dirty="0"/>
          </a:p>
        </p:txBody>
      </p:sp>
      <p:sp>
        <p:nvSpPr>
          <p:cNvPr id="37892" name="Slide Number Placeholder 3">
            <a:extLst>
              <a:ext uri="{FF2B5EF4-FFF2-40B4-BE49-F238E27FC236}">
                <a16:creationId xmlns:a16="http://schemas.microsoft.com/office/drawing/2014/main" id="{73EBA9DA-642F-4B80-BFA1-235A5656BBFD}"/>
              </a:ext>
            </a:extLst>
          </p:cNvPr>
          <p:cNvSpPr>
            <a:spLocks noGrp="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15900" indent="-215900">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1pPr>
            <a:lvl2pPr>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2pPr>
            <a:lvl3pPr>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3pPr>
            <a:lvl4pPr>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4pPr>
            <a:lvl5pPr>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5pPr>
            <a:lvl6pPr marL="2514600" indent="-228600" defTabSz="449263" eaLnBrk="0" fontAlgn="base" hangingPunct="0">
              <a:spcBef>
                <a:spcPct val="0"/>
              </a:spcBef>
              <a:spcAft>
                <a:spcPct val="0"/>
              </a:spcAft>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6pPr>
            <a:lvl7pPr marL="2971800" indent="-228600" defTabSz="449263" eaLnBrk="0" fontAlgn="base" hangingPunct="0">
              <a:spcBef>
                <a:spcPct val="0"/>
              </a:spcBef>
              <a:spcAft>
                <a:spcPct val="0"/>
              </a:spcAft>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7pPr>
            <a:lvl8pPr marL="3429000" indent="-228600" defTabSz="449263" eaLnBrk="0" fontAlgn="base" hangingPunct="0">
              <a:spcBef>
                <a:spcPct val="0"/>
              </a:spcBef>
              <a:spcAft>
                <a:spcPct val="0"/>
              </a:spcAft>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8pPr>
            <a:lvl9pPr marL="3886200" indent="-228600" defTabSz="449263" eaLnBrk="0" fontAlgn="base" hangingPunct="0">
              <a:spcBef>
                <a:spcPct val="0"/>
              </a:spcBef>
              <a:spcAft>
                <a:spcPct val="0"/>
              </a:spcAft>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9pPr>
          </a:lstStyle>
          <a:p>
            <a:fld id="{BC33EB8C-D389-4BEE-A724-BE66BC14BFD5}" type="slidenum">
              <a:rPr lang="en-US" altLang="en-US" sz="1200" smtClean="0">
                <a:solidFill>
                  <a:srgbClr val="000000"/>
                </a:solidFill>
                <a:latin typeface="Times New Roman" panose="02020603050405020304" pitchFamily="18" charset="0"/>
                <a:cs typeface="Arial" panose="020B0604020202020204" pitchFamily="34" charset="0"/>
              </a:rPr>
              <a:pPr/>
              <a:t>23</a:t>
            </a:fld>
            <a:endParaRPr lang="en-US" altLang="en-US" sz="1200">
              <a:solidFill>
                <a:srgbClr val="000000"/>
              </a:solidFill>
              <a:latin typeface="Times New Roman" panose="02020603050405020304" pitchFamily="18" charset="0"/>
              <a:cs typeface="Arial" panose="020B060402020202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4034" name="Rectangle 7">
            <a:extLst>
              <a:ext uri="{FF2B5EF4-FFF2-40B4-BE49-F238E27FC236}">
                <a16:creationId xmlns:a16="http://schemas.microsoft.com/office/drawing/2014/main" id="{E697BAF8-8A0B-4EC5-91C1-C023F3F35062}"/>
              </a:ext>
            </a:extLst>
          </p:cNvPr>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15900" indent="-215900">
              <a:spcBef>
                <a:spcPct val="30000"/>
              </a:spcBef>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1pPr>
            <a:lvl2pPr>
              <a:spcBef>
                <a:spcPct val="30000"/>
              </a:spcBef>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2pPr>
            <a:lvl3pPr>
              <a:spcBef>
                <a:spcPct val="30000"/>
              </a:spcBef>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3pPr>
            <a:lvl4pPr>
              <a:spcBef>
                <a:spcPct val="30000"/>
              </a:spcBef>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4pPr>
            <a:lvl5pPr>
              <a:spcBef>
                <a:spcPct val="30000"/>
              </a:spcBef>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5pPr>
            <a:lvl6pPr marL="2514600" indent="-228600" defTabSz="449263" eaLnBrk="0" fontAlgn="base" hangingPunct="0">
              <a:spcBef>
                <a:spcPct val="3000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6pPr>
            <a:lvl7pPr marL="2971800" indent="-228600" defTabSz="449263" eaLnBrk="0" fontAlgn="base" hangingPunct="0">
              <a:spcBef>
                <a:spcPct val="3000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7pPr>
            <a:lvl8pPr marL="3429000" indent="-228600" defTabSz="449263" eaLnBrk="0" fontAlgn="base" hangingPunct="0">
              <a:spcBef>
                <a:spcPct val="3000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8pPr>
            <a:lvl9pPr marL="3886200" indent="-228600" defTabSz="449263" eaLnBrk="0" fontAlgn="base" hangingPunct="0">
              <a:spcBef>
                <a:spcPct val="3000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9pPr>
          </a:lstStyle>
          <a:p>
            <a:pPr>
              <a:spcBef>
                <a:spcPts val="300"/>
              </a:spcBef>
              <a:buSzPct val="45000"/>
              <a:buFont typeface="Wingdings" panose="05000000000000000000" pitchFamily="2" charset="2"/>
              <a:buChar char=""/>
            </a:pPr>
            <a:fld id="{86C8B472-6D50-42CB-8C2A-1B5B3FE336C4}" type="slidenum">
              <a:rPr lang="en-US" altLang="en-US" smtClean="0"/>
              <a:pPr>
                <a:spcBef>
                  <a:spcPts val="300"/>
                </a:spcBef>
                <a:buSzPct val="45000"/>
                <a:buFont typeface="Wingdings" panose="05000000000000000000" pitchFamily="2" charset="2"/>
                <a:buChar char=""/>
              </a:pPr>
              <a:t>28</a:t>
            </a:fld>
            <a:endParaRPr lang="en-US" altLang="en-US"/>
          </a:p>
        </p:txBody>
      </p:sp>
      <p:sp>
        <p:nvSpPr>
          <p:cNvPr id="44035" name="Rectangle 1">
            <a:extLst>
              <a:ext uri="{FF2B5EF4-FFF2-40B4-BE49-F238E27FC236}">
                <a16:creationId xmlns:a16="http://schemas.microsoft.com/office/drawing/2014/main" id="{01EE62E0-2CA2-43A0-95A5-789F7A940D13}"/>
              </a:ext>
            </a:extLst>
          </p:cNvPr>
          <p:cNvSpPr>
            <a:spLocks noGrp="1" noRot="1" noChangeAspect="1" noChangeArrowheads="1" noTextEdit="1"/>
          </p:cNvSpPr>
          <p:nvPr>
            <p:ph type="sldImg"/>
          </p:nvPr>
        </p:nvSpPr>
        <p:spPr>
          <a:xfrm>
            <a:off x="917575" y="744538"/>
            <a:ext cx="4962525" cy="3722687"/>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44036" name="Rectangle 2">
            <a:extLst>
              <a:ext uri="{FF2B5EF4-FFF2-40B4-BE49-F238E27FC236}">
                <a16:creationId xmlns:a16="http://schemas.microsoft.com/office/drawing/2014/main" id="{E159884D-12B7-4811-A58A-153E5E92F196}"/>
              </a:ext>
            </a:extLst>
          </p:cNvPr>
          <p:cNvSpPr>
            <a:spLocks noGrp="1" noChangeArrowheads="1"/>
          </p:cNvSpPr>
          <p:nvPr>
            <p:ph type="body" idx="1"/>
          </p:nvPr>
        </p:nvSpPr>
        <p:spPr>
          <a:xfrm>
            <a:off x="679450" y="4714875"/>
            <a:ext cx="5438775" cy="44672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latin typeface="Times New Roman" panose="02020603050405020304" pitchFamily="18"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6082" name="Rectangle 7">
            <a:extLst>
              <a:ext uri="{FF2B5EF4-FFF2-40B4-BE49-F238E27FC236}">
                <a16:creationId xmlns:a16="http://schemas.microsoft.com/office/drawing/2014/main" id="{D94E050B-E07A-4CA5-A2CA-2D8C83BD14D7}"/>
              </a:ext>
            </a:extLst>
          </p:cNvPr>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15900" indent="-215900">
              <a:spcBef>
                <a:spcPct val="30000"/>
              </a:spcBef>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1pPr>
            <a:lvl2pPr>
              <a:spcBef>
                <a:spcPct val="30000"/>
              </a:spcBef>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2pPr>
            <a:lvl3pPr>
              <a:spcBef>
                <a:spcPct val="30000"/>
              </a:spcBef>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3pPr>
            <a:lvl4pPr>
              <a:spcBef>
                <a:spcPct val="30000"/>
              </a:spcBef>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4pPr>
            <a:lvl5pPr>
              <a:spcBef>
                <a:spcPct val="30000"/>
              </a:spcBef>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5pPr>
            <a:lvl6pPr marL="2514600" indent="-228600" defTabSz="449263" eaLnBrk="0" fontAlgn="base" hangingPunct="0">
              <a:spcBef>
                <a:spcPct val="3000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6pPr>
            <a:lvl7pPr marL="2971800" indent="-228600" defTabSz="449263" eaLnBrk="0" fontAlgn="base" hangingPunct="0">
              <a:spcBef>
                <a:spcPct val="3000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7pPr>
            <a:lvl8pPr marL="3429000" indent="-228600" defTabSz="449263" eaLnBrk="0" fontAlgn="base" hangingPunct="0">
              <a:spcBef>
                <a:spcPct val="3000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8pPr>
            <a:lvl9pPr marL="3886200" indent="-228600" defTabSz="449263" eaLnBrk="0" fontAlgn="base" hangingPunct="0">
              <a:spcBef>
                <a:spcPct val="3000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9pPr>
          </a:lstStyle>
          <a:p>
            <a:pPr>
              <a:spcBef>
                <a:spcPts val="300"/>
              </a:spcBef>
              <a:buSzPct val="45000"/>
              <a:buFont typeface="Wingdings" panose="05000000000000000000" pitchFamily="2" charset="2"/>
              <a:buChar char=""/>
            </a:pPr>
            <a:fld id="{9CF8F8D9-AB39-4B7E-B6F1-809C6B4C367C}" type="slidenum">
              <a:rPr lang="en-US" altLang="en-US" smtClean="0"/>
              <a:pPr>
                <a:spcBef>
                  <a:spcPts val="300"/>
                </a:spcBef>
                <a:buSzPct val="45000"/>
                <a:buFont typeface="Wingdings" panose="05000000000000000000" pitchFamily="2" charset="2"/>
                <a:buChar char=""/>
              </a:pPr>
              <a:t>32</a:t>
            </a:fld>
            <a:endParaRPr lang="en-US" altLang="en-US"/>
          </a:p>
        </p:txBody>
      </p:sp>
      <p:sp>
        <p:nvSpPr>
          <p:cNvPr id="46083" name="Rectangle 1">
            <a:extLst>
              <a:ext uri="{FF2B5EF4-FFF2-40B4-BE49-F238E27FC236}">
                <a16:creationId xmlns:a16="http://schemas.microsoft.com/office/drawing/2014/main" id="{9F2B0820-201E-4B11-A2D5-371FA4751E80}"/>
              </a:ext>
            </a:extLst>
          </p:cNvPr>
          <p:cNvSpPr>
            <a:spLocks noGrp="1" noRot="1" noChangeAspect="1" noChangeArrowheads="1" noTextEdit="1"/>
          </p:cNvSpPr>
          <p:nvPr>
            <p:ph type="sldImg"/>
          </p:nvPr>
        </p:nvSpPr>
        <p:spPr>
          <a:xfrm>
            <a:off x="917575" y="744538"/>
            <a:ext cx="4962525" cy="3722687"/>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46084" name="Rectangle 2">
            <a:extLst>
              <a:ext uri="{FF2B5EF4-FFF2-40B4-BE49-F238E27FC236}">
                <a16:creationId xmlns:a16="http://schemas.microsoft.com/office/drawing/2014/main" id="{DEAD860D-77B4-4CDA-805D-12168FBDA466}"/>
              </a:ext>
            </a:extLst>
          </p:cNvPr>
          <p:cNvSpPr>
            <a:spLocks noGrp="1" noChangeArrowheads="1"/>
          </p:cNvSpPr>
          <p:nvPr>
            <p:ph type="body" idx="1"/>
          </p:nvPr>
        </p:nvSpPr>
        <p:spPr>
          <a:xfrm>
            <a:off x="679450" y="4714875"/>
            <a:ext cx="5438775" cy="44672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latin typeface="Times New Roman" panose="02020603050405020304" pitchFamily="18"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9154" name="Rectangle 13">
            <a:extLst>
              <a:ext uri="{FF2B5EF4-FFF2-40B4-BE49-F238E27FC236}">
                <a16:creationId xmlns:a16="http://schemas.microsoft.com/office/drawing/2014/main" id="{C8F042D9-15CE-435A-924A-180692722606}"/>
              </a:ext>
            </a:extLst>
          </p:cNvPr>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07963" indent="-198438">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1pPr>
            <a:lvl2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2pPr>
            <a:lvl3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3pPr>
            <a:lvl4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4pPr>
            <a:lvl5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5pPr>
            <a:lvl6pPr marL="25146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6pPr>
            <a:lvl7pPr marL="29718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7pPr>
            <a:lvl8pPr marL="34290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8pPr>
            <a:lvl9pPr marL="38862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9pPr>
          </a:lstStyle>
          <a:p>
            <a:pPr>
              <a:spcBef>
                <a:spcPts val="725"/>
              </a:spcBef>
              <a:buSzPct val="45000"/>
              <a:buFont typeface="Wingdings" panose="05000000000000000000" pitchFamily="2" charset="2"/>
              <a:buChar char=""/>
            </a:pPr>
            <a:fld id="{D48FAE3E-F322-4AE0-8065-45F832AA5A64}" type="slidenum">
              <a:rPr lang="en-US" altLang="en-US" smtClean="0">
                <a:ea typeface="Arial Unicode MS" pitchFamily="34" charset="-128"/>
              </a:rPr>
              <a:pPr>
                <a:spcBef>
                  <a:spcPts val="725"/>
                </a:spcBef>
                <a:buSzPct val="45000"/>
                <a:buFont typeface="Wingdings" panose="05000000000000000000" pitchFamily="2" charset="2"/>
                <a:buChar char=""/>
              </a:pPr>
              <a:t>34</a:t>
            </a:fld>
            <a:endParaRPr lang="en-US" altLang="en-US">
              <a:ea typeface="Arial Unicode MS" pitchFamily="34" charset="-128"/>
            </a:endParaRPr>
          </a:p>
        </p:txBody>
      </p:sp>
      <p:sp>
        <p:nvSpPr>
          <p:cNvPr id="49155" name="Text Box 1">
            <a:extLst>
              <a:ext uri="{FF2B5EF4-FFF2-40B4-BE49-F238E27FC236}">
                <a16:creationId xmlns:a16="http://schemas.microsoft.com/office/drawing/2014/main" id="{19C97CED-021F-4071-88E2-F28977CD53A5}"/>
              </a:ext>
            </a:extLst>
          </p:cNvPr>
          <p:cNvSpPr txBox="1">
            <a:spLocks noChangeArrowheads="1"/>
          </p:cNvSpPr>
          <p:nvPr/>
        </p:nvSpPr>
        <p:spPr bwMode="auto">
          <a:xfrm>
            <a:off x="3849688" y="9428163"/>
            <a:ext cx="2936875" cy="4873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6814" tIns="45143" rIns="86814" bIns="45143" anchor="b"/>
          <a:lstStyle>
            <a:lvl1pPr marL="215900" indent="-206375">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1pPr>
            <a:lvl2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2pPr>
            <a:lvl3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3pPr>
            <a:lvl4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4pPr>
            <a:lvl5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5pPr>
            <a:lvl6pPr marL="25146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6pPr>
            <a:lvl7pPr marL="29718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7pPr>
            <a:lvl8pPr marL="34290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8pPr>
            <a:lvl9pPr marL="38862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9pPr>
          </a:lstStyle>
          <a:p>
            <a:pPr algn="r" eaLnBrk="1" hangingPunct="1">
              <a:spcBef>
                <a:spcPts val="725"/>
              </a:spcBef>
              <a:buClrTx/>
              <a:buSzPct val="45000"/>
            </a:pPr>
            <a:fld id="{E3FC8A6E-C599-4D2E-88A6-A3A5EC5628A1}" type="slidenum">
              <a:rPr lang="en-US" altLang="en-US">
                <a:ea typeface="Arial Unicode MS" pitchFamily="34" charset="-128"/>
              </a:rPr>
              <a:pPr algn="r" eaLnBrk="1" hangingPunct="1">
                <a:spcBef>
                  <a:spcPts val="725"/>
                </a:spcBef>
                <a:buClrTx/>
                <a:buSzPct val="45000"/>
              </a:pPr>
              <a:t>34</a:t>
            </a:fld>
            <a:endParaRPr lang="en-US" altLang="en-US">
              <a:ea typeface="Arial Unicode MS" pitchFamily="34" charset="-128"/>
            </a:endParaRPr>
          </a:p>
        </p:txBody>
      </p:sp>
      <p:sp>
        <p:nvSpPr>
          <p:cNvPr id="49156" name="Rectangle 2">
            <a:extLst>
              <a:ext uri="{FF2B5EF4-FFF2-40B4-BE49-F238E27FC236}">
                <a16:creationId xmlns:a16="http://schemas.microsoft.com/office/drawing/2014/main" id="{B5B4E786-4CEA-4ACA-BCEB-18FA215C905D}"/>
              </a:ext>
            </a:extLst>
          </p:cNvPr>
          <p:cNvSpPr>
            <a:spLocks noGrp="1" noRot="1" noChangeAspect="1" noChangeArrowheads="1" noTextEdit="1"/>
          </p:cNvSpPr>
          <p:nvPr>
            <p:ph type="sldImg"/>
          </p:nvPr>
        </p:nvSpPr>
        <p:spPr>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49157" name="Rectangle 3">
            <a:extLst>
              <a:ext uri="{FF2B5EF4-FFF2-40B4-BE49-F238E27FC236}">
                <a16:creationId xmlns:a16="http://schemas.microsoft.com/office/drawing/2014/main" id="{CC67BCDD-7031-4B2F-B05D-D2D11F0F4F73}"/>
              </a:ext>
            </a:extLst>
          </p:cNvPr>
          <p:cNvSpPr>
            <a:spLocks noGrp="1" noChangeArrowheads="1"/>
          </p:cNvSpPr>
          <p:nvPr>
            <p:ph type="body" idx="1"/>
          </p:nvPr>
        </p:nvSpPr>
        <p:spPr>
          <a:xfrm>
            <a:off x="679450" y="4713288"/>
            <a:ext cx="5437188" cy="44672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latin typeface="Times New Roman" panose="02020603050405020304" pitchFamily="18"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1202" name="Rectangle 7">
            <a:extLst>
              <a:ext uri="{FF2B5EF4-FFF2-40B4-BE49-F238E27FC236}">
                <a16:creationId xmlns:a16="http://schemas.microsoft.com/office/drawing/2014/main" id="{89D32DBC-99FD-4C30-8F50-0B4A7DC71522}"/>
              </a:ext>
            </a:extLst>
          </p:cNvPr>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14313" indent="-214313">
              <a:spcBef>
                <a:spcPct val="30000"/>
              </a:spcBef>
              <a:buClr>
                <a:srgbClr val="000000"/>
              </a:buClr>
              <a:buSzPct val="100000"/>
              <a:buFont typeface="Times New Roman" panose="02020603050405020304" pitchFamily="18" charset="0"/>
              <a:tabLst>
                <a:tab pos="722313" algn="l"/>
                <a:tab pos="1446213" algn="l"/>
                <a:tab pos="2170113" algn="l"/>
                <a:tab pos="2894013" algn="l"/>
              </a:tabLst>
              <a:defRPr sz="1200">
                <a:solidFill>
                  <a:srgbClr val="000000"/>
                </a:solidFill>
                <a:latin typeface="Times New Roman" panose="02020603050405020304" pitchFamily="18" charset="0"/>
              </a:defRPr>
            </a:lvl1pPr>
            <a:lvl2pPr>
              <a:spcBef>
                <a:spcPct val="30000"/>
              </a:spcBef>
              <a:buClr>
                <a:srgbClr val="000000"/>
              </a:buClr>
              <a:buSzPct val="100000"/>
              <a:buFont typeface="Times New Roman" panose="02020603050405020304" pitchFamily="18" charset="0"/>
              <a:tabLst>
                <a:tab pos="722313" algn="l"/>
                <a:tab pos="1446213" algn="l"/>
                <a:tab pos="2170113" algn="l"/>
                <a:tab pos="2894013" algn="l"/>
              </a:tabLst>
              <a:defRPr sz="1200">
                <a:solidFill>
                  <a:srgbClr val="000000"/>
                </a:solidFill>
                <a:latin typeface="Times New Roman" panose="02020603050405020304" pitchFamily="18" charset="0"/>
              </a:defRPr>
            </a:lvl2pPr>
            <a:lvl3pPr>
              <a:spcBef>
                <a:spcPct val="30000"/>
              </a:spcBef>
              <a:buClr>
                <a:srgbClr val="000000"/>
              </a:buClr>
              <a:buSzPct val="100000"/>
              <a:buFont typeface="Times New Roman" panose="02020603050405020304" pitchFamily="18" charset="0"/>
              <a:tabLst>
                <a:tab pos="722313" algn="l"/>
                <a:tab pos="1446213" algn="l"/>
                <a:tab pos="2170113" algn="l"/>
                <a:tab pos="2894013" algn="l"/>
              </a:tabLst>
              <a:defRPr sz="1200">
                <a:solidFill>
                  <a:srgbClr val="000000"/>
                </a:solidFill>
                <a:latin typeface="Times New Roman" panose="02020603050405020304" pitchFamily="18" charset="0"/>
              </a:defRPr>
            </a:lvl3pPr>
            <a:lvl4pPr>
              <a:spcBef>
                <a:spcPct val="30000"/>
              </a:spcBef>
              <a:buClr>
                <a:srgbClr val="000000"/>
              </a:buClr>
              <a:buSzPct val="100000"/>
              <a:buFont typeface="Times New Roman" panose="02020603050405020304" pitchFamily="18" charset="0"/>
              <a:tabLst>
                <a:tab pos="722313" algn="l"/>
                <a:tab pos="1446213" algn="l"/>
                <a:tab pos="2170113" algn="l"/>
                <a:tab pos="2894013" algn="l"/>
              </a:tabLst>
              <a:defRPr sz="1200">
                <a:solidFill>
                  <a:srgbClr val="000000"/>
                </a:solidFill>
                <a:latin typeface="Times New Roman" panose="02020603050405020304" pitchFamily="18" charset="0"/>
              </a:defRPr>
            </a:lvl4pPr>
            <a:lvl5pPr>
              <a:spcBef>
                <a:spcPct val="30000"/>
              </a:spcBef>
              <a:buClr>
                <a:srgbClr val="000000"/>
              </a:buClr>
              <a:buSzPct val="100000"/>
              <a:buFont typeface="Times New Roman" panose="02020603050405020304" pitchFamily="18" charset="0"/>
              <a:tabLst>
                <a:tab pos="722313" algn="l"/>
                <a:tab pos="1446213" algn="l"/>
                <a:tab pos="2170113" algn="l"/>
                <a:tab pos="2894013" algn="l"/>
              </a:tabLst>
              <a:defRPr sz="1200">
                <a:solidFill>
                  <a:srgbClr val="000000"/>
                </a:solidFill>
                <a:latin typeface="Times New Roman" panose="02020603050405020304" pitchFamily="18" charset="0"/>
              </a:defRPr>
            </a:lvl5pPr>
            <a:lvl6pPr marL="2514600" indent="-228600" defTabSz="449263" eaLnBrk="0" fontAlgn="base" hangingPunct="0">
              <a:spcBef>
                <a:spcPct val="30000"/>
              </a:spcBef>
              <a:spcAft>
                <a:spcPct val="0"/>
              </a:spcAft>
              <a:buClr>
                <a:srgbClr val="000000"/>
              </a:buClr>
              <a:buSzPct val="100000"/>
              <a:buFont typeface="Times New Roman" panose="02020603050405020304" pitchFamily="18" charset="0"/>
              <a:tabLst>
                <a:tab pos="722313" algn="l"/>
                <a:tab pos="1446213" algn="l"/>
                <a:tab pos="2170113" algn="l"/>
                <a:tab pos="2894013" algn="l"/>
              </a:tabLst>
              <a:defRPr sz="1200">
                <a:solidFill>
                  <a:srgbClr val="000000"/>
                </a:solidFill>
                <a:latin typeface="Times New Roman" panose="02020603050405020304" pitchFamily="18" charset="0"/>
              </a:defRPr>
            </a:lvl6pPr>
            <a:lvl7pPr marL="2971800" indent="-228600" defTabSz="449263" eaLnBrk="0" fontAlgn="base" hangingPunct="0">
              <a:spcBef>
                <a:spcPct val="30000"/>
              </a:spcBef>
              <a:spcAft>
                <a:spcPct val="0"/>
              </a:spcAft>
              <a:buClr>
                <a:srgbClr val="000000"/>
              </a:buClr>
              <a:buSzPct val="100000"/>
              <a:buFont typeface="Times New Roman" panose="02020603050405020304" pitchFamily="18" charset="0"/>
              <a:tabLst>
                <a:tab pos="722313" algn="l"/>
                <a:tab pos="1446213" algn="l"/>
                <a:tab pos="2170113" algn="l"/>
                <a:tab pos="2894013" algn="l"/>
              </a:tabLst>
              <a:defRPr sz="1200">
                <a:solidFill>
                  <a:srgbClr val="000000"/>
                </a:solidFill>
                <a:latin typeface="Times New Roman" panose="02020603050405020304" pitchFamily="18" charset="0"/>
              </a:defRPr>
            </a:lvl7pPr>
            <a:lvl8pPr marL="3429000" indent="-228600" defTabSz="449263" eaLnBrk="0" fontAlgn="base" hangingPunct="0">
              <a:spcBef>
                <a:spcPct val="30000"/>
              </a:spcBef>
              <a:spcAft>
                <a:spcPct val="0"/>
              </a:spcAft>
              <a:buClr>
                <a:srgbClr val="000000"/>
              </a:buClr>
              <a:buSzPct val="100000"/>
              <a:buFont typeface="Times New Roman" panose="02020603050405020304" pitchFamily="18" charset="0"/>
              <a:tabLst>
                <a:tab pos="722313" algn="l"/>
                <a:tab pos="1446213" algn="l"/>
                <a:tab pos="2170113" algn="l"/>
                <a:tab pos="2894013" algn="l"/>
              </a:tabLst>
              <a:defRPr sz="1200">
                <a:solidFill>
                  <a:srgbClr val="000000"/>
                </a:solidFill>
                <a:latin typeface="Times New Roman" panose="02020603050405020304" pitchFamily="18" charset="0"/>
              </a:defRPr>
            </a:lvl8pPr>
            <a:lvl9pPr marL="3886200" indent="-228600" defTabSz="449263" eaLnBrk="0" fontAlgn="base" hangingPunct="0">
              <a:spcBef>
                <a:spcPct val="30000"/>
              </a:spcBef>
              <a:spcAft>
                <a:spcPct val="0"/>
              </a:spcAft>
              <a:buClr>
                <a:srgbClr val="000000"/>
              </a:buClr>
              <a:buSzPct val="100000"/>
              <a:buFont typeface="Times New Roman" panose="02020603050405020304" pitchFamily="18" charset="0"/>
              <a:tabLst>
                <a:tab pos="722313" algn="l"/>
                <a:tab pos="1446213" algn="l"/>
                <a:tab pos="2170113" algn="l"/>
                <a:tab pos="2894013" algn="l"/>
              </a:tabLst>
              <a:defRPr sz="1200">
                <a:solidFill>
                  <a:srgbClr val="000000"/>
                </a:solidFill>
                <a:latin typeface="Times New Roman" panose="02020603050405020304" pitchFamily="18" charset="0"/>
              </a:defRPr>
            </a:lvl9pPr>
          </a:lstStyle>
          <a:p>
            <a:pPr>
              <a:spcBef>
                <a:spcPts val="300"/>
              </a:spcBef>
              <a:buSzPct val="45000"/>
              <a:buFont typeface="Wingdings" panose="05000000000000000000" pitchFamily="2" charset="2"/>
              <a:buChar char=""/>
            </a:pPr>
            <a:fld id="{6BF11486-D24E-420B-AAC5-28B95AD1A2B6}" type="slidenum">
              <a:rPr lang="en-US" altLang="en-US" smtClean="0">
                <a:cs typeface="Arial Unicode MS" pitchFamily="34" charset="-128"/>
              </a:rPr>
              <a:pPr>
                <a:spcBef>
                  <a:spcPts val="300"/>
                </a:spcBef>
                <a:buSzPct val="45000"/>
                <a:buFont typeface="Wingdings" panose="05000000000000000000" pitchFamily="2" charset="2"/>
                <a:buChar char=""/>
              </a:pPr>
              <a:t>35</a:t>
            </a:fld>
            <a:endParaRPr lang="en-US" altLang="en-US">
              <a:cs typeface="Arial Unicode MS" pitchFamily="34" charset="-128"/>
            </a:endParaRPr>
          </a:p>
        </p:txBody>
      </p:sp>
      <p:sp>
        <p:nvSpPr>
          <p:cNvPr id="51203" name="Rectangle 1">
            <a:extLst>
              <a:ext uri="{FF2B5EF4-FFF2-40B4-BE49-F238E27FC236}">
                <a16:creationId xmlns:a16="http://schemas.microsoft.com/office/drawing/2014/main" id="{0EB057D1-9A7A-48C8-9C9B-B85437EFCFEE}"/>
              </a:ext>
            </a:extLst>
          </p:cNvPr>
          <p:cNvSpPr>
            <a:spLocks noGrp="1" noRot="1" noChangeAspect="1" noChangeArrowheads="1" noTextEdit="1"/>
          </p:cNvSpPr>
          <p:nvPr>
            <p:ph type="sldImg"/>
          </p:nvPr>
        </p:nvSpPr>
        <p:spPr>
          <a:xfrm>
            <a:off x="917575" y="744538"/>
            <a:ext cx="4962525" cy="3722687"/>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51204" name="Rectangle 2">
            <a:extLst>
              <a:ext uri="{FF2B5EF4-FFF2-40B4-BE49-F238E27FC236}">
                <a16:creationId xmlns:a16="http://schemas.microsoft.com/office/drawing/2014/main" id="{B96758C4-A55F-4461-A25C-271B69750024}"/>
              </a:ext>
            </a:extLst>
          </p:cNvPr>
          <p:cNvSpPr>
            <a:spLocks noGrp="1" noChangeArrowheads="1"/>
          </p:cNvSpPr>
          <p:nvPr>
            <p:ph type="body" idx="1"/>
          </p:nvPr>
        </p:nvSpPr>
        <p:spPr>
          <a:xfrm>
            <a:off x="679450" y="4714875"/>
            <a:ext cx="5438775" cy="44672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latin typeface="Times New Roman" panose="02020603050405020304" pitchFamily="18"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3250" name="Rectangle 11">
            <a:extLst>
              <a:ext uri="{FF2B5EF4-FFF2-40B4-BE49-F238E27FC236}">
                <a16:creationId xmlns:a16="http://schemas.microsoft.com/office/drawing/2014/main" id="{F896F6B8-C3B0-4113-9046-A7B359677C6F}"/>
              </a:ext>
            </a:extLst>
          </p:cNvPr>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07963" indent="-201613">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1pPr>
            <a:lvl2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2pPr>
            <a:lvl3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3pPr>
            <a:lvl4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4pPr>
            <a:lvl5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5pPr>
            <a:lvl6pPr marL="25146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6pPr>
            <a:lvl7pPr marL="29718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7pPr>
            <a:lvl8pPr marL="34290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8pPr>
            <a:lvl9pPr marL="38862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9pPr>
          </a:lstStyle>
          <a:p>
            <a:pPr>
              <a:spcBef>
                <a:spcPts val="725"/>
              </a:spcBef>
              <a:buSzPct val="45000"/>
              <a:buFont typeface="Wingdings" panose="05000000000000000000" pitchFamily="2" charset="2"/>
              <a:buChar char=""/>
            </a:pPr>
            <a:fld id="{C26AE429-B9F9-4C27-8FBC-711CD25CE156}" type="slidenum">
              <a:rPr lang="en-US" altLang="en-US" smtClean="0"/>
              <a:pPr>
                <a:spcBef>
                  <a:spcPts val="725"/>
                </a:spcBef>
                <a:buSzPct val="45000"/>
                <a:buFont typeface="Wingdings" panose="05000000000000000000" pitchFamily="2" charset="2"/>
                <a:buChar char=""/>
              </a:pPr>
              <a:t>36</a:t>
            </a:fld>
            <a:endParaRPr lang="en-US" altLang="en-US"/>
          </a:p>
        </p:txBody>
      </p:sp>
      <p:sp>
        <p:nvSpPr>
          <p:cNvPr id="53251" name="Text Box 1">
            <a:extLst>
              <a:ext uri="{FF2B5EF4-FFF2-40B4-BE49-F238E27FC236}">
                <a16:creationId xmlns:a16="http://schemas.microsoft.com/office/drawing/2014/main" id="{C85E1225-2284-4236-A5F4-11D518BF7726}"/>
              </a:ext>
            </a:extLst>
          </p:cNvPr>
          <p:cNvSpPr txBox="1">
            <a:spLocks noChangeArrowheads="1"/>
          </p:cNvSpPr>
          <p:nvPr/>
        </p:nvSpPr>
        <p:spPr bwMode="auto">
          <a:xfrm>
            <a:off x="3849688" y="9428163"/>
            <a:ext cx="2940050" cy="490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6814" tIns="45143" rIns="86814" bIns="45143" anchor="b"/>
          <a:lstStyle>
            <a:lvl1pPr marL="215900" indent="-209550">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1pPr>
            <a:lvl2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2pPr>
            <a:lvl3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3pPr>
            <a:lvl4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4pPr>
            <a:lvl5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5pPr>
            <a:lvl6pPr marL="25146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6pPr>
            <a:lvl7pPr marL="29718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7pPr>
            <a:lvl8pPr marL="34290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8pPr>
            <a:lvl9pPr marL="38862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9pPr>
          </a:lstStyle>
          <a:p>
            <a:pPr algn="r" eaLnBrk="1" hangingPunct="1">
              <a:spcBef>
                <a:spcPts val="725"/>
              </a:spcBef>
              <a:buClrTx/>
              <a:buSzPct val="45000"/>
              <a:buFontTx/>
              <a:buNone/>
            </a:pPr>
            <a:fld id="{219F6384-4060-45C2-A5D6-36E73AF15CAF}" type="slidenum">
              <a:rPr lang="en-US" altLang="en-US">
                <a:ea typeface="Arial Unicode MS" pitchFamily="34" charset="-128"/>
              </a:rPr>
              <a:pPr algn="r" eaLnBrk="1" hangingPunct="1">
                <a:spcBef>
                  <a:spcPts val="725"/>
                </a:spcBef>
                <a:buClrTx/>
                <a:buSzPct val="45000"/>
                <a:buFontTx/>
                <a:buNone/>
              </a:pPr>
              <a:t>36</a:t>
            </a:fld>
            <a:endParaRPr lang="en-US" altLang="en-US">
              <a:ea typeface="Arial Unicode MS" pitchFamily="34" charset="-128"/>
            </a:endParaRPr>
          </a:p>
        </p:txBody>
      </p:sp>
      <p:sp>
        <p:nvSpPr>
          <p:cNvPr id="53252" name="Rectangle 2">
            <a:extLst>
              <a:ext uri="{FF2B5EF4-FFF2-40B4-BE49-F238E27FC236}">
                <a16:creationId xmlns:a16="http://schemas.microsoft.com/office/drawing/2014/main" id="{30343AA4-CCC6-46D1-891E-1879CED135E9}"/>
              </a:ext>
            </a:extLst>
          </p:cNvPr>
          <p:cNvSpPr>
            <a:spLocks noGrp="1" noRot="1" noChangeAspect="1" noChangeArrowheads="1" noTextEdit="1"/>
          </p:cNvSpPr>
          <p:nvPr>
            <p:ph type="sldImg"/>
          </p:nvPr>
        </p:nvSpPr>
        <p:spPr>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53253" name="Rectangle 3">
            <a:extLst>
              <a:ext uri="{FF2B5EF4-FFF2-40B4-BE49-F238E27FC236}">
                <a16:creationId xmlns:a16="http://schemas.microsoft.com/office/drawing/2014/main" id="{97C0A2BC-705B-4103-8BC2-3C3477991279}"/>
              </a:ext>
            </a:extLst>
          </p:cNvPr>
          <p:cNvSpPr>
            <a:spLocks noGrp="1" noChangeArrowheads="1"/>
          </p:cNvSpPr>
          <p:nvPr>
            <p:ph type="body" idx="1"/>
          </p:nvPr>
        </p:nvSpPr>
        <p:spPr>
          <a:xfrm>
            <a:off x="679450" y="4713288"/>
            <a:ext cx="5437188" cy="44672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latin typeface="Times New Roman" panose="02020603050405020304" pitchFamily="18"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5298" name="Rectangle 11">
            <a:extLst>
              <a:ext uri="{FF2B5EF4-FFF2-40B4-BE49-F238E27FC236}">
                <a16:creationId xmlns:a16="http://schemas.microsoft.com/office/drawing/2014/main" id="{5204F05C-5D53-4CA1-9FD2-85ABAE5D0485}"/>
              </a:ext>
            </a:extLst>
          </p:cNvPr>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07963" indent="-201613">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1pPr>
            <a:lvl2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2pPr>
            <a:lvl3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3pPr>
            <a:lvl4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4pPr>
            <a:lvl5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5pPr>
            <a:lvl6pPr marL="25146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6pPr>
            <a:lvl7pPr marL="29718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7pPr>
            <a:lvl8pPr marL="34290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8pPr>
            <a:lvl9pPr marL="38862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9pPr>
          </a:lstStyle>
          <a:p>
            <a:pPr>
              <a:spcBef>
                <a:spcPts val="725"/>
              </a:spcBef>
              <a:buSzPct val="45000"/>
              <a:buFont typeface="Wingdings" panose="05000000000000000000" pitchFamily="2" charset="2"/>
              <a:buChar char=""/>
            </a:pPr>
            <a:fld id="{4EC2177D-6158-4878-AA16-438C4EA3742D}" type="slidenum">
              <a:rPr lang="en-US" altLang="en-US" smtClean="0"/>
              <a:pPr>
                <a:spcBef>
                  <a:spcPts val="725"/>
                </a:spcBef>
                <a:buSzPct val="45000"/>
                <a:buFont typeface="Wingdings" panose="05000000000000000000" pitchFamily="2" charset="2"/>
                <a:buChar char=""/>
              </a:pPr>
              <a:t>37</a:t>
            </a:fld>
            <a:endParaRPr lang="en-US" altLang="en-US"/>
          </a:p>
        </p:txBody>
      </p:sp>
      <p:sp>
        <p:nvSpPr>
          <p:cNvPr id="55299" name="Text Box 1">
            <a:extLst>
              <a:ext uri="{FF2B5EF4-FFF2-40B4-BE49-F238E27FC236}">
                <a16:creationId xmlns:a16="http://schemas.microsoft.com/office/drawing/2014/main" id="{9B7209A1-8DBA-4AEA-A7F5-B7610C38BA0C}"/>
              </a:ext>
            </a:extLst>
          </p:cNvPr>
          <p:cNvSpPr txBox="1">
            <a:spLocks noChangeArrowheads="1"/>
          </p:cNvSpPr>
          <p:nvPr/>
        </p:nvSpPr>
        <p:spPr bwMode="auto">
          <a:xfrm>
            <a:off x="3849688" y="9428163"/>
            <a:ext cx="2940050" cy="490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6814" tIns="45143" rIns="86814" bIns="45143" anchor="b"/>
          <a:lstStyle>
            <a:lvl1pPr marL="215900" indent="-209550">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1pPr>
            <a:lvl2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2pPr>
            <a:lvl3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3pPr>
            <a:lvl4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4pPr>
            <a:lvl5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5pPr>
            <a:lvl6pPr marL="25146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6pPr>
            <a:lvl7pPr marL="29718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7pPr>
            <a:lvl8pPr marL="34290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8pPr>
            <a:lvl9pPr marL="38862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9pPr>
          </a:lstStyle>
          <a:p>
            <a:pPr algn="r" eaLnBrk="1" hangingPunct="1">
              <a:spcBef>
                <a:spcPts val="725"/>
              </a:spcBef>
              <a:buClrTx/>
              <a:buSzPct val="45000"/>
              <a:buFontTx/>
              <a:buNone/>
            </a:pPr>
            <a:fld id="{91946688-F82C-4089-AB81-B77EFE164541}" type="slidenum">
              <a:rPr lang="en-US" altLang="en-US">
                <a:ea typeface="Arial Unicode MS" pitchFamily="34" charset="-128"/>
              </a:rPr>
              <a:pPr algn="r" eaLnBrk="1" hangingPunct="1">
                <a:spcBef>
                  <a:spcPts val="725"/>
                </a:spcBef>
                <a:buClrTx/>
                <a:buSzPct val="45000"/>
                <a:buFontTx/>
                <a:buNone/>
              </a:pPr>
              <a:t>37</a:t>
            </a:fld>
            <a:endParaRPr lang="en-US" altLang="en-US">
              <a:ea typeface="Arial Unicode MS" pitchFamily="34" charset="-128"/>
            </a:endParaRPr>
          </a:p>
        </p:txBody>
      </p:sp>
      <p:sp>
        <p:nvSpPr>
          <p:cNvPr id="55300" name="Rectangle 2">
            <a:extLst>
              <a:ext uri="{FF2B5EF4-FFF2-40B4-BE49-F238E27FC236}">
                <a16:creationId xmlns:a16="http://schemas.microsoft.com/office/drawing/2014/main" id="{2DE960FE-682C-4352-ACAB-BD826091DD33}"/>
              </a:ext>
            </a:extLst>
          </p:cNvPr>
          <p:cNvSpPr>
            <a:spLocks noGrp="1" noRot="1" noChangeAspect="1" noChangeArrowheads="1" noTextEdit="1"/>
          </p:cNvSpPr>
          <p:nvPr>
            <p:ph type="sldImg"/>
          </p:nvPr>
        </p:nvSpPr>
        <p:spPr>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55301" name="Rectangle 3">
            <a:extLst>
              <a:ext uri="{FF2B5EF4-FFF2-40B4-BE49-F238E27FC236}">
                <a16:creationId xmlns:a16="http://schemas.microsoft.com/office/drawing/2014/main" id="{81CB6507-F78F-4C86-9C24-A6DDF35FB73D}"/>
              </a:ext>
            </a:extLst>
          </p:cNvPr>
          <p:cNvSpPr>
            <a:spLocks noGrp="1" noChangeArrowheads="1"/>
          </p:cNvSpPr>
          <p:nvPr>
            <p:ph type="body" idx="1"/>
          </p:nvPr>
        </p:nvSpPr>
        <p:spPr>
          <a:xfrm>
            <a:off x="679450" y="4713288"/>
            <a:ext cx="5437188" cy="44672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latin typeface="Times New Roman" panose="02020603050405020304" pitchFamily="18"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a:extLst>
              <a:ext uri="{FF2B5EF4-FFF2-40B4-BE49-F238E27FC236}">
                <a16:creationId xmlns:a16="http://schemas.microsoft.com/office/drawing/2014/main" id="{C68A7FB9-D31D-4C61-AD0F-AF5D6B16DD7E}"/>
              </a:ext>
            </a:extLst>
          </p:cNvPr>
          <p:cNvSpPr>
            <a:spLocks noGrp="1" noRot="1" noChangeAspect="1" noChangeArrowheads="1" noTextEdit="1"/>
          </p:cNvSpPr>
          <p:nvPr>
            <p:ph type="sldImg"/>
          </p:nvPr>
        </p:nvSpPr>
        <p:spPr>
          <a:ln/>
        </p:spPr>
      </p:sp>
      <p:sp>
        <p:nvSpPr>
          <p:cNvPr id="65539" name="Notes Placeholder 2">
            <a:extLst>
              <a:ext uri="{FF2B5EF4-FFF2-40B4-BE49-F238E27FC236}">
                <a16:creationId xmlns:a16="http://schemas.microsoft.com/office/drawing/2014/main" id="{1343CAAB-E627-491C-AD12-AC493AB793BF}"/>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spcBef>
                <a:spcPct val="0"/>
              </a:spcBef>
            </a:pPr>
            <a:endParaRPr lang="en-US" altLang="en-US">
              <a:latin typeface="Times New Roman" panose="02020603050405020304" pitchFamily="18" charset="0"/>
            </a:endParaRPr>
          </a:p>
        </p:txBody>
      </p:sp>
      <p:sp>
        <p:nvSpPr>
          <p:cNvPr id="65540" name="Slide Number Placeholder 3">
            <a:extLst>
              <a:ext uri="{FF2B5EF4-FFF2-40B4-BE49-F238E27FC236}">
                <a16:creationId xmlns:a16="http://schemas.microsoft.com/office/drawing/2014/main" id="{1B30AE4F-9A67-4F30-986F-7D23778503EF}"/>
              </a:ext>
            </a:extLst>
          </p:cNvPr>
          <p:cNvSpPr>
            <a:spLocks noGrp="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15900" indent="-215900">
              <a:spcBef>
                <a:spcPct val="30000"/>
              </a:spcBef>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1pPr>
            <a:lvl2pPr marL="711200" indent="-273050">
              <a:spcBef>
                <a:spcPct val="30000"/>
              </a:spcBef>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2pPr>
            <a:lvl3pPr marL="1093788" indent="-217488">
              <a:spcBef>
                <a:spcPct val="30000"/>
              </a:spcBef>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3pPr>
            <a:lvl4pPr marL="1531938" indent="-217488">
              <a:spcBef>
                <a:spcPct val="30000"/>
              </a:spcBef>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4pPr>
            <a:lvl5pPr marL="1968500" indent="-217488">
              <a:spcBef>
                <a:spcPct val="30000"/>
              </a:spcBef>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5pPr>
            <a:lvl6pPr marL="2425700" indent="-217488" defTabSz="449263" eaLnBrk="0" fontAlgn="base" hangingPunct="0">
              <a:spcBef>
                <a:spcPct val="3000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6pPr>
            <a:lvl7pPr marL="2882900" indent="-217488" defTabSz="449263" eaLnBrk="0" fontAlgn="base" hangingPunct="0">
              <a:spcBef>
                <a:spcPct val="3000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7pPr>
            <a:lvl8pPr marL="3340100" indent="-217488" defTabSz="449263" eaLnBrk="0" fontAlgn="base" hangingPunct="0">
              <a:spcBef>
                <a:spcPct val="3000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8pPr>
            <a:lvl9pPr marL="3797300" indent="-217488" defTabSz="449263" eaLnBrk="0" fontAlgn="base" hangingPunct="0">
              <a:spcBef>
                <a:spcPct val="3000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9pPr>
          </a:lstStyle>
          <a:p>
            <a:pPr>
              <a:spcBef>
                <a:spcPct val="50000"/>
              </a:spcBef>
              <a:buSzPct val="45000"/>
              <a:buFont typeface="Wingdings" panose="05000000000000000000" pitchFamily="2" charset="2"/>
              <a:buChar char=""/>
            </a:pPr>
            <a:fld id="{C021DA14-1C01-4BB5-B108-D1B8C0EE9EA5}" type="slidenum">
              <a:rPr lang="en-US" altLang="en-US" sz="1100" smtClean="0">
                <a:solidFill>
                  <a:schemeClr val="tx1"/>
                </a:solidFill>
                <a:latin typeface="Arial" panose="020B0604020202020204" pitchFamily="34" charset="0"/>
              </a:rPr>
              <a:pPr>
                <a:spcBef>
                  <a:spcPct val="50000"/>
                </a:spcBef>
                <a:buSzPct val="45000"/>
                <a:buFont typeface="Wingdings" panose="05000000000000000000" pitchFamily="2" charset="2"/>
                <a:buChar char=""/>
              </a:pPr>
              <a:t>46</a:t>
            </a:fld>
            <a:endParaRPr lang="en-US" altLang="en-US" sz="1100">
              <a:solidFill>
                <a:schemeClr val="tx1"/>
              </a:solidFill>
              <a:latin typeface="Arial" panose="020B0604020202020204" pitchFamily="34" charset="0"/>
            </a:endParaRPr>
          </a:p>
        </p:txBody>
      </p:sp>
      <p:sp>
        <p:nvSpPr>
          <p:cNvPr id="21509" name="Date Placeholder 4">
            <a:extLst>
              <a:ext uri="{FF2B5EF4-FFF2-40B4-BE49-F238E27FC236}">
                <a16:creationId xmlns:a16="http://schemas.microsoft.com/office/drawing/2014/main" id="{33E1D203-16B6-4915-8D2C-DE40C7CDDF18}"/>
              </a:ext>
            </a:extLst>
          </p:cNvPr>
          <p:cNvSpPr>
            <a:spLocks noGrp="1"/>
          </p:cNvSpPr>
          <p:nvPr>
            <p:ph type="dt" sz="quarter"/>
          </p:nvPr>
        </p:nvSpPr>
        <p:spPr/>
        <p:txBody>
          <a:bodyPr/>
          <a:lstStyle>
            <a:lvl1pPr eaLnBrk="0" hangingPunct="0">
              <a:spcBef>
                <a:spcPct val="30000"/>
              </a:spcBef>
              <a:defRPr sz="1100">
                <a:solidFill>
                  <a:schemeClr val="tx1"/>
                </a:solidFill>
                <a:latin typeface="Calibri" pitchFamily="34" charset="0"/>
              </a:defRPr>
            </a:lvl1pPr>
            <a:lvl2pPr marL="711300" indent="-273577" eaLnBrk="0" hangingPunct="0">
              <a:spcBef>
                <a:spcPct val="30000"/>
              </a:spcBef>
              <a:defRPr sz="1100">
                <a:solidFill>
                  <a:schemeClr val="tx1"/>
                </a:solidFill>
                <a:latin typeface="Calibri" pitchFamily="34" charset="0"/>
              </a:defRPr>
            </a:lvl2pPr>
            <a:lvl3pPr marL="1094308" indent="-218862" eaLnBrk="0" hangingPunct="0">
              <a:spcBef>
                <a:spcPct val="30000"/>
              </a:spcBef>
              <a:defRPr sz="1100">
                <a:solidFill>
                  <a:schemeClr val="tx1"/>
                </a:solidFill>
                <a:latin typeface="Calibri" pitchFamily="34" charset="0"/>
              </a:defRPr>
            </a:lvl3pPr>
            <a:lvl4pPr marL="1532031" indent="-218862" eaLnBrk="0" hangingPunct="0">
              <a:spcBef>
                <a:spcPct val="30000"/>
              </a:spcBef>
              <a:defRPr sz="1100">
                <a:solidFill>
                  <a:schemeClr val="tx1"/>
                </a:solidFill>
                <a:latin typeface="Calibri" pitchFamily="34" charset="0"/>
              </a:defRPr>
            </a:lvl4pPr>
            <a:lvl5pPr marL="1969755" indent="-218862" eaLnBrk="0" hangingPunct="0">
              <a:spcBef>
                <a:spcPct val="30000"/>
              </a:spcBef>
              <a:defRPr sz="1100">
                <a:solidFill>
                  <a:schemeClr val="tx1"/>
                </a:solidFill>
                <a:latin typeface="Calibri" pitchFamily="34" charset="0"/>
              </a:defRPr>
            </a:lvl5pPr>
            <a:lvl6pPr marL="2407478" indent="-218862" eaLnBrk="0" fontAlgn="base" hangingPunct="0">
              <a:spcBef>
                <a:spcPct val="30000"/>
              </a:spcBef>
              <a:spcAft>
                <a:spcPct val="0"/>
              </a:spcAft>
              <a:defRPr sz="1100">
                <a:solidFill>
                  <a:schemeClr val="tx1"/>
                </a:solidFill>
                <a:latin typeface="Calibri" pitchFamily="34" charset="0"/>
              </a:defRPr>
            </a:lvl6pPr>
            <a:lvl7pPr marL="2845201" indent="-218862" eaLnBrk="0" fontAlgn="base" hangingPunct="0">
              <a:spcBef>
                <a:spcPct val="30000"/>
              </a:spcBef>
              <a:spcAft>
                <a:spcPct val="0"/>
              </a:spcAft>
              <a:defRPr sz="1100">
                <a:solidFill>
                  <a:schemeClr val="tx1"/>
                </a:solidFill>
                <a:latin typeface="Calibri" pitchFamily="34" charset="0"/>
              </a:defRPr>
            </a:lvl7pPr>
            <a:lvl8pPr marL="3282925" indent="-218862" eaLnBrk="0" fontAlgn="base" hangingPunct="0">
              <a:spcBef>
                <a:spcPct val="30000"/>
              </a:spcBef>
              <a:spcAft>
                <a:spcPct val="0"/>
              </a:spcAft>
              <a:defRPr sz="1100">
                <a:solidFill>
                  <a:schemeClr val="tx1"/>
                </a:solidFill>
                <a:latin typeface="Calibri" pitchFamily="34" charset="0"/>
              </a:defRPr>
            </a:lvl8pPr>
            <a:lvl9pPr marL="3720648" indent="-218862" eaLnBrk="0" fontAlgn="base" hangingPunct="0">
              <a:spcBef>
                <a:spcPct val="30000"/>
              </a:spcBef>
              <a:spcAft>
                <a:spcPct val="0"/>
              </a:spcAft>
              <a:defRPr sz="1100">
                <a:solidFill>
                  <a:schemeClr val="tx1"/>
                </a:solidFill>
                <a:latin typeface="Calibri" pitchFamily="34" charset="0"/>
              </a:defRPr>
            </a:lvl9pPr>
          </a:lstStyle>
          <a:p>
            <a:pPr eaLnBrk="1" hangingPunct="1">
              <a:spcBef>
                <a:spcPct val="50000"/>
              </a:spcBef>
              <a:defRPr/>
            </a:pPr>
            <a:fld id="{DFECAD55-AE28-43E4-A525-A7117027BB65}" type="datetime1">
              <a:rPr lang="en-US" altLang="en-US" smtClean="0">
                <a:latin typeface="Arial" charset="0"/>
              </a:rPr>
              <a:pPr eaLnBrk="1" hangingPunct="1">
                <a:spcBef>
                  <a:spcPct val="50000"/>
                </a:spcBef>
                <a:defRPr/>
              </a:pPr>
              <a:t>5/9/2026</a:t>
            </a:fld>
            <a:endParaRPr lang="en-US" altLang="en-US">
              <a:latin typeface="Arial" charset="0"/>
            </a:endParaRPr>
          </a:p>
        </p:txBody>
      </p:sp>
      <p:sp>
        <p:nvSpPr>
          <p:cNvPr id="65542" name="Header Placeholder 5">
            <a:extLst>
              <a:ext uri="{FF2B5EF4-FFF2-40B4-BE49-F238E27FC236}">
                <a16:creationId xmlns:a16="http://schemas.microsoft.com/office/drawing/2014/main" id="{B9CE1A40-C5FA-4F3E-9D01-A83AC4325C1A}"/>
              </a:ext>
            </a:extLst>
          </p:cNvPr>
          <p:cNvSpPr>
            <a:spLocks noGrp="1"/>
          </p:cNvSpPr>
          <p:nvPr>
            <p:ph type="hdr"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Clr>
                <a:srgbClr val="000000"/>
              </a:buClr>
              <a:buSzPct val="100000"/>
              <a:buFont typeface="Times New Roman" panose="02020603050405020304" pitchFamily="18" charset="0"/>
              <a:defRPr sz="1200">
                <a:solidFill>
                  <a:srgbClr val="000000"/>
                </a:solidFill>
                <a:latin typeface="Times New Roman" panose="02020603050405020304" pitchFamily="18" charset="0"/>
              </a:defRPr>
            </a:lvl1pPr>
            <a:lvl2pPr marL="711200" indent="-273050">
              <a:spcBef>
                <a:spcPct val="30000"/>
              </a:spcBef>
              <a:buClr>
                <a:srgbClr val="000000"/>
              </a:buClr>
              <a:buSzPct val="100000"/>
              <a:buFont typeface="Times New Roman" panose="02020603050405020304" pitchFamily="18" charset="0"/>
              <a:defRPr sz="1200">
                <a:solidFill>
                  <a:srgbClr val="000000"/>
                </a:solidFill>
                <a:latin typeface="Times New Roman" panose="02020603050405020304" pitchFamily="18" charset="0"/>
              </a:defRPr>
            </a:lvl2pPr>
            <a:lvl3pPr marL="1093788" indent="-217488">
              <a:spcBef>
                <a:spcPct val="30000"/>
              </a:spcBef>
              <a:buClr>
                <a:srgbClr val="000000"/>
              </a:buClr>
              <a:buSzPct val="100000"/>
              <a:buFont typeface="Times New Roman" panose="02020603050405020304" pitchFamily="18" charset="0"/>
              <a:defRPr sz="1200">
                <a:solidFill>
                  <a:srgbClr val="000000"/>
                </a:solidFill>
                <a:latin typeface="Times New Roman" panose="02020603050405020304" pitchFamily="18" charset="0"/>
              </a:defRPr>
            </a:lvl3pPr>
            <a:lvl4pPr marL="1531938" indent="-217488">
              <a:spcBef>
                <a:spcPct val="30000"/>
              </a:spcBef>
              <a:buClr>
                <a:srgbClr val="000000"/>
              </a:buClr>
              <a:buSzPct val="100000"/>
              <a:buFont typeface="Times New Roman" panose="02020603050405020304" pitchFamily="18" charset="0"/>
              <a:defRPr sz="1200">
                <a:solidFill>
                  <a:srgbClr val="000000"/>
                </a:solidFill>
                <a:latin typeface="Times New Roman" panose="02020603050405020304" pitchFamily="18" charset="0"/>
              </a:defRPr>
            </a:lvl4pPr>
            <a:lvl5pPr marL="1968500" indent="-217488">
              <a:spcBef>
                <a:spcPct val="30000"/>
              </a:spcBef>
              <a:buClr>
                <a:srgbClr val="000000"/>
              </a:buClr>
              <a:buSzPct val="100000"/>
              <a:buFont typeface="Times New Roman" panose="02020603050405020304" pitchFamily="18" charset="0"/>
              <a:defRPr sz="1200">
                <a:solidFill>
                  <a:srgbClr val="000000"/>
                </a:solidFill>
                <a:latin typeface="Times New Roman" panose="02020603050405020304" pitchFamily="18" charset="0"/>
              </a:defRPr>
            </a:lvl5pPr>
            <a:lvl6pPr marL="2425700" indent="-217488" defTabSz="449263" eaLnBrk="0" fontAlgn="base" hangingPunct="0">
              <a:spcBef>
                <a:spcPct val="30000"/>
              </a:spcBef>
              <a:spcAft>
                <a:spcPct val="0"/>
              </a:spcAft>
              <a:buClr>
                <a:srgbClr val="000000"/>
              </a:buClr>
              <a:buSzPct val="100000"/>
              <a:buFont typeface="Times New Roman" panose="02020603050405020304" pitchFamily="18" charset="0"/>
              <a:defRPr sz="1200">
                <a:solidFill>
                  <a:srgbClr val="000000"/>
                </a:solidFill>
                <a:latin typeface="Times New Roman" panose="02020603050405020304" pitchFamily="18" charset="0"/>
              </a:defRPr>
            </a:lvl6pPr>
            <a:lvl7pPr marL="2882900" indent="-217488" defTabSz="449263" eaLnBrk="0" fontAlgn="base" hangingPunct="0">
              <a:spcBef>
                <a:spcPct val="30000"/>
              </a:spcBef>
              <a:spcAft>
                <a:spcPct val="0"/>
              </a:spcAft>
              <a:buClr>
                <a:srgbClr val="000000"/>
              </a:buClr>
              <a:buSzPct val="100000"/>
              <a:buFont typeface="Times New Roman" panose="02020603050405020304" pitchFamily="18" charset="0"/>
              <a:defRPr sz="1200">
                <a:solidFill>
                  <a:srgbClr val="000000"/>
                </a:solidFill>
                <a:latin typeface="Times New Roman" panose="02020603050405020304" pitchFamily="18" charset="0"/>
              </a:defRPr>
            </a:lvl7pPr>
            <a:lvl8pPr marL="3340100" indent="-217488" defTabSz="449263" eaLnBrk="0" fontAlgn="base" hangingPunct="0">
              <a:spcBef>
                <a:spcPct val="30000"/>
              </a:spcBef>
              <a:spcAft>
                <a:spcPct val="0"/>
              </a:spcAft>
              <a:buClr>
                <a:srgbClr val="000000"/>
              </a:buClr>
              <a:buSzPct val="100000"/>
              <a:buFont typeface="Times New Roman" panose="02020603050405020304" pitchFamily="18" charset="0"/>
              <a:defRPr sz="1200">
                <a:solidFill>
                  <a:srgbClr val="000000"/>
                </a:solidFill>
                <a:latin typeface="Times New Roman" panose="02020603050405020304" pitchFamily="18" charset="0"/>
              </a:defRPr>
            </a:lvl8pPr>
            <a:lvl9pPr marL="3797300" indent="-217488" defTabSz="449263" eaLnBrk="0" fontAlgn="base" hangingPunct="0">
              <a:spcBef>
                <a:spcPct val="30000"/>
              </a:spcBef>
              <a:spcAft>
                <a:spcPct val="0"/>
              </a:spcAft>
              <a:buClr>
                <a:srgbClr val="000000"/>
              </a:buClr>
              <a:buSzPct val="100000"/>
              <a:buFont typeface="Times New Roman" panose="02020603050405020304" pitchFamily="18" charset="0"/>
              <a:defRPr sz="1200">
                <a:solidFill>
                  <a:srgbClr val="000000"/>
                </a:solidFill>
                <a:latin typeface="Times New Roman" panose="02020603050405020304" pitchFamily="18" charset="0"/>
              </a:defRPr>
            </a:lvl9pPr>
          </a:lstStyle>
          <a:p>
            <a:pPr eaLnBrk="1" hangingPunct="1">
              <a:spcBef>
                <a:spcPct val="50000"/>
              </a:spcBef>
              <a:buClrTx/>
              <a:buSzTx/>
              <a:buFontTx/>
              <a:buNone/>
            </a:pPr>
            <a:endParaRPr lang="en-US" altLang="en-US" sz="1100">
              <a:solidFill>
                <a:schemeClr val="tx1"/>
              </a:solidFill>
              <a:latin typeface="Arial" panose="020B060402020202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a:extLst>
              <a:ext uri="{FF2B5EF4-FFF2-40B4-BE49-F238E27FC236}">
                <a16:creationId xmlns:a16="http://schemas.microsoft.com/office/drawing/2014/main" id="{EF4E1724-0FD4-4C8C-B577-A95BCFB0EAC1}"/>
              </a:ext>
            </a:extLst>
          </p:cNvPr>
          <p:cNvSpPr>
            <a:spLocks noGrp="1" noRot="1" noChangeAspect="1" noChangeArrowheads="1" noTextEdit="1"/>
          </p:cNvSpPr>
          <p:nvPr>
            <p:ph type="sldImg"/>
          </p:nvPr>
        </p:nvSpPr>
        <p:spPr>
          <a:ln/>
        </p:spPr>
      </p:sp>
      <p:sp>
        <p:nvSpPr>
          <p:cNvPr id="88067" name="Notes Placeholder 2">
            <a:extLst>
              <a:ext uri="{FF2B5EF4-FFF2-40B4-BE49-F238E27FC236}">
                <a16:creationId xmlns:a16="http://schemas.microsoft.com/office/drawing/2014/main" id="{C4B5B37D-5976-46BE-8893-6E1EEFFFBED4}"/>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a:latin typeface="Times New Roman" panose="02020603050405020304" pitchFamily="18" charset="0"/>
            </a:endParaRPr>
          </a:p>
        </p:txBody>
      </p:sp>
      <p:sp>
        <p:nvSpPr>
          <p:cNvPr id="88068" name="Slide Number Placeholder 3">
            <a:extLst>
              <a:ext uri="{FF2B5EF4-FFF2-40B4-BE49-F238E27FC236}">
                <a16:creationId xmlns:a16="http://schemas.microsoft.com/office/drawing/2014/main" id="{973C3818-45F9-4F3C-B57E-FC80BBAF08F8}"/>
              </a:ext>
            </a:extLst>
          </p:cNvPr>
          <p:cNvSpPr>
            <a:spLocks noGrp="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15900" indent="-215900">
              <a:spcBef>
                <a:spcPct val="30000"/>
              </a:spcBef>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1pPr>
            <a:lvl2pPr>
              <a:spcBef>
                <a:spcPct val="30000"/>
              </a:spcBef>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2pPr>
            <a:lvl3pPr>
              <a:spcBef>
                <a:spcPct val="30000"/>
              </a:spcBef>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3pPr>
            <a:lvl4pPr>
              <a:spcBef>
                <a:spcPct val="30000"/>
              </a:spcBef>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4pPr>
            <a:lvl5pPr>
              <a:spcBef>
                <a:spcPct val="30000"/>
              </a:spcBef>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5pPr>
            <a:lvl6pPr marL="2514600" indent="-228600" defTabSz="449263" eaLnBrk="0" fontAlgn="base" hangingPunct="0">
              <a:spcBef>
                <a:spcPct val="3000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6pPr>
            <a:lvl7pPr marL="2971800" indent="-228600" defTabSz="449263" eaLnBrk="0" fontAlgn="base" hangingPunct="0">
              <a:spcBef>
                <a:spcPct val="3000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7pPr>
            <a:lvl8pPr marL="3429000" indent="-228600" defTabSz="449263" eaLnBrk="0" fontAlgn="base" hangingPunct="0">
              <a:spcBef>
                <a:spcPct val="3000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8pPr>
            <a:lvl9pPr marL="3886200" indent="-228600" defTabSz="449263" eaLnBrk="0" fontAlgn="base" hangingPunct="0">
              <a:spcBef>
                <a:spcPct val="3000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sz="1200">
                <a:solidFill>
                  <a:srgbClr val="000000"/>
                </a:solidFill>
                <a:latin typeface="Times New Roman" panose="02020603050405020304" pitchFamily="18" charset="0"/>
              </a:defRPr>
            </a:lvl9pPr>
          </a:lstStyle>
          <a:p>
            <a:pPr>
              <a:spcBef>
                <a:spcPct val="50000"/>
              </a:spcBef>
              <a:buSzPct val="45000"/>
              <a:buFont typeface="Wingdings" panose="05000000000000000000" pitchFamily="2" charset="2"/>
              <a:buChar char=""/>
            </a:pPr>
            <a:fld id="{9E2158F8-587D-40AE-921F-B31FF4CFE25F}" type="slidenum">
              <a:rPr lang="en-US" altLang="ko-KR" smtClean="0">
                <a:solidFill>
                  <a:schemeClr val="tx1"/>
                </a:solidFill>
                <a:latin typeface="Arial" panose="020B0604020202020204" pitchFamily="34" charset="0"/>
                <a:ea typeface="MS PGothic" panose="020B0600070205080204" pitchFamily="34" charset="-128"/>
              </a:rPr>
              <a:pPr>
                <a:spcBef>
                  <a:spcPct val="50000"/>
                </a:spcBef>
                <a:buSzPct val="45000"/>
                <a:buFont typeface="Wingdings" panose="05000000000000000000" pitchFamily="2" charset="2"/>
                <a:buChar char=""/>
              </a:pPr>
              <a:t>67</a:t>
            </a:fld>
            <a:endParaRPr lang="en-US" altLang="ko-KR">
              <a:solidFill>
                <a:schemeClr val="tx1"/>
              </a:solidFill>
              <a:latin typeface="Arial" panose="020B0604020202020204" pitchFamily="34" charset="0"/>
              <a:ea typeface="MS PGothic" panose="020B0600070205080204"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8194" name="Rectangle 13">
            <a:extLst>
              <a:ext uri="{FF2B5EF4-FFF2-40B4-BE49-F238E27FC236}">
                <a16:creationId xmlns:a16="http://schemas.microsoft.com/office/drawing/2014/main" id="{CAE05714-A507-42DD-924E-5B425EFA8020}"/>
              </a:ext>
            </a:extLst>
          </p:cNvPr>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07963" indent="-198438">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1pPr>
            <a:lvl2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2pPr>
            <a:lvl3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3pPr>
            <a:lvl4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4pPr>
            <a:lvl5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5pPr>
            <a:lvl6pPr marL="25146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6pPr>
            <a:lvl7pPr marL="29718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7pPr>
            <a:lvl8pPr marL="34290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8pPr>
            <a:lvl9pPr marL="38862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9pPr>
          </a:lstStyle>
          <a:p>
            <a:pPr>
              <a:spcBef>
                <a:spcPts val="725"/>
              </a:spcBef>
              <a:buSzPct val="45000"/>
              <a:buFont typeface="Wingdings" panose="05000000000000000000" pitchFamily="2" charset="2"/>
              <a:buChar char=""/>
            </a:pPr>
            <a:fld id="{D6A285D6-367A-4202-B857-C0AB427399B8}" type="slidenum">
              <a:rPr lang="en-US" altLang="en-US" smtClean="0">
                <a:ea typeface="Arial Unicode MS" pitchFamily="34" charset="-128"/>
              </a:rPr>
              <a:pPr>
                <a:spcBef>
                  <a:spcPts val="725"/>
                </a:spcBef>
                <a:buSzPct val="45000"/>
                <a:buFont typeface="Wingdings" panose="05000000000000000000" pitchFamily="2" charset="2"/>
                <a:buChar char=""/>
              </a:pPr>
              <a:t>2</a:t>
            </a:fld>
            <a:endParaRPr lang="en-US" altLang="en-US">
              <a:ea typeface="Arial Unicode MS" pitchFamily="34" charset="-128"/>
            </a:endParaRPr>
          </a:p>
        </p:txBody>
      </p:sp>
      <p:sp>
        <p:nvSpPr>
          <p:cNvPr id="8195" name="Text Box 1">
            <a:extLst>
              <a:ext uri="{FF2B5EF4-FFF2-40B4-BE49-F238E27FC236}">
                <a16:creationId xmlns:a16="http://schemas.microsoft.com/office/drawing/2014/main" id="{5A250CBD-4D34-44FF-B94F-4D4932D2EFE5}"/>
              </a:ext>
            </a:extLst>
          </p:cNvPr>
          <p:cNvSpPr txBox="1">
            <a:spLocks noChangeArrowheads="1"/>
          </p:cNvSpPr>
          <p:nvPr/>
        </p:nvSpPr>
        <p:spPr bwMode="auto">
          <a:xfrm>
            <a:off x="3849688" y="9428163"/>
            <a:ext cx="2936875" cy="4873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6814" tIns="45143" rIns="86814" bIns="45143" anchor="b"/>
          <a:lstStyle>
            <a:lvl1pPr marL="215900" indent="-206375">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1pPr>
            <a:lvl2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2pPr>
            <a:lvl3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3pPr>
            <a:lvl4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4pPr>
            <a:lvl5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5pPr>
            <a:lvl6pPr marL="25146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6pPr>
            <a:lvl7pPr marL="29718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7pPr>
            <a:lvl8pPr marL="34290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8pPr>
            <a:lvl9pPr marL="38862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9pPr>
          </a:lstStyle>
          <a:p>
            <a:pPr algn="r" eaLnBrk="1" hangingPunct="1">
              <a:spcBef>
                <a:spcPts val="725"/>
              </a:spcBef>
              <a:buClrTx/>
              <a:buSzPct val="45000"/>
            </a:pPr>
            <a:fld id="{81B3D753-6B2E-4176-8380-91011D9AC09F}" type="slidenum">
              <a:rPr lang="en-US" altLang="en-US">
                <a:ea typeface="Arial Unicode MS" pitchFamily="34" charset="-128"/>
              </a:rPr>
              <a:pPr algn="r" eaLnBrk="1" hangingPunct="1">
                <a:spcBef>
                  <a:spcPts val="725"/>
                </a:spcBef>
                <a:buClrTx/>
                <a:buSzPct val="45000"/>
              </a:pPr>
              <a:t>2</a:t>
            </a:fld>
            <a:endParaRPr lang="en-US" altLang="en-US">
              <a:ea typeface="Arial Unicode MS" pitchFamily="34" charset="-128"/>
            </a:endParaRPr>
          </a:p>
        </p:txBody>
      </p:sp>
      <p:sp>
        <p:nvSpPr>
          <p:cNvPr id="8196" name="Rectangle 2">
            <a:extLst>
              <a:ext uri="{FF2B5EF4-FFF2-40B4-BE49-F238E27FC236}">
                <a16:creationId xmlns:a16="http://schemas.microsoft.com/office/drawing/2014/main" id="{4B549936-93CF-44E6-9EEF-AC587919F092}"/>
              </a:ext>
            </a:extLst>
          </p:cNvPr>
          <p:cNvSpPr>
            <a:spLocks noGrp="1" noRot="1" noChangeAspect="1" noChangeArrowheads="1" noTextEdit="1"/>
          </p:cNvSpPr>
          <p:nvPr>
            <p:ph type="sldImg"/>
          </p:nvPr>
        </p:nvSpPr>
        <p:spPr>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8197" name="Rectangle 3">
            <a:extLst>
              <a:ext uri="{FF2B5EF4-FFF2-40B4-BE49-F238E27FC236}">
                <a16:creationId xmlns:a16="http://schemas.microsoft.com/office/drawing/2014/main" id="{F59F6C63-D90F-4659-8F61-72B6CEF21837}"/>
              </a:ext>
            </a:extLst>
          </p:cNvPr>
          <p:cNvSpPr>
            <a:spLocks noGrp="1" noChangeArrowheads="1"/>
          </p:cNvSpPr>
          <p:nvPr>
            <p:ph type="body" idx="1"/>
          </p:nvPr>
        </p:nvSpPr>
        <p:spPr>
          <a:xfrm>
            <a:off x="679450" y="4713288"/>
            <a:ext cx="5437188" cy="44672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latin typeface="Times New Roman" panose="02020603050405020304" pitchFamily="18"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42" name="Text Box 1">
            <a:extLst>
              <a:ext uri="{FF2B5EF4-FFF2-40B4-BE49-F238E27FC236}">
                <a16:creationId xmlns:a16="http://schemas.microsoft.com/office/drawing/2014/main" id="{68220DF1-B0AD-47BC-9A31-8B5E51483B38}"/>
              </a:ext>
            </a:extLst>
          </p:cNvPr>
          <p:cNvSpPr>
            <a:spLocks noGrp="1" noRot="1" noChangeAspect="1" noChangeArrowheads="1" noTextEdit="1"/>
          </p:cNvSpPr>
          <p:nvPr>
            <p:ph type="sldImg"/>
          </p:nvPr>
        </p:nvSpPr>
        <p:spPr>
          <a:xfrm>
            <a:off x="1143000" y="695325"/>
            <a:ext cx="4572000" cy="3429000"/>
          </a:xfrm>
          <a:solidFill>
            <a:srgbClr val="FFFFFF"/>
          </a:solidFill>
          <a:ln/>
        </p:spPr>
      </p:sp>
      <p:sp>
        <p:nvSpPr>
          <p:cNvPr id="10243" name="Text Box 2">
            <a:extLst>
              <a:ext uri="{FF2B5EF4-FFF2-40B4-BE49-F238E27FC236}">
                <a16:creationId xmlns:a16="http://schemas.microsoft.com/office/drawing/2014/main" id="{C6FC88B6-384F-4A3D-BACC-933433BFB6C8}"/>
              </a:ext>
            </a:extLst>
          </p:cNvPr>
          <p:cNvSpPr>
            <a:spLocks noGrp="1" noChangeArrowheads="1"/>
          </p:cNvSpPr>
          <p:nvPr>
            <p:ph type="body" idx="1"/>
          </p:nvPr>
        </p:nvSpPr>
        <p:spPr>
          <a:xfrm>
            <a:off x="685800" y="4343400"/>
            <a:ext cx="5486400"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ltLang="en-US">
              <a:latin typeface="Times New Roman" panose="02020603050405020304" pitchFamily="18"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a:extLst>
              <a:ext uri="{FF2B5EF4-FFF2-40B4-BE49-F238E27FC236}">
                <a16:creationId xmlns:a16="http://schemas.microsoft.com/office/drawing/2014/main" id="{4D6F4492-99AE-41EF-9624-186D2AC3ABBA}"/>
              </a:ext>
            </a:extLst>
          </p:cNvPr>
          <p:cNvSpPr>
            <a:spLocks noGrp="1" noRot="1" noChangeAspect="1" noChangeArrowheads="1" noTextEdit="1"/>
          </p:cNvSpPr>
          <p:nvPr>
            <p:ph type="sldImg"/>
          </p:nvPr>
        </p:nvSpPr>
        <p:spPr>
          <a:ln/>
        </p:spPr>
      </p:sp>
      <p:sp>
        <p:nvSpPr>
          <p:cNvPr id="13315" name="Notes Placeholder 2">
            <a:extLst>
              <a:ext uri="{FF2B5EF4-FFF2-40B4-BE49-F238E27FC236}">
                <a16:creationId xmlns:a16="http://schemas.microsoft.com/office/drawing/2014/main" id="{2F954C17-CA70-4200-AF26-B28D1FEF3C84}"/>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a:latin typeface="Times New Roman" panose="02020603050405020304" pitchFamily="18" charset="0"/>
            </a:endParaRPr>
          </a:p>
        </p:txBody>
      </p:sp>
      <p:sp>
        <p:nvSpPr>
          <p:cNvPr id="13316" name="Slide Number Placeholder 3">
            <a:extLst>
              <a:ext uri="{FF2B5EF4-FFF2-40B4-BE49-F238E27FC236}">
                <a16:creationId xmlns:a16="http://schemas.microsoft.com/office/drawing/2014/main" id="{458713EB-DE69-465E-8C26-FB79799B388D}"/>
              </a:ext>
            </a:extLst>
          </p:cNvPr>
          <p:cNvSpPr>
            <a:spLocks noGrp="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15900" indent="-215900">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1pPr>
            <a:lvl2pPr>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2pPr>
            <a:lvl3pPr>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3pPr>
            <a:lvl4pPr>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4pPr>
            <a:lvl5pPr>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5pPr>
            <a:lvl6pPr marL="2514600" indent="-228600" defTabSz="449263" eaLnBrk="0" fontAlgn="base" hangingPunct="0">
              <a:spcBef>
                <a:spcPct val="0"/>
              </a:spcBef>
              <a:spcAft>
                <a:spcPct val="0"/>
              </a:spcAft>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6pPr>
            <a:lvl7pPr marL="2971800" indent="-228600" defTabSz="449263" eaLnBrk="0" fontAlgn="base" hangingPunct="0">
              <a:spcBef>
                <a:spcPct val="0"/>
              </a:spcBef>
              <a:spcAft>
                <a:spcPct val="0"/>
              </a:spcAft>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7pPr>
            <a:lvl8pPr marL="3429000" indent="-228600" defTabSz="449263" eaLnBrk="0" fontAlgn="base" hangingPunct="0">
              <a:spcBef>
                <a:spcPct val="0"/>
              </a:spcBef>
              <a:spcAft>
                <a:spcPct val="0"/>
              </a:spcAft>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8pPr>
            <a:lvl9pPr marL="3886200" indent="-228600" defTabSz="449263" eaLnBrk="0" fontAlgn="base" hangingPunct="0">
              <a:spcBef>
                <a:spcPct val="0"/>
              </a:spcBef>
              <a:spcAft>
                <a:spcPct val="0"/>
              </a:spcAft>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9pPr>
          </a:lstStyle>
          <a:p>
            <a:fld id="{6CAC1B3C-BA87-4556-93BD-EC5DC4320971}" type="slidenum">
              <a:rPr lang="en-US" altLang="en-US" sz="1200" smtClean="0">
                <a:solidFill>
                  <a:srgbClr val="000000"/>
                </a:solidFill>
                <a:latin typeface="Times New Roman" panose="02020603050405020304" pitchFamily="18" charset="0"/>
                <a:cs typeface="Arial" panose="020B0604020202020204" pitchFamily="34" charset="0"/>
              </a:rPr>
              <a:pPr/>
              <a:t>5</a:t>
            </a:fld>
            <a:endParaRPr lang="en-US" altLang="en-US" sz="1200">
              <a:solidFill>
                <a:srgbClr val="000000"/>
              </a:solidFill>
              <a:latin typeface="Times New Roman" panose="02020603050405020304" pitchFamily="18" charset="0"/>
              <a:cs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EC1F68B4-93CB-4BCE-B5D5-5FED87433407}"/>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21F95A53-C238-4691-892C-ABDE4E9F8C0B}"/>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a:latin typeface="Times New Roman" panose="02020603050405020304" pitchFamily="18" charset="0"/>
            </a:endParaRPr>
          </a:p>
        </p:txBody>
      </p:sp>
      <p:sp>
        <p:nvSpPr>
          <p:cNvPr id="16388" name="Slide Number Placeholder 3">
            <a:extLst>
              <a:ext uri="{FF2B5EF4-FFF2-40B4-BE49-F238E27FC236}">
                <a16:creationId xmlns:a16="http://schemas.microsoft.com/office/drawing/2014/main" id="{B4F74C4A-AD19-4E5B-8CD6-525F68BBCBE3}"/>
              </a:ext>
            </a:extLst>
          </p:cNvPr>
          <p:cNvSpPr>
            <a:spLocks noGrp="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15900" indent="-215900">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1pPr>
            <a:lvl2pPr>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2pPr>
            <a:lvl3pPr>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3pPr>
            <a:lvl4pPr>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4pPr>
            <a:lvl5pPr>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5pPr>
            <a:lvl6pPr marL="2514600" indent="-228600" defTabSz="449263" eaLnBrk="0" fontAlgn="base" hangingPunct="0">
              <a:spcBef>
                <a:spcPct val="0"/>
              </a:spcBef>
              <a:spcAft>
                <a:spcPct val="0"/>
              </a:spcAft>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6pPr>
            <a:lvl7pPr marL="2971800" indent="-228600" defTabSz="449263" eaLnBrk="0" fontAlgn="base" hangingPunct="0">
              <a:spcBef>
                <a:spcPct val="0"/>
              </a:spcBef>
              <a:spcAft>
                <a:spcPct val="0"/>
              </a:spcAft>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7pPr>
            <a:lvl8pPr marL="3429000" indent="-228600" defTabSz="449263" eaLnBrk="0" fontAlgn="base" hangingPunct="0">
              <a:spcBef>
                <a:spcPct val="0"/>
              </a:spcBef>
              <a:spcAft>
                <a:spcPct val="0"/>
              </a:spcAft>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8pPr>
            <a:lvl9pPr marL="3886200" indent="-228600" defTabSz="449263" eaLnBrk="0" fontAlgn="base" hangingPunct="0">
              <a:spcBef>
                <a:spcPct val="0"/>
              </a:spcBef>
              <a:spcAft>
                <a:spcPct val="0"/>
              </a:spcAft>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9pPr>
          </a:lstStyle>
          <a:p>
            <a:fld id="{F8C723B9-37CD-4653-AFC1-187E4E277C4C}" type="slidenum">
              <a:rPr lang="en-US" altLang="en-US" sz="1200" smtClean="0">
                <a:solidFill>
                  <a:srgbClr val="000000"/>
                </a:solidFill>
                <a:latin typeface="Times New Roman" panose="02020603050405020304" pitchFamily="18" charset="0"/>
                <a:cs typeface="Arial" panose="020B0604020202020204" pitchFamily="34" charset="0"/>
              </a:rPr>
              <a:pPr/>
              <a:t>7</a:t>
            </a:fld>
            <a:endParaRPr lang="en-US" altLang="en-US" sz="1200">
              <a:solidFill>
                <a:srgbClr val="000000"/>
              </a:solidFill>
              <a:latin typeface="Times New Roman" panose="02020603050405020304" pitchFamily="18" charset="0"/>
              <a:cs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a:extLst>
              <a:ext uri="{FF2B5EF4-FFF2-40B4-BE49-F238E27FC236}">
                <a16:creationId xmlns:a16="http://schemas.microsoft.com/office/drawing/2014/main" id="{9E7C2440-D812-4227-B077-59D2BAF43543}"/>
              </a:ext>
            </a:extLst>
          </p:cNvPr>
          <p:cNvSpPr>
            <a:spLocks noGrp="1" noRot="1" noChangeAspect="1" noChangeArrowheads="1" noTextEdit="1"/>
          </p:cNvSpPr>
          <p:nvPr>
            <p:ph type="sldImg"/>
          </p:nvPr>
        </p:nvSpPr>
        <p:spPr>
          <a:ln/>
        </p:spPr>
      </p:sp>
      <p:sp>
        <p:nvSpPr>
          <p:cNvPr id="19459" name="Notes Placeholder 2">
            <a:extLst>
              <a:ext uri="{FF2B5EF4-FFF2-40B4-BE49-F238E27FC236}">
                <a16:creationId xmlns:a16="http://schemas.microsoft.com/office/drawing/2014/main" id="{8AE3372D-5C8D-449F-9336-692617F0B15E}"/>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a:latin typeface="Times New Roman" panose="02020603050405020304" pitchFamily="18" charset="0"/>
            </a:endParaRPr>
          </a:p>
        </p:txBody>
      </p:sp>
      <p:sp>
        <p:nvSpPr>
          <p:cNvPr id="19460" name="Slide Number Placeholder 3">
            <a:extLst>
              <a:ext uri="{FF2B5EF4-FFF2-40B4-BE49-F238E27FC236}">
                <a16:creationId xmlns:a16="http://schemas.microsoft.com/office/drawing/2014/main" id="{04FB8958-6FB4-4A16-BC8B-07AF2D6A1076}"/>
              </a:ext>
            </a:extLst>
          </p:cNvPr>
          <p:cNvSpPr>
            <a:spLocks noGrp="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15900" indent="-215900">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1pPr>
            <a:lvl2pPr>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2pPr>
            <a:lvl3pPr>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3pPr>
            <a:lvl4pPr>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4pPr>
            <a:lvl5pPr>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5pPr>
            <a:lvl6pPr marL="2514600" indent="-228600" defTabSz="449263" eaLnBrk="0" fontAlgn="base" hangingPunct="0">
              <a:spcBef>
                <a:spcPct val="0"/>
              </a:spcBef>
              <a:spcAft>
                <a:spcPct val="0"/>
              </a:spcAft>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6pPr>
            <a:lvl7pPr marL="2971800" indent="-228600" defTabSz="449263" eaLnBrk="0" fontAlgn="base" hangingPunct="0">
              <a:spcBef>
                <a:spcPct val="0"/>
              </a:spcBef>
              <a:spcAft>
                <a:spcPct val="0"/>
              </a:spcAft>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7pPr>
            <a:lvl8pPr marL="3429000" indent="-228600" defTabSz="449263" eaLnBrk="0" fontAlgn="base" hangingPunct="0">
              <a:spcBef>
                <a:spcPct val="0"/>
              </a:spcBef>
              <a:spcAft>
                <a:spcPct val="0"/>
              </a:spcAft>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8pPr>
            <a:lvl9pPr marL="3886200" indent="-228600" defTabSz="449263" eaLnBrk="0" fontAlgn="base" hangingPunct="0">
              <a:spcBef>
                <a:spcPct val="0"/>
              </a:spcBef>
              <a:spcAft>
                <a:spcPct val="0"/>
              </a:spcAft>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9pPr>
          </a:lstStyle>
          <a:p>
            <a:fld id="{BFEBFDFB-1D10-4B1A-8A74-93459673E4E4}" type="slidenum">
              <a:rPr lang="en-US" altLang="en-US" sz="1200" smtClean="0">
                <a:solidFill>
                  <a:srgbClr val="000000"/>
                </a:solidFill>
                <a:latin typeface="Times New Roman" panose="02020603050405020304" pitchFamily="18" charset="0"/>
                <a:cs typeface="Arial" panose="020B0604020202020204" pitchFamily="34" charset="0"/>
              </a:rPr>
              <a:pPr/>
              <a:t>9</a:t>
            </a:fld>
            <a:endParaRPr lang="en-US" altLang="en-US" sz="1200">
              <a:solidFill>
                <a:srgbClr val="000000"/>
              </a:solidFill>
              <a:latin typeface="Times New Roman" panose="02020603050405020304" pitchFamily="18" charset="0"/>
              <a:cs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a:extLst>
              <a:ext uri="{FF2B5EF4-FFF2-40B4-BE49-F238E27FC236}">
                <a16:creationId xmlns:a16="http://schemas.microsoft.com/office/drawing/2014/main" id="{E7B12D41-5ACC-4903-85AA-BD7F2290AAE0}"/>
              </a:ext>
            </a:extLst>
          </p:cNvPr>
          <p:cNvSpPr>
            <a:spLocks noGrp="1" noRot="1" noChangeAspect="1" noChangeArrowheads="1" noTextEdit="1"/>
          </p:cNvSpPr>
          <p:nvPr>
            <p:ph type="sldImg"/>
          </p:nvPr>
        </p:nvSpPr>
        <p:spPr>
          <a:ln/>
        </p:spPr>
      </p:sp>
      <p:sp>
        <p:nvSpPr>
          <p:cNvPr id="25603" name="Notes Placeholder 2">
            <a:extLst>
              <a:ext uri="{FF2B5EF4-FFF2-40B4-BE49-F238E27FC236}">
                <a16:creationId xmlns:a16="http://schemas.microsoft.com/office/drawing/2014/main" id="{861D52DE-40CA-4009-AC60-8093EB1D2840}"/>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SG" altLang="en-US">
              <a:latin typeface="Times New Roman" panose="02020603050405020304" pitchFamily="18" charset="0"/>
              <a:ea typeface="ヒラギノ角ゴ Pro W3"/>
              <a:cs typeface="ヒラギノ角ゴ Pro W3"/>
            </a:endParaRPr>
          </a:p>
        </p:txBody>
      </p:sp>
      <p:sp>
        <p:nvSpPr>
          <p:cNvPr id="25604" name="Slide Number Placeholder 3">
            <a:extLst>
              <a:ext uri="{FF2B5EF4-FFF2-40B4-BE49-F238E27FC236}">
                <a16:creationId xmlns:a16="http://schemas.microsoft.com/office/drawing/2014/main" id="{A54F2D86-04FC-4722-80C4-75B3C25C91A2}"/>
              </a:ext>
            </a:extLst>
          </p:cNvPr>
          <p:cNvSpPr>
            <a:spLocks noGrp="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15900" indent="-215900">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1pPr>
            <a:lvl2pPr>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2pPr>
            <a:lvl3pPr>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3pPr>
            <a:lvl4pPr>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4pPr>
            <a:lvl5pPr>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5pPr>
            <a:lvl6pPr marL="2514600" indent="-228600" defTabSz="449263" eaLnBrk="0" fontAlgn="base" hangingPunct="0">
              <a:spcBef>
                <a:spcPct val="0"/>
              </a:spcBef>
              <a:spcAft>
                <a:spcPct val="0"/>
              </a:spcAft>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6pPr>
            <a:lvl7pPr marL="2971800" indent="-228600" defTabSz="449263" eaLnBrk="0" fontAlgn="base" hangingPunct="0">
              <a:spcBef>
                <a:spcPct val="0"/>
              </a:spcBef>
              <a:spcAft>
                <a:spcPct val="0"/>
              </a:spcAft>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7pPr>
            <a:lvl8pPr marL="3429000" indent="-228600" defTabSz="449263" eaLnBrk="0" fontAlgn="base" hangingPunct="0">
              <a:spcBef>
                <a:spcPct val="0"/>
              </a:spcBef>
              <a:spcAft>
                <a:spcPct val="0"/>
              </a:spcAft>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8pPr>
            <a:lvl9pPr marL="3886200" indent="-228600" defTabSz="449263" eaLnBrk="0" fontAlgn="base" hangingPunct="0">
              <a:spcBef>
                <a:spcPct val="0"/>
              </a:spcBef>
              <a:spcAft>
                <a:spcPct val="0"/>
              </a:spcAft>
              <a:tabLst>
                <a:tab pos="723900" algn="l"/>
                <a:tab pos="1447800" algn="l"/>
                <a:tab pos="2171700" algn="l"/>
                <a:tab pos="2895600" algn="l"/>
              </a:tabLst>
              <a:defRPr sz="2200">
                <a:solidFill>
                  <a:schemeClr val="bg1"/>
                </a:solidFill>
                <a:latin typeface="Arial" panose="020B0604020202020204" pitchFamily="34" charset="0"/>
                <a:ea typeface="ヒラギノ角ゴ Pro W3"/>
                <a:cs typeface="ヒラギノ角ゴ Pro W3"/>
              </a:defRPr>
            </a:lvl9pPr>
          </a:lstStyle>
          <a:p>
            <a:fld id="{020AB7DE-1B79-44DA-8CD8-985E6049DF1F}" type="slidenum">
              <a:rPr lang="en-US" altLang="en-US" sz="1200" smtClean="0">
                <a:solidFill>
                  <a:srgbClr val="000000"/>
                </a:solidFill>
                <a:latin typeface="Times New Roman" panose="02020603050405020304" pitchFamily="18" charset="0"/>
              </a:rPr>
              <a:pPr/>
              <a:t>14</a:t>
            </a:fld>
            <a:endParaRPr lang="en-US" altLang="en-US" sz="1200">
              <a:solidFill>
                <a:srgbClr val="000000"/>
              </a:solidFill>
              <a:latin typeface="Times New Roman" panose="02020603050405020304" pitchFamily="18"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2770" name="Rectangle 11">
            <a:extLst>
              <a:ext uri="{FF2B5EF4-FFF2-40B4-BE49-F238E27FC236}">
                <a16:creationId xmlns:a16="http://schemas.microsoft.com/office/drawing/2014/main" id="{170A1490-DD48-4C27-8DC7-962A77391D70}"/>
              </a:ext>
            </a:extLst>
          </p:cNvPr>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07963" indent="-201613">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1pPr>
            <a:lvl2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2pPr>
            <a:lvl3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3pPr>
            <a:lvl4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4pPr>
            <a:lvl5pPr>
              <a:spcBef>
                <a:spcPct val="30000"/>
              </a:spcBef>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5pPr>
            <a:lvl6pPr marL="25146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6pPr>
            <a:lvl7pPr marL="29718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7pPr>
            <a:lvl8pPr marL="34290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8pPr>
            <a:lvl9pPr marL="3886200" indent="-228600" defTabSz="449263" eaLnBrk="0" fontAlgn="base" hangingPunct="0">
              <a:spcBef>
                <a:spcPct val="30000"/>
              </a:spcBef>
              <a:spcAft>
                <a:spcPct val="0"/>
              </a:spcAft>
              <a:buClr>
                <a:srgbClr val="000000"/>
              </a:buClr>
              <a:buSzPct val="100000"/>
              <a:buFont typeface="Times New Roman" panose="02020603050405020304" pitchFamily="18" charset="0"/>
              <a:tabLst>
                <a:tab pos="696913" algn="l"/>
                <a:tab pos="1395413" algn="l"/>
                <a:tab pos="2093913" algn="l"/>
                <a:tab pos="2792413" algn="l"/>
              </a:tabLst>
              <a:defRPr sz="1200">
                <a:solidFill>
                  <a:srgbClr val="000000"/>
                </a:solidFill>
                <a:latin typeface="Times New Roman" panose="02020603050405020304" pitchFamily="18" charset="0"/>
              </a:defRPr>
            </a:lvl9pPr>
          </a:lstStyle>
          <a:p>
            <a:pPr>
              <a:spcBef>
                <a:spcPts val="725"/>
              </a:spcBef>
              <a:buSzPct val="45000"/>
              <a:buFont typeface="Wingdings" panose="05000000000000000000" pitchFamily="2" charset="2"/>
              <a:buChar char=""/>
            </a:pPr>
            <a:fld id="{9ED34CBF-5D7B-468A-8CE4-906AD434A97D}" type="slidenum">
              <a:rPr lang="en-US" altLang="en-US" smtClean="0"/>
              <a:pPr>
                <a:spcBef>
                  <a:spcPts val="725"/>
                </a:spcBef>
                <a:buSzPct val="45000"/>
                <a:buFont typeface="Wingdings" panose="05000000000000000000" pitchFamily="2" charset="2"/>
                <a:buChar char=""/>
              </a:pPr>
              <a:t>20</a:t>
            </a:fld>
            <a:endParaRPr lang="en-US" altLang="en-US"/>
          </a:p>
        </p:txBody>
      </p:sp>
      <p:sp>
        <p:nvSpPr>
          <p:cNvPr id="32771" name="Text Box 1">
            <a:extLst>
              <a:ext uri="{FF2B5EF4-FFF2-40B4-BE49-F238E27FC236}">
                <a16:creationId xmlns:a16="http://schemas.microsoft.com/office/drawing/2014/main" id="{6CBC5E54-E6F3-4936-AD82-EC73BAE01B1F}"/>
              </a:ext>
            </a:extLst>
          </p:cNvPr>
          <p:cNvSpPr txBox="1">
            <a:spLocks noChangeArrowheads="1"/>
          </p:cNvSpPr>
          <p:nvPr/>
        </p:nvSpPr>
        <p:spPr bwMode="auto">
          <a:xfrm>
            <a:off x="3849688" y="9428163"/>
            <a:ext cx="2940050" cy="490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6814" tIns="45143" rIns="86814" bIns="45143" anchor="b"/>
          <a:lstStyle>
            <a:lvl1pPr marL="215900" indent="-209550">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1pPr>
            <a:lvl2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2pPr>
            <a:lvl3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3pPr>
            <a:lvl4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4pPr>
            <a:lvl5pPr>
              <a:spcBef>
                <a:spcPct val="30000"/>
              </a:spcBef>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5pPr>
            <a:lvl6pPr marL="25146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6pPr>
            <a:lvl7pPr marL="29718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7pPr>
            <a:lvl8pPr marL="34290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8pPr>
            <a:lvl9pPr marL="3886200" indent="-228600" defTabSz="449263" eaLnBrk="0" fontAlgn="base" hangingPunct="0">
              <a:spcBef>
                <a:spcPct val="30000"/>
              </a:spcBef>
              <a:spcAft>
                <a:spcPct val="0"/>
              </a:spcAft>
              <a:buClr>
                <a:srgbClr val="000000"/>
              </a:buClr>
              <a:buSzPct val="100000"/>
              <a:buFont typeface="Times New Roman" panose="02020603050405020304"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sz="1200">
                <a:solidFill>
                  <a:srgbClr val="000000"/>
                </a:solidFill>
                <a:latin typeface="Times New Roman" panose="02020603050405020304" pitchFamily="18" charset="0"/>
              </a:defRPr>
            </a:lvl9pPr>
          </a:lstStyle>
          <a:p>
            <a:pPr algn="r" eaLnBrk="1" hangingPunct="1">
              <a:spcBef>
                <a:spcPts val="725"/>
              </a:spcBef>
              <a:buClrTx/>
              <a:buSzPct val="45000"/>
              <a:buFontTx/>
              <a:buNone/>
            </a:pPr>
            <a:fld id="{F540B458-3550-44EB-928A-C205532839E6}" type="slidenum">
              <a:rPr lang="en-US" altLang="en-US">
                <a:ea typeface="Arial Unicode MS" pitchFamily="34" charset="-128"/>
              </a:rPr>
              <a:pPr algn="r" eaLnBrk="1" hangingPunct="1">
                <a:spcBef>
                  <a:spcPts val="725"/>
                </a:spcBef>
                <a:buClrTx/>
                <a:buSzPct val="45000"/>
                <a:buFontTx/>
                <a:buNone/>
              </a:pPr>
              <a:t>20</a:t>
            </a:fld>
            <a:endParaRPr lang="en-US" altLang="en-US">
              <a:ea typeface="Arial Unicode MS" pitchFamily="34" charset="-128"/>
            </a:endParaRPr>
          </a:p>
        </p:txBody>
      </p:sp>
      <p:sp>
        <p:nvSpPr>
          <p:cNvPr id="32772" name="Rectangle 2">
            <a:extLst>
              <a:ext uri="{FF2B5EF4-FFF2-40B4-BE49-F238E27FC236}">
                <a16:creationId xmlns:a16="http://schemas.microsoft.com/office/drawing/2014/main" id="{C19846D5-9B4B-43DB-933E-071CEC1D2593}"/>
              </a:ext>
            </a:extLst>
          </p:cNvPr>
          <p:cNvSpPr>
            <a:spLocks noGrp="1" noRot="1" noChangeAspect="1" noChangeArrowheads="1" noTextEdit="1"/>
          </p:cNvSpPr>
          <p:nvPr>
            <p:ph type="sldImg"/>
          </p:nvPr>
        </p:nvSpPr>
        <p:spPr>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32773" name="Rectangle 3">
            <a:extLst>
              <a:ext uri="{FF2B5EF4-FFF2-40B4-BE49-F238E27FC236}">
                <a16:creationId xmlns:a16="http://schemas.microsoft.com/office/drawing/2014/main" id="{01FF5B00-AD69-4E23-A561-C0366ED54A6E}"/>
              </a:ext>
            </a:extLst>
          </p:cNvPr>
          <p:cNvSpPr>
            <a:spLocks noGrp="1" noChangeArrowheads="1"/>
          </p:cNvSpPr>
          <p:nvPr>
            <p:ph type="body" idx="1"/>
          </p:nvPr>
        </p:nvSpPr>
        <p:spPr>
          <a:xfrm>
            <a:off x="679450" y="4713288"/>
            <a:ext cx="5437188" cy="44672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latin typeface="Times New Roman" panose="02020603050405020304" pitchFamily="18"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5842" name="Text Box 1">
            <a:extLst>
              <a:ext uri="{FF2B5EF4-FFF2-40B4-BE49-F238E27FC236}">
                <a16:creationId xmlns:a16="http://schemas.microsoft.com/office/drawing/2014/main" id="{3EA857C6-0FB4-411A-B775-F2E56D3232E2}"/>
              </a:ext>
            </a:extLst>
          </p:cNvPr>
          <p:cNvSpPr>
            <a:spLocks noGrp="1" noRot="1" noChangeAspect="1" noChangeArrowheads="1" noTextEdit="1"/>
          </p:cNvSpPr>
          <p:nvPr>
            <p:ph type="sldImg"/>
          </p:nvPr>
        </p:nvSpPr>
        <p:spPr>
          <a:xfrm>
            <a:off x="1143000" y="695325"/>
            <a:ext cx="4572000" cy="3429000"/>
          </a:xfrm>
          <a:solidFill>
            <a:srgbClr val="FFFFFF"/>
          </a:solidFill>
          <a:ln/>
        </p:spPr>
      </p:sp>
      <p:sp>
        <p:nvSpPr>
          <p:cNvPr id="35843" name="Text Box 2">
            <a:extLst>
              <a:ext uri="{FF2B5EF4-FFF2-40B4-BE49-F238E27FC236}">
                <a16:creationId xmlns:a16="http://schemas.microsoft.com/office/drawing/2014/main" id="{8E776401-A7C5-42F5-A1F4-6A603641AD22}"/>
              </a:ext>
            </a:extLst>
          </p:cNvPr>
          <p:cNvSpPr>
            <a:spLocks noGrp="1" noChangeArrowheads="1"/>
          </p:cNvSpPr>
          <p:nvPr>
            <p:ph type="body" idx="1"/>
          </p:nvPr>
        </p:nvSpPr>
        <p:spPr>
          <a:xfrm>
            <a:off x="685800" y="4343400"/>
            <a:ext cx="5486400"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ltLang="en-US">
              <a:latin typeface="Times New Roman" panose="02020603050405020304" pitchFamily="18"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2">
            <a:extLst>
              <a:ext uri="{FF2B5EF4-FFF2-40B4-BE49-F238E27FC236}">
                <a16:creationId xmlns:a16="http://schemas.microsoft.com/office/drawing/2014/main" id="{DEBB2183-CD6D-47C8-833D-B41BD3AA0C6F}"/>
              </a:ext>
            </a:extLst>
          </p:cNvPr>
          <p:cNvSpPr>
            <a:spLocks noGrp="1" noChangeArrowheads="1"/>
          </p:cNvSpPr>
          <p:nvPr>
            <p:ph type="sldNum" idx="10"/>
          </p:nvPr>
        </p:nvSpPr>
        <p:spPr>
          <a:ln/>
        </p:spPr>
        <p:txBody>
          <a:bodyPr/>
          <a:lstStyle>
            <a:lvl1pPr>
              <a:defRPr/>
            </a:lvl1pPr>
          </a:lstStyle>
          <a:p>
            <a:pPr>
              <a:defRPr/>
            </a:pPr>
            <a:fld id="{56CC672D-1383-435C-9285-2EACCD11486B}" type="slidenum">
              <a:rPr lang="fr-FR" altLang="en-US"/>
              <a:pPr>
                <a:defRPr/>
              </a:pPr>
              <a:t>‹#›</a:t>
            </a:fld>
            <a:endParaRPr lang="fr-FR" altLang="en-US"/>
          </a:p>
        </p:txBody>
      </p:sp>
    </p:spTree>
    <p:extLst>
      <p:ext uri="{BB962C8B-B14F-4D97-AF65-F5344CB8AC3E}">
        <p14:creationId xmlns:p14="http://schemas.microsoft.com/office/powerpoint/2010/main" val="10759002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AE1BD3EB-517F-4F38-95D8-7211A65519C2}"/>
              </a:ext>
            </a:extLst>
          </p:cNvPr>
          <p:cNvSpPr>
            <a:spLocks noGrp="1" noChangeArrowheads="1"/>
          </p:cNvSpPr>
          <p:nvPr>
            <p:ph type="sldNum" idx="10"/>
          </p:nvPr>
        </p:nvSpPr>
        <p:spPr>
          <a:ln/>
        </p:spPr>
        <p:txBody>
          <a:bodyPr/>
          <a:lstStyle>
            <a:lvl1pPr>
              <a:defRPr/>
            </a:lvl1pPr>
          </a:lstStyle>
          <a:p>
            <a:pPr>
              <a:defRPr/>
            </a:pPr>
            <a:fld id="{29F1B9AD-0AA9-4511-BCF5-C8A0B57351CE}" type="slidenum">
              <a:rPr lang="fr-FR" altLang="en-US"/>
              <a:pPr>
                <a:defRPr/>
              </a:pPr>
              <a:t>‹#›</a:t>
            </a:fld>
            <a:endParaRPr lang="fr-FR" altLang="en-US"/>
          </a:p>
        </p:txBody>
      </p:sp>
    </p:spTree>
    <p:extLst>
      <p:ext uri="{BB962C8B-B14F-4D97-AF65-F5344CB8AC3E}">
        <p14:creationId xmlns:p14="http://schemas.microsoft.com/office/powerpoint/2010/main" val="37022618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40513" y="404813"/>
            <a:ext cx="2055812" cy="54816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68313" y="404813"/>
            <a:ext cx="6019800" cy="54816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63503BF6-B5B7-4A96-A987-B5290BB87E0B}"/>
              </a:ext>
            </a:extLst>
          </p:cNvPr>
          <p:cNvSpPr>
            <a:spLocks noGrp="1" noChangeArrowheads="1"/>
          </p:cNvSpPr>
          <p:nvPr>
            <p:ph type="sldNum" idx="10"/>
          </p:nvPr>
        </p:nvSpPr>
        <p:spPr>
          <a:ln/>
        </p:spPr>
        <p:txBody>
          <a:bodyPr/>
          <a:lstStyle>
            <a:lvl1pPr>
              <a:defRPr/>
            </a:lvl1pPr>
          </a:lstStyle>
          <a:p>
            <a:pPr>
              <a:defRPr/>
            </a:pPr>
            <a:fld id="{4AAF7F46-6103-4D57-A11F-192E73E44E4F}" type="slidenum">
              <a:rPr lang="fr-FR" altLang="en-US"/>
              <a:pPr>
                <a:defRPr/>
              </a:pPr>
              <a:t>‹#›</a:t>
            </a:fld>
            <a:endParaRPr lang="fr-FR" altLang="en-US"/>
          </a:p>
        </p:txBody>
      </p:sp>
    </p:spTree>
    <p:extLst>
      <p:ext uri="{BB962C8B-B14F-4D97-AF65-F5344CB8AC3E}">
        <p14:creationId xmlns:p14="http://schemas.microsoft.com/office/powerpoint/2010/main" val="39484002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6">
            <a:extLst>
              <a:ext uri="{FF2B5EF4-FFF2-40B4-BE49-F238E27FC236}">
                <a16:creationId xmlns:a16="http://schemas.microsoft.com/office/drawing/2014/main" id="{C7E1ED57-48FF-4024-8EDF-6654FE6628EC}"/>
              </a:ext>
            </a:extLst>
          </p:cNvPr>
          <p:cNvSpPr>
            <a:spLocks noGrp="1" noChangeArrowheads="1"/>
          </p:cNvSpPr>
          <p:nvPr>
            <p:ph type="sldNum" sz="quarter" idx="10"/>
          </p:nvPr>
        </p:nvSpPr>
        <p:spPr/>
        <p:txBody>
          <a:bodyPr/>
          <a:lstStyle>
            <a:lvl1pPr>
              <a:defRPr/>
            </a:lvl1pPr>
          </a:lstStyle>
          <a:p>
            <a:pPr>
              <a:defRPr/>
            </a:pPr>
            <a:fld id="{73CE92BA-0833-4473-B80E-3B7DAF20F0B3}" type="slidenum">
              <a:rPr lang="en-US"/>
              <a:pPr>
                <a:defRPr/>
              </a:pPr>
              <a:t>‹#›</a:t>
            </a:fld>
            <a:endParaRPr lang="en-US"/>
          </a:p>
        </p:txBody>
      </p:sp>
    </p:spTree>
    <p:extLst>
      <p:ext uri="{BB962C8B-B14F-4D97-AF65-F5344CB8AC3E}">
        <p14:creationId xmlns:p14="http://schemas.microsoft.com/office/powerpoint/2010/main" val="17990740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4365371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73563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6895897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88950" y="1773238"/>
            <a:ext cx="3916363" cy="41132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57713" y="1773238"/>
            <a:ext cx="3917950" cy="41132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17572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26974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58370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74941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7B4FC254-B0F3-4FB6-8C4D-6A442FB9F709}"/>
              </a:ext>
            </a:extLst>
          </p:cNvPr>
          <p:cNvSpPr>
            <a:spLocks noGrp="1" noChangeArrowheads="1"/>
          </p:cNvSpPr>
          <p:nvPr>
            <p:ph type="sldNum" idx="10"/>
          </p:nvPr>
        </p:nvSpPr>
        <p:spPr>
          <a:ln/>
        </p:spPr>
        <p:txBody>
          <a:bodyPr/>
          <a:lstStyle>
            <a:lvl1pPr>
              <a:defRPr/>
            </a:lvl1pPr>
          </a:lstStyle>
          <a:p>
            <a:pPr>
              <a:defRPr/>
            </a:pPr>
            <a:fld id="{E473A8A4-7CDA-4D95-86C1-905B3E485859}" type="slidenum">
              <a:rPr lang="fr-FR" altLang="en-US"/>
              <a:pPr>
                <a:defRPr/>
              </a:pPr>
              <a:t>‹#›</a:t>
            </a:fld>
            <a:endParaRPr lang="fr-FR" altLang="en-US"/>
          </a:p>
        </p:txBody>
      </p:sp>
    </p:spTree>
    <p:extLst>
      <p:ext uri="{BB962C8B-B14F-4D97-AF65-F5344CB8AC3E}">
        <p14:creationId xmlns:p14="http://schemas.microsoft.com/office/powerpoint/2010/main" val="22828054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9494104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876754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9011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40513" y="404813"/>
            <a:ext cx="2055812" cy="54816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68313" y="404813"/>
            <a:ext cx="6019800" cy="54816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8560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2">
            <a:extLst>
              <a:ext uri="{FF2B5EF4-FFF2-40B4-BE49-F238E27FC236}">
                <a16:creationId xmlns:a16="http://schemas.microsoft.com/office/drawing/2014/main" id="{D3BFA2E0-0614-402B-96B1-13026DBD21A7}"/>
              </a:ext>
            </a:extLst>
          </p:cNvPr>
          <p:cNvSpPr>
            <a:spLocks noGrp="1" noChangeArrowheads="1"/>
          </p:cNvSpPr>
          <p:nvPr>
            <p:ph type="sldNum" idx="10"/>
          </p:nvPr>
        </p:nvSpPr>
        <p:spPr>
          <a:ln/>
        </p:spPr>
        <p:txBody>
          <a:bodyPr/>
          <a:lstStyle>
            <a:lvl1pPr>
              <a:defRPr/>
            </a:lvl1pPr>
          </a:lstStyle>
          <a:p>
            <a:pPr>
              <a:defRPr/>
            </a:pPr>
            <a:fld id="{D077EB3E-8F04-498C-B07B-926E0EA55A05}" type="slidenum">
              <a:rPr lang="fr-FR" altLang="en-US"/>
              <a:pPr>
                <a:defRPr/>
              </a:pPr>
              <a:t>‹#›</a:t>
            </a:fld>
            <a:endParaRPr lang="fr-FR" altLang="en-US"/>
          </a:p>
        </p:txBody>
      </p:sp>
    </p:spTree>
    <p:extLst>
      <p:ext uri="{BB962C8B-B14F-4D97-AF65-F5344CB8AC3E}">
        <p14:creationId xmlns:p14="http://schemas.microsoft.com/office/powerpoint/2010/main" val="31243511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88950" y="1773238"/>
            <a:ext cx="3916363" cy="41132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57713" y="1773238"/>
            <a:ext cx="3917950" cy="41132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a:extLst>
              <a:ext uri="{FF2B5EF4-FFF2-40B4-BE49-F238E27FC236}">
                <a16:creationId xmlns:a16="http://schemas.microsoft.com/office/drawing/2014/main" id="{CA35807E-E5EA-40DA-97E6-0A8C4021696F}"/>
              </a:ext>
            </a:extLst>
          </p:cNvPr>
          <p:cNvSpPr>
            <a:spLocks noGrp="1" noChangeArrowheads="1"/>
          </p:cNvSpPr>
          <p:nvPr>
            <p:ph type="sldNum" idx="10"/>
          </p:nvPr>
        </p:nvSpPr>
        <p:spPr>
          <a:ln/>
        </p:spPr>
        <p:txBody>
          <a:bodyPr/>
          <a:lstStyle>
            <a:lvl1pPr>
              <a:defRPr/>
            </a:lvl1pPr>
          </a:lstStyle>
          <a:p>
            <a:pPr>
              <a:defRPr/>
            </a:pPr>
            <a:fld id="{23EE02D7-1CFC-4A9E-BD51-768DD8B28F7A}" type="slidenum">
              <a:rPr lang="fr-FR" altLang="en-US"/>
              <a:pPr>
                <a:defRPr/>
              </a:pPr>
              <a:t>‹#›</a:t>
            </a:fld>
            <a:endParaRPr lang="fr-FR" altLang="en-US"/>
          </a:p>
        </p:txBody>
      </p:sp>
    </p:spTree>
    <p:extLst>
      <p:ext uri="{BB962C8B-B14F-4D97-AF65-F5344CB8AC3E}">
        <p14:creationId xmlns:p14="http://schemas.microsoft.com/office/powerpoint/2010/main" val="40901952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
            <a:extLst>
              <a:ext uri="{FF2B5EF4-FFF2-40B4-BE49-F238E27FC236}">
                <a16:creationId xmlns:a16="http://schemas.microsoft.com/office/drawing/2014/main" id="{E6207EAA-75CD-4234-AA0F-1B71B01B1153}"/>
              </a:ext>
            </a:extLst>
          </p:cNvPr>
          <p:cNvSpPr>
            <a:spLocks noGrp="1" noChangeArrowheads="1"/>
          </p:cNvSpPr>
          <p:nvPr>
            <p:ph type="sldNum" idx="10"/>
          </p:nvPr>
        </p:nvSpPr>
        <p:spPr>
          <a:ln/>
        </p:spPr>
        <p:txBody>
          <a:bodyPr/>
          <a:lstStyle>
            <a:lvl1pPr>
              <a:defRPr/>
            </a:lvl1pPr>
          </a:lstStyle>
          <a:p>
            <a:pPr>
              <a:defRPr/>
            </a:pPr>
            <a:fld id="{A266DD78-9C35-4F29-84AE-E5E954DB5572}" type="slidenum">
              <a:rPr lang="fr-FR" altLang="en-US"/>
              <a:pPr>
                <a:defRPr/>
              </a:pPr>
              <a:t>‹#›</a:t>
            </a:fld>
            <a:endParaRPr lang="fr-FR" altLang="en-US"/>
          </a:p>
        </p:txBody>
      </p:sp>
    </p:spTree>
    <p:extLst>
      <p:ext uri="{BB962C8B-B14F-4D97-AF65-F5344CB8AC3E}">
        <p14:creationId xmlns:p14="http://schemas.microsoft.com/office/powerpoint/2010/main" val="7688542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F789F4A4-4583-4AF2-AA69-6B7D006B2080}"/>
              </a:ext>
            </a:extLst>
          </p:cNvPr>
          <p:cNvSpPr>
            <a:spLocks noGrp="1" noChangeArrowheads="1"/>
          </p:cNvSpPr>
          <p:nvPr>
            <p:ph type="sldNum" idx="10"/>
          </p:nvPr>
        </p:nvSpPr>
        <p:spPr>
          <a:ln/>
        </p:spPr>
        <p:txBody>
          <a:bodyPr/>
          <a:lstStyle>
            <a:lvl1pPr>
              <a:defRPr/>
            </a:lvl1pPr>
          </a:lstStyle>
          <a:p>
            <a:pPr>
              <a:defRPr/>
            </a:pPr>
            <a:fld id="{42FE26F2-3011-42B2-B607-99C4F5E33E7D}" type="slidenum">
              <a:rPr lang="fr-FR" altLang="en-US"/>
              <a:pPr>
                <a:defRPr/>
              </a:pPr>
              <a:t>‹#›</a:t>
            </a:fld>
            <a:endParaRPr lang="fr-FR" altLang="en-US"/>
          </a:p>
        </p:txBody>
      </p:sp>
    </p:spTree>
    <p:extLst>
      <p:ext uri="{BB962C8B-B14F-4D97-AF65-F5344CB8AC3E}">
        <p14:creationId xmlns:p14="http://schemas.microsoft.com/office/powerpoint/2010/main" val="11529444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ECCD9339-1026-40A0-8601-36E99D9D6D80}"/>
              </a:ext>
            </a:extLst>
          </p:cNvPr>
          <p:cNvSpPr>
            <a:spLocks noGrp="1" noChangeArrowheads="1"/>
          </p:cNvSpPr>
          <p:nvPr>
            <p:ph type="sldNum" idx="10"/>
          </p:nvPr>
        </p:nvSpPr>
        <p:spPr>
          <a:ln/>
        </p:spPr>
        <p:txBody>
          <a:bodyPr/>
          <a:lstStyle>
            <a:lvl1pPr>
              <a:defRPr/>
            </a:lvl1pPr>
          </a:lstStyle>
          <a:p>
            <a:pPr>
              <a:defRPr/>
            </a:pPr>
            <a:fld id="{2D2D7786-817E-40DA-8383-0FA124713B8C}" type="slidenum">
              <a:rPr lang="fr-FR" altLang="en-US"/>
              <a:pPr>
                <a:defRPr/>
              </a:pPr>
              <a:t>‹#›</a:t>
            </a:fld>
            <a:endParaRPr lang="fr-FR" altLang="en-US"/>
          </a:p>
        </p:txBody>
      </p:sp>
    </p:spTree>
    <p:extLst>
      <p:ext uri="{BB962C8B-B14F-4D97-AF65-F5344CB8AC3E}">
        <p14:creationId xmlns:p14="http://schemas.microsoft.com/office/powerpoint/2010/main" val="24015471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
            <a:extLst>
              <a:ext uri="{FF2B5EF4-FFF2-40B4-BE49-F238E27FC236}">
                <a16:creationId xmlns:a16="http://schemas.microsoft.com/office/drawing/2014/main" id="{5C05F159-DF8B-4749-A0B9-9425608E7AE0}"/>
              </a:ext>
            </a:extLst>
          </p:cNvPr>
          <p:cNvSpPr>
            <a:spLocks noGrp="1" noChangeArrowheads="1"/>
          </p:cNvSpPr>
          <p:nvPr>
            <p:ph type="sldNum" idx="10"/>
          </p:nvPr>
        </p:nvSpPr>
        <p:spPr>
          <a:ln/>
        </p:spPr>
        <p:txBody>
          <a:bodyPr/>
          <a:lstStyle>
            <a:lvl1pPr>
              <a:defRPr/>
            </a:lvl1pPr>
          </a:lstStyle>
          <a:p>
            <a:pPr>
              <a:defRPr/>
            </a:pPr>
            <a:fld id="{7EEB99EE-0983-4E50-A222-05A5FF66877A}" type="slidenum">
              <a:rPr lang="fr-FR" altLang="en-US"/>
              <a:pPr>
                <a:defRPr/>
              </a:pPr>
              <a:t>‹#›</a:t>
            </a:fld>
            <a:endParaRPr lang="fr-FR" altLang="en-US"/>
          </a:p>
        </p:txBody>
      </p:sp>
    </p:spTree>
    <p:extLst>
      <p:ext uri="{BB962C8B-B14F-4D97-AF65-F5344CB8AC3E}">
        <p14:creationId xmlns:p14="http://schemas.microsoft.com/office/powerpoint/2010/main" val="14264980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
            <a:extLst>
              <a:ext uri="{FF2B5EF4-FFF2-40B4-BE49-F238E27FC236}">
                <a16:creationId xmlns:a16="http://schemas.microsoft.com/office/drawing/2014/main" id="{370E0688-6AEB-4711-8926-31BA695A65C2}"/>
              </a:ext>
            </a:extLst>
          </p:cNvPr>
          <p:cNvSpPr>
            <a:spLocks noGrp="1" noChangeArrowheads="1"/>
          </p:cNvSpPr>
          <p:nvPr>
            <p:ph type="sldNum" idx="10"/>
          </p:nvPr>
        </p:nvSpPr>
        <p:spPr>
          <a:ln/>
        </p:spPr>
        <p:txBody>
          <a:bodyPr/>
          <a:lstStyle>
            <a:lvl1pPr>
              <a:defRPr/>
            </a:lvl1pPr>
          </a:lstStyle>
          <a:p>
            <a:pPr>
              <a:defRPr/>
            </a:pPr>
            <a:fld id="{43F657C8-A2AD-4BE8-825A-2FFEE6115C0A}" type="slidenum">
              <a:rPr lang="fr-FR" altLang="en-US"/>
              <a:pPr>
                <a:defRPr/>
              </a:pPr>
              <a:t>‹#›</a:t>
            </a:fld>
            <a:endParaRPr lang="fr-FR" altLang="en-US"/>
          </a:p>
        </p:txBody>
      </p:sp>
    </p:spTree>
    <p:extLst>
      <p:ext uri="{BB962C8B-B14F-4D97-AF65-F5344CB8AC3E}">
        <p14:creationId xmlns:p14="http://schemas.microsoft.com/office/powerpoint/2010/main" val="36830222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2.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1026" name="Rectangle 1">
            <a:extLst>
              <a:ext uri="{FF2B5EF4-FFF2-40B4-BE49-F238E27FC236}">
                <a16:creationId xmlns:a16="http://schemas.microsoft.com/office/drawing/2014/main" id="{AC455866-7DDE-4FBC-9E6F-B9220F646577}"/>
              </a:ext>
            </a:extLst>
          </p:cNvPr>
          <p:cNvSpPr>
            <a:spLocks noGrp="1" noChangeArrowheads="1"/>
          </p:cNvSpPr>
          <p:nvPr>
            <p:ph type="body" idx="1"/>
          </p:nvPr>
        </p:nvSpPr>
        <p:spPr bwMode="auto">
          <a:xfrm>
            <a:off x="488950" y="1773238"/>
            <a:ext cx="7986713" cy="41132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anchor="t" anchorCtr="0" compatLnSpc="1">
            <a:prstTxWarp prst="textNoShape">
              <a:avLst/>
            </a:prstTxWarp>
          </a:bodyPr>
          <a:lstStyle/>
          <a:p>
            <a:pPr lvl="0"/>
            <a:r>
              <a:rPr lang="en-GB" altLang="en-US"/>
              <a:t>Cliquez pour éditer le format du plan de texte</a:t>
            </a:r>
          </a:p>
          <a:p>
            <a:pPr lvl="1"/>
            <a:r>
              <a:rPr lang="en-GB" altLang="en-US"/>
              <a:t>Second niveau de plan</a:t>
            </a:r>
          </a:p>
          <a:p>
            <a:pPr lvl="2"/>
            <a:r>
              <a:rPr lang="en-GB" altLang="en-US"/>
              <a:t>Troisième niveau de plan</a:t>
            </a:r>
          </a:p>
          <a:p>
            <a:pPr lvl="3"/>
            <a:r>
              <a:rPr lang="en-GB" altLang="en-US"/>
              <a:t>Quatrième niveau de plan</a:t>
            </a:r>
          </a:p>
          <a:p>
            <a:pPr lvl="4"/>
            <a:r>
              <a:rPr lang="en-GB" altLang="en-US"/>
              <a:t>Cinquième niveau de plan</a:t>
            </a:r>
          </a:p>
          <a:p>
            <a:pPr lvl="4"/>
            <a:r>
              <a:rPr lang="en-GB" altLang="en-US"/>
              <a:t>Sixième niveau de plan</a:t>
            </a:r>
          </a:p>
          <a:p>
            <a:pPr lvl="4"/>
            <a:r>
              <a:rPr lang="en-GB" altLang="en-US"/>
              <a:t>Septième niveau de plan</a:t>
            </a:r>
          </a:p>
          <a:p>
            <a:pPr lvl="4"/>
            <a:r>
              <a:rPr lang="en-GB" altLang="en-US"/>
              <a:t>Huitième niveau de plan</a:t>
            </a:r>
          </a:p>
          <a:p>
            <a:pPr lvl="4"/>
            <a:r>
              <a:rPr lang="en-GB" altLang="en-US"/>
              <a:t>Neuvième niveau de plan</a:t>
            </a:r>
          </a:p>
        </p:txBody>
      </p:sp>
      <p:sp>
        <p:nvSpPr>
          <p:cNvPr id="2" name="Rectangle 2">
            <a:extLst>
              <a:ext uri="{FF2B5EF4-FFF2-40B4-BE49-F238E27FC236}">
                <a16:creationId xmlns:a16="http://schemas.microsoft.com/office/drawing/2014/main" id="{D98C0224-DCA0-46C3-A26B-A0A623480EB1}"/>
              </a:ext>
            </a:extLst>
          </p:cNvPr>
          <p:cNvSpPr>
            <a:spLocks noGrp="1" noChangeArrowheads="1"/>
          </p:cNvSpPr>
          <p:nvPr>
            <p:ph type="sldNum"/>
          </p:nvPr>
        </p:nvSpPr>
        <p:spPr bwMode="auto">
          <a:xfrm>
            <a:off x="7239000" y="0"/>
            <a:ext cx="1903413" cy="455613"/>
          </a:xfrm>
          <a:prstGeom prst="rect">
            <a:avLst/>
          </a:prstGeom>
          <a:noFill/>
          <a:ln>
            <a:noFill/>
          </a:ln>
          <a:effectLst/>
        </p:spPr>
        <p:txBody>
          <a:bodyPr vert="horz" wrap="square" lIns="90000" tIns="46800" rIns="90000" bIns="46800" numCol="1" anchor="t" anchorCtr="0" compatLnSpc="1">
            <a:prstTxWarp prst="textNoShape">
              <a:avLst/>
            </a:prstTxWarp>
          </a:bodyPr>
          <a:lstStyle>
            <a:lvl1pPr eaLnBrk="1" hangingPunct="1">
              <a:spcBef>
                <a:spcPts val="550"/>
              </a:spcBef>
              <a:buClr>
                <a:srgbClr val="000000"/>
              </a:buClr>
              <a:buSzPct val="100000"/>
              <a:buFont typeface="Arial" panose="020B0604020202020204" pitchFamily="34" charset="0"/>
              <a:buNone/>
              <a:tabLst>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defRPr>
            </a:lvl1pPr>
          </a:lstStyle>
          <a:p>
            <a:pPr>
              <a:defRPr/>
            </a:pPr>
            <a:fld id="{4CE62262-E55A-4FDC-987D-981EA44CF489}" type="slidenum">
              <a:rPr lang="fr-FR" altLang="en-US"/>
              <a:pPr>
                <a:defRPr/>
              </a:pPr>
              <a:t>‹#›</a:t>
            </a:fld>
            <a:endParaRPr lang="fr-FR" altLang="en-US"/>
          </a:p>
        </p:txBody>
      </p:sp>
      <p:sp>
        <p:nvSpPr>
          <p:cNvPr id="1028" name="Rectangle 3">
            <a:extLst>
              <a:ext uri="{FF2B5EF4-FFF2-40B4-BE49-F238E27FC236}">
                <a16:creationId xmlns:a16="http://schemas.microsoft.com/office/drawing/2014/main" id="{32678846-CD93-4B16-B289-57AE81F2B7EA}"/>
              </a:ext>
            </a:extLst>
          </p:cNvPr>
          <p:cNvSpPr>
            <a:spLocks noGrp="1" noChangeArrowheads="1"/>
          </p:cNvSpPr>
          <p:nvPr>
            <p:ph type="title"/>
          </p:nvPr>
        </p:nvSpPr>
        <p:spPr bwMode="auto">
          <a:xfrm>
            <a:off x="468313" y="404813"/>
            <a:ext cx="8228012" cy="939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anchor="ctr" anchorCtr="0" compatLnSpc="1">
            <a:prstTxWarp prst="textNoShape">
              <a:avLst/>
            </a:prstTxWarp>
          </a:bodyPr>
          <a:lstStyle/>
          <a:p>
            <a:pPr lvl="0"/>
            <a:r>
              <a:rPr lang="en-GB" altLang="en-US"/>
              <a:t>Cliquez pour éditer le format du texte-titre</a:t>
            </a:r>
          </a:p>
        </p:txBody>
      </p:sp>
      <p:sp>
        <p:nvSpPr>
          <p:cNvPr id="1029" name="Text Box 4">
            <a:extLst>
              <a:ext uri="{FF2B5EF4-FFF2-40B4-BE49-F238E27FC236}">
                <a16:creationId xmlns:a16="http://schemas.microsoft.com/office/drawing/2014/main" id="{F07CDE44-593A-4BC8-A0CF-9D7427FCA538}"/>
              </a:ext>
            </a:extLst>
          </p:cNvPr>
          <p:cNvSpPr txBox="1">
            <a:spLocks noChangeArrowheads="1"/>
          </p:cNvSpPr>
          <p:nvPr/>
        </p:nvSpPr>
        <p:spPr bwMode="auto">
          <a:xfrm>
            <a:off x="482600" y="1474788"/>
            <a:ext cx="3368675" cy="3365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eaLnBrk="1" hangingPunct="1">
              <a:spcBef>
                <a:spcPts val="550"/>
              </a:spcBef>
              <a:buClr>
                <a:srgbClr val="000000"/>
              </a:buClr>
              <a:buSzPct val="100000"/>
              <a:buFont typeface="Times New Roman" panose="02020603050405020304" pitchFamily="18" charset="0"/>
              <a:buNone/>
            </a:pPr>
            <a:endParaRPr lang="en-US" altLang="en-US"/>
          </a:p>
        </p:txBody>
      </p:sp>
      <p:sp>
        <p:nvSpPr>
          <p:cNvPr id="21" name="fc" descr="WIPO FOR OFFICIAL USE ONLY">
            <a:extLst>
              <a:ext uri="{FF2B5EF4-FFF2-40B4-BE49-F238E27FC236}">
                <a16:creationId xmlns:a16="http://schemas.microsoft.com/office/drawing/2014/main" id="{013D14B4-F475-4F27-ACD6-54C9DE0E84CA}"/>
              </a:ext>
            </a:extLst>
          </p:cNvPr>
          <p:cNvSpPr txBox="1"/>
          <p:nvPr userDrawn="1"/>
        </p:nvSpPr>
        <p:spPr>
          <a:xfrm>
            <a:off x="0" y="6537325"/>
            <a:ext cx="9144000" cy="223838"/>
          </a:xfrm>
          <a:prstGeom prst="rect">
            <a:avLst/>
          </a:prstGeom>
          <a:noFill/>
        </p:spPr>
        <p:txBody>
          <a:bodyPr>
            <a:spAutoFit/>
          </a:bodyPr>
          <a:lstStyle/>
          <a:p>
            <a:pPr algn="ctr" eaLnBrk="1" hangingPunct="1">
              <a:spcBef>
                <a:spcPts val="550"/>
              </a:spcBef>
              <a:buClr>
                <a:srgbClr val="000000"/>
              </a:buClr>
              <a:buSzPct val="100000"/>
              <a:buFont typeface="Times New Roman" panose="02020603050405020304" pitchFamily="18" charset="0"/>
              <a:buNone/>
              <a:defRPr/>
            </a:pPr>
            <a:r>
              <a:rPr lang="en-US" sz="850" dirty="0">
                <a:solidFill>
                  <a:srgbClr val="000000"/>
                </a:solidFill>
                <a:latin typeface="Microsoft Sans Serif" panose="020B0604020202020204" pitchFamily="34" charset="0"/>
                <a:ea typeface="ヒラギノ角ゴ Pro W3" pitchFamily="1" charset="-128"/>
                <a:cs typeface="+mn-cs"/>
              </a:rPr>
              <a:t>WIPO FOR OFFICIAL USE ONLY</a:t>
            </a:r>
          </a:p>
        </p:txBody>
      </p:sp>
    </p:spTree>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44" r:id="rId12"/>
  </p:sldLayoutIdLst>
  <p:txStyles>
    <p:titleStyle>
      <a:lvl1pPr algn="l" defTabSz="449263" rtl="0" eaLnBrk="0" fontAlgn="base" hangingPunct="0">
        <a:spcBef>
          <a:spcPct val="0"/>
        </a:spcBef>
        <a:spcAft>
          <a:spcPct val="0"/>
        </a:spcAft>
        <a:buClr>
          <a:srgbClr val="000000"/>
        </a:buClr>
        <a:buSzPct val="100000"/>
        <a:buFont typeface="Times New Roman" panose="02020603050405020304" pitchFamily="18" charset="0"/>
        <a:defRPr sz="3600">
          <a:solidFill>
            <a:srgbClr val="00408C"/>
          </a:solidFill>
          <a:latin typeface="+mj-lt"/>
          <a:ea typeface="Arial Unicode MS" pitchFamily="34" charset="-128"/>
          <a:cs typeface="+mj-cs"/>
        </a:defRPr>
      </a:lvl1pPr>
      <a:lvl2pPr algn="l" defTabSz="449263" rtl="0" eaLnBrk="0" fontAlgn="base" hangingPunct="0">
        <a:spcBef>
          <a:spcPct val="0"/>
        </a:spcBef>
        <a:spcAft>
          <a:spcPct val="0"/>
        </a:spcAft>
        <a:buClr>
          <a:srgbClr val="000000"/>
        </a:buClr>
        <a:buSzPct val="100000"/>
        <a:buFont typeface="Times New Roman" panose="02020603050405020304" pitchFamily="18" charset="0"/>
        <a:defRPr sz="3600">
          <a:solidFill>
            <a:srgbClr val="00408C"/>
          </a:solidFill>
          <a:latin typeface="Arial" charset="0"/>
          <a:ea typeface="Arial Unicode MS" pitchFamily="34" charset="-128"/>
          <a:cs typeface="Arial Unicode MS" charset="0"/>
        </a:defRPr>
      </a:lvl2pPr>
      <a:lvl3pPr algn="l" defTabSz="449263" rtl="0" eaLnBrk="0" fontAlgn="base" hangingPunct="0">
        <a:spcBef>
          <a:spcPct val="0"/>
        </a:spcBef>
        <a:spcAft>
          <a:spcPct val="0"/>
        </a:spcAft>
        <a:buClr>
          <a:srgbClr val="000000"/>
        </a:buClr>
        <a:buSzPct val="100000"/>
        <a:buFont typeface="Times New Roman" panose="02020603050405020304" pitchFamily="18" charset="0"/>
        <a:defRPr sz="3600">
          <a:solidFill>
            <a:srgbClr val="00408C"/>
          </a:solidFill>
          <a:latin typeface="Arial" charset="0"/>
          <a:ea typeface="Arial Unicode MS" pitchFamily="34" charset="-128"/>
          <a:cs typeface="Arial Unicode MS" charset="0"/>
        </a:defRPr>
      </a:lvl3pPr>
      <a:lvl4pPr algn="l" defTabSz="449263" rtl="0" eaLnBrk="0" fontAlgn="base" hangingPunct="0">
        <a:spcBef>
          <a:spcPct val="0"/>
        </a:spcBef>
        <a:spcAft>
          <a:spcPct val="0"/>
        </a:spcAft>
        <a:buClr>
          <a:srgbClr val="000000"/>
        </a:buClr>
        <a:buSzPct val="100000"/>
        <a:buFont typeface="Times New Roman" panose="02020603050405020304" pitchFamily="18" charset="0"/>
        <a:defRPr sz="3600">
          <a:solidFill>
            <a:srgbClr val="00408C"/>
          </a:solidFill>
          <a:latin typeface="Arial" charset="0"/>
          <a:ea typeface="Arial Unicode MS" pitchFamily="34" charset="-128"/>
          <a:cs typeface="Arial Unicode MS" charset="0"/>
        </a:defRPr>
      </a:lvl4pPr>
      <a:lvl5pPr algn="l" defTabSz="449263" rtl="0" eaLnBrk="0" fontAlgn="base" hangingPunct="0">
        <a:spcBef>
          <a:spcPct val="0"/>
        </a:spcBef>
        <a:spcAft>
          <a:spcPct val="0"/>
        </a:spcAft>
        <a:buClr>
          <a:srgbClr val="000000"/>
        </a:buClr>
        <a:buSzPct val="100000"/>
        <a:buFont typeface="Times New Roman" panose="02020603050405020304" pitchFamily="18" charset="0"/>
        <a:defRPr sz="3600">
          <a:solidFill>
            <a:srgbClr val="00408C"/>
          </a:solidFill>
          <a:latin typeface="Arial" charset="0"/>
          <a:ea typeface="Arial Unicode MS" pitchFamily="34" charset="-128"/>
          <a:cs typeface="Arial Unicode MS" charset="0"/>
        </a:defRPr>
      </a:lvl5pPr>
      <a:lvl6pPr marL="2514600" indent="-228600" algn="l" defTabSz="449263" rtl="0" eaLnBrk="0" fontAlgn="base" hangingPunct="0">
        <a:spcBef>
          <a:spcPct val="0"/>
        </a:spcBef>
        <a:spcAft>
          <a:spcPct val="0"/>
        </a:spcAft>
        <a:buClr>
          <a:srgbClr val="000000"/>
        </a:buClr>
        <a:buSzPct val="100000"/>
        <a:buFont typeface="Times New Roman" pitchFamily="16" charset="0"/>
        <a:defRPr sz="3600">
          <a:solidFill>
            <a:srgbClr val="00408C"/>
          </a:solidFill>
          <a:latin typeface="Arial" charset="0"/>
          <a:cs typeface="Arial Unicode MS" charset="0"/>
        </a:defRPr>
      </a:lvl6pPr>
      <a:lvl7pPr marL="2971800" indent="-228600" algn="l" defTabSz="449263" rtl="0" eaLnBrk="0" fontAlgn="base" hangingPunct="0">
        <a:spcBef>
          <a:spcPct val="0"/>
        </a:spcBef>
        <a:spcAft>
          <a:spcPct val="0"/>
        </a:spcAft>
        <a:buClr>
          <a:srgbClr val="000000"/>
        </a:buClr>
        <a:buSzPct val="100000"/>
        <a:buFont typeface="Times New Roman" pitchFamily="16" charset="0"/>
        <a:defRPr sz="3600">
          <a:solidFill>
            <a:srgbClr val="00408C"/>
          </a:solidFill>
          <a:latin typeface="Arial" charset="0"/>
          <a:cs typeface="Arial Unicode MS" charset="0"/>
        </a:defRPr>
      </a:lvl7pPr>
      <a:lvl8pPr marL="3429000" indent="-228600" algn="l" defTabSz="449263" rtl="0" eaLnBrk="0" fontAlgn="base" hangingPunct="0">
        <a:spcBef>
          <a:spcPct val="0"/>
        </a:spcBef>
        <a:spcAft>
          <a:spcPct val="0"/>
        </a:spcAft>
        <a:buClr>
          <a:srgbClr val="000000"/>
        </a:buClr>
        <a:buSzPct val="100000"/>
        <a:buFont typeface="Times New Roman" pitchFamily="16" charset="0"/>
        <a:defRPr sz="3600">
          <a:solidFill>
            <a:srgbClr val="00408C"/>
          </a:solidFill>
          <a:latin typeface="Arial" charset="0"/>
          <a:cs typeface="Arial Unicode MS" charset="0"/>
        </a:defRPr>
      </a:lvl8pPr>
      <a:lvl9pPr marL="3886200" indent="-228600" algn="l" defTabSz="449263" rtl="0" eaLnBrk="0" fontAlgn="base" hangingPunct="0">
        <a:spcBef>
          <a:spcPct val="0"/>
        </a:spcBef>
        <a:spcAft>
          <a:spcPct val="0"/>
        </a:spcAft>
        <a:buClr>
          <a:srgbClr val="000000"/>
        </a:buClr>
        <a:buSzPct val="100000"/>
        <a:buFont typeface="Times New Roman" pitchFamily="16" charset="0"/>
        <a:defRPr sz="3600">
          <a:solidFill>
            <a:srgbClr val="00408C"/>
          </a:solidFill>
          <a:latin typeface="Arial" charset="0"/>
          <a:cs typeface="Arial Unicode MS" charset="0"/>
        </a:defRPr>
      </a:lvl9pPr>
    </p:titleStyle>
    <p:bodyStyle>
      <a:lvl1pPr marL="342900" indent="-342900" algn="l" defTabSz="449263" rtl="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mn-lt"/>
          <a:ea typeface="+mn-ea"/>
          <a:cs typeface="+mn-cs"/>
        </a:defRPr>
      </a:lvl1pPr>
      <a:lvl2pPr marL="742950" indent="-285750" algn="l" defTabSz="449263" rtl="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mn-lt"/>
          <a:ea typeface="+mn-ea"/>
          <a:cs typeface="+mn-cs"/>
        </a:defRPr>
      </a:lvl2pPr>
      <a:lvl3pPr marL="1143000" indent="-228600" algn="l" defTabSz="449263" rtl="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mn-lt"/>
          <a:ea typeface="+mn-ea"/>
          <a:cs typeface="+mn-cs"/>
        </a:defRPr>
      </a:lvl3pPr>
      <a:lvl4pPr marL="1600200" indent="-228600" algn="l" defTabSz="449263" rtl="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mn-lt"/>
          <a:ea typeface="+mn-ea"/>
          <a:cs typeface="+mn-cs"/>
        </a:defRPr>
      </a:lvl4pPr>
      <a:lvl5pPr marL="2057400" indent="-228600" algn="l" defTabSz="449263" rtl="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mn-lt"/>
          <a:ea typeface="+mn-ea"/>
          <a:cs typeface="+mn-cs"/>
        </a:defRPr>
      </a:lvl5pPr>
      <a:lvl6pPr marL="2514600" indent="-228600" algn="l" defTabSz="449263" rtl="0" eaLnBrk="0" fontAlgn="base" hangingPunct="0">
        <a:spcBef>
          <a:spcPts val="550"/>
        </a:spcBef>
        <a:spcAft>
          <a:spcPct val="0"/>
        </a:spcAft>
        <a:buClr>
          <a:srgbClr val="000000"/>
        </a:buClr>
        <a:buSzPct val="100000"/>
        <a:buFont typeface="Times New Roman" pitchFamily="16" charset="0"/>
        <a:defRPr sz="2200">
          <a:solidFill>
            <a:srgbClr val="000000"/>
          </a:solidFill>
          <a:latin typeface="+mn-lt"/>
          <a:ea typeface="+mn-ea"/>
          <a:cs typeface="+mn-cs"/>
        </a:defRPr>
      </a:lvl6pPr>
      <a:lvl7pPr marL="2971800" indent="-228600" algn="l" defTabSz="449263" rtl="0" eaLnBrk="0" fontAlgn="base" hangingPunct="0">
        <a:spcBef>
          <a:spcPts val="550"/>
        </a:spcBef>
        <a:spcAft>
          <a:spcPct val="0"/>
        </a:spcAft>
        <a:buClr>
          <a:srgbClr val="000000"/>
        </a:buClr>
        <a:buSzPct val="100000"/>
        <a:buFont typeface="Times New Roman" pitchFamily="16" charset="0"/>
        <a:defRPr sz="2200">
          <a:solidFill>
            <a:srgbClr val="000000"/>
          </a:solidFill>
          <a:latin typeface="+mn-lt"/>
          <a:ea typeface="+mn-ea"/>
          <a:cs typeface="+mn-cs"/>
        </a:defRPr>
      </a:lvl7pPr>
      <a:lvl8pPr marL="3429000" indent="-228600" algn="l" defTabSz="449263" rtl="0" eaLnBrk="0" fontAlgn="base" hangingPunct="0">
        <a:spcBef>
          <a:spcPts val="550"/>
        </a:spcBef>
        <a:spcAft>
          <a:spcPct val="0"/>
        </a:spcAft>
        <a:buClr>
          <a:srgbClr val="000000"/>
        </a:buClr>
        <a:buSzPct val="100000"/>
        <a:buFont typeface="Times New Roman" pitchFamily="16" charset="0"/>
        <a:defRPr sz="2200">
          <a:solidFill>
            <a:srgbClr val="000000"/>
          </a:solidFill>
          <a:latin typeface="+mn-lt"/>
          <a:ea typeface="+mn-ea"/>
          <a:cs typeface="+mn-cs"/>
        </a:defRPr>
      </a:lvl8pPr>
      <a:lvl9pPr marL="3886200" indent="-228600" algn="l" defTabSz="449263" rtl="0" eaLnBrk="0" fontAlgn="base" hangingPunct="0">
        <a:spcBef>
          <a:spcPts val="550"/>
        </a:spcBef>
        <a:spcAft>
          <a:spcPct val="0"/>
        </a:spcAft>
        <a:buClr>
          <a:srgbClr val="000000"/>
        </a:buClr>
        <a:buSzPct val="100000"/>
        <a:buFont typeface="Times New Roman" pitchFamily="16" charset="0"/>
        <a:defRPr sz="2200">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050" name="Rectangle 1">
            <a:extLst>
              <a:ext uri="{FF2B5EF4-FFF2-40B4-BE49-F238E27FC236}">
                <a16:creationId xmlns:a16="http://schemas.microsoft.com/office/drawing/2014/main" id="{F1CC32E6-4B20-4DAC-AB05-5CC3F6076056}"/>
              </a:ext>
            </a:extLst>
          </p:cNvPr>
          <p:cNvSpPr>
            <a:spLocks noGrp="1" noChangeArrowheads="1"/>
          </p:cNvSpPr>
          <p:nvPr>
            <p:ph type="body" idx="1"/>
          </p:nvPr>
        </p:nvSpPr>
        <p:spPr bwMode="auto">
          <a:xfrm>
            <a:off x="488950" y="1773238"/>
            <a:ext cx="7986713" cy="41132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anchor="t" anchorCtr="0" compatLnSpc="1">
            <a:prstTxWarp prst="textNoShape">
              <a:avLst/>
            </a:prstTxWarp>
          </a:bodyPr>
          <a:lstStyle/>
          <a:p>
            <a:pPr lvl="0"/>
            <a:r>
              <a:rPr lang="en-GB" altLang="en-US"/>
              <a:t>Cliquez pour éditer le format du plan de texte</a:t>
            </a:r>
          </a:p>
          <a:p>
            <a:pPr lvl="1"/>
            <a:r>
              <a:rPr lang="en-GB" altLang="en-US"/>
              <a:t>Second niveau de plan</a:t>
            </a:r>
          </a:p>
          <a:p>
            <a:pPr lvl="2"/>
            <a:r>
              <a:rPr lang="en-GB" altLang="en-US"/>
              <a:t>Troisième niveau de plan</a:t>
            </a:r>
          </a:p>
          <a:p>
            <a:pPr lvl="3"/>
            <a:r>
              <a:rPr lang="en-GB" altLang="en-US"/>
              <a:t>Quatrième niveau de plan</a:t>
            </a:r>
          </a:p>
          <a:p>
            <a:pPr lvl="4"/>
            <a:r>
              <a:rPr lang="en-GB" altLang="en-US"/>
              <a:t>Cinquième niveau de plan</a:t>
            </a:r>
          </a:p>
          <a:p>
            <a:pPr lvl="4"/>
            <a:r>
              <a:rPr lang="en-GB" altLang="en-US"/>
              <a:t>Sixième niveau de plan</a:t>
            </a:r>
          </a:p>
          <a:p>
            <a:pPr lvl="4"/>
            <a:r>
              <a:rPr lang="en-GB" altLang="en-US"/>
              <a:t>Septième niveau de plan</a:t>
            </a:r>
          </a:p>
          <a:p>
            <a:pPr lvl="4"/>
            <a:r>
              <a:rPr lang="en-GB" altLang="en-US"/>
              <a:t>Huitième niveau de plan</a:t>
            </a:r>
          </a:p>
          <a:p>
            <a:pPr lvl="4"/>
            <a:r>
              <a:rPr lang="en-GB" altLang="en-US"/>
              <a:t>Neuvième niveau de plan</a:t>
            </a:r>
          </a:p>
        </p:txBody>
      </p:sp>
      <p:sp>
        <p:nvSpPr>
          <p:cNvPr id="2051" name="Rectangle 2">
            <a:extLst>
              <a:ext uri="{FF2B5EF4-FFF2-40B4-BE49-F238E27FC236}">
                <a16:creationId xmlns:a16="http://schemas.microsoft.com/office/drawing/2014/main" id="{900123E3-21D2-4138-952E-330ED0D8A76A}"/>
              </a:ext>
            </a:extLst>
          </p:cNvPr>
          <p:cNvSpPr>
            <a:spLocks noGrp="1" noChangeArrowheads="1"/>
          </p:cNvSpPr>
          <p:nvPr>
            <p:ph type="title"/>
          </p:nvPr>
        </p:nvSpPr>
        <p:spPr bwMode="auto">
          <a:xfrm>
            <a:off x="468313" y="404813"/>
            <a:ext cx="8228012" cy="939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anchor="ctr" anchorCtr="0" compatLnSpc="1">
            <a:prstTxWarp prst="textNoShape">
              <a:avLst/>
            </a:prstTxWarp>
          </a:bodyPr>
          <a:lstStyle/>
          <a:p>
            <a:pPr lvl="0"/>
            <a:r>
              <a:rPr lang="en-GB" altLang="en-US"/>
              <a:t>Cliquez pour éditer le format du texte-titre</a:t>
            </a:r>
          </a:p>
        </p:txBody>
      </p:sp>
      <p:sp>
        <p:nvSpPr>
          <p:cNvPr id="20" name="fc" descr="WIPO FOR OFFICIAL USE ONLY">
            <a:extLst>
              <a:ext uri="{FF2B5EF4-FFF2-40B4-BE49-F238E27FC236}">
                <a16:creationId xmlns:a16="http://schemas.microsoft.com/office/drawing/2014/main" id="{5C8EC431-7566-49BA-A2CF-46BAFB8E5D15}"/>
              </a:ext>
            </a:extLst>
          </p:cNvPr>
          <p:cNvSpPr txBox="1"/>
          <p:nvPr userDrawn="1"/>
        </p:nvSpPr>
        <p:spPr>
          <a:xfrm>
            <a:off x="0" y="6537325"/>
            <a:ext cx="9144000" cy="223838"/>
          </a:xfrm>
          <a:prstGeom prst="rect">
            <a:avLst/>
          </a:prstGeom>
          <a:noFill/>
        </p:spPr>
        <p:txBody>
          <a:bodyPr>
            <a:spAutoFit/>
          </a:bodyPr>
          <a:lstStyle/>
          <a:p>
            <a:pPr algn="ctr" eaLnBrk="1" hangingPunct="1">
              <a:spcBef>
                <a:spcPts val="550"/>
              </a:spcBef>
              <a:buClr>
                <a:srgbClr val="000000"/>
              </a:buClr>
              <a:buSzPct val="100000"/>
              <a:buFont typeface="Times New Roman" panose="02020603050405020304" pitchFamily="18" charset="0"/>
              <a:buNone/>
              <a:defRPr/>
            </a:pPr>
            <a:r>
              <a:rPr lang="en-US" sz="850" dirty="0">
                <a:solidFill>
                  <a:srgbClr val="000000"/>
                </a:solidFill>
                <a:latin typeface="Microsoft Sans Serif" panose="020B0604020202020204" pitchFamily="34" charset="0"/>
                <a:ea typeface="ヒラギノ角ゴ Pro W3" pitchFamily="1" charset="-128"/>
                <a:cs typeface="+mn-cs"/>
              </a:rPr>
              <a:t>WIPO FOR OFFICIAL USE ONLY</a:t>
            </a:r>
          </a:p>
        </p:txBody>
      </p:sp>
    </p:spTree>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txStyles>
    <p:titleStyle>
      <a:lvl1pPr algn="l" defTabSz="449263" rtl="0" eaLnBrk="0" fontAlgn="base" hangingPunct="0">
        <a:spcBef>
          <a:spcPct val="0"/>
        </a:spcBef>
        <a:spcAft>
          <a:spcPct val="0"/>
        </a:spcAft>
        <a:buClr>
          <a:srgbClr val="000000"/>
        </a:buClr>
        <a:buSzPct val="100000"/>
        <a:buFont typeface="Times New Roman" panose="02020603050405020304" pitchFamily="18" charset="0"/>
        <a:defRPr sz="3600">
          <a:solidFill>
            <a:srgbClr val="00408C"/>
          </a:solidFill>
          <a:latin typeface="+mj-lt"/>
          <a:ea typeface="Arial Unicode MS" pitchFamily="34" charset="-128"/>
          <a:cs typeface="+mj-cs"/>
        </a:defRPr>
      </a:lvl1pPr>
      <a:lvl2pPr algn="l" defTabSz="449263" rtl="0" eaLnBrk="0" fontAlgn="base" hangingPunct="0">
        <a:spcBef>
          <a:spcPct val="0"/>
        </a:spcBef>
        <a:spcAft>
          <a:spcPct val="0"/>
        </a:spcAft>
        <a:buClr>
          <a:srgbClr val="000000"/>
        </a:buClr>
        <a:buSzPct val="100000"/>
        <a:buFont typeface="Times New Roman" panose="02020603050405020304" pitchFamily="18" charset="0"/>
        <a:defRPr sz="3600">
          <a:solidFill>
            <a:srgbClr val="00408C"/>
          </a:solidFill>
          <a:latin typeface="Arial" charset="0"/>
          <a:ea typeface="Arial Unicode MS" pitchFamily="34" charset="-128"/>
          <a:cs typeface="Arial Unicode MS" charset="0"/>
        </a:defRPr>
      </a:lvl2pPr>
      <a:lvl3pPr algn="l" defTabSz="449263" rtl="0" eaLnBrk="0" fontAlgn="base" hangingPunct="0">
        <a:spcBef>
          <a:spcPct val="0"/>
        </a:spcBef>
        <a:spcAft>
          <a:spcPct val="0"/>
        </a:spcAft>
        <a:buClr>
          <a:srgbClr val="000000"/>
        </a:buClr>
        <a:buSzPct val="100000"/>
        <a:buFont typeface="Times New Roman" panose="02020603050405020304" pitchFamily="18" charset="0"/>
        <a:defRPr sz="3600">
          <a:solidFill>
            <a:srgbClr val="00408C"/>
          </a:solidFill>
          <a:latin typeface="Arial" charset="0"/>
          <a:ea typeface="Arial Unicode MS" pitchFamily="34" charset="-128"/>
          <a:cs typeface="Arial Unicode MS" charset="0"/>
        </a:defRPr>
      </a:lvl3pPr>
      <a:lvl4pPr algn="l" defTabSz="449263" rtl="0" eaLnBrk="0" fontAlgn="base" hangingPunct="0">
        <a:spcBef>
          <a:spcPct val="0"/>
        </a:spcBef>
        <a:spcAft>
          <a:spcPct val="0"/>
        </a:spcAft>
        <a:buClr>
          <a:srgbClr val="000000"/>
        </a:buClr>
        <a:buSzPct val="100000"/>
        <a:buFont typeface="Times New Roman" panose="02020603050405020304" pitchFamily="18" charset="0"/>
        <a:defRPr sz="3600">
          <a:solidFill>
            <a:srgbClr val="00408C"/>
          </a:solidFill>
          <a:latin typeface="Arial" charset="0"/>
          <a:ea typeface="Arial Unicode MS" pitchFamily="34" charset="-128"/>
          <a:cs typeface="Arial Unicode MS" charset="0"/>
        </a:defRPr>
      </a:lvl4pPr>
      <a:lvl5pPr algn="l" defTabSz="449263" rtl="0" eaLnBrk="0" fontAlgn="base" hangingPunct="0">
        <a:spcBef>
          <a:spcPct val="0"/>
        </a:spcBef>
        <a:spcAft>
          <a:spcPct val="0"/>
        </a:spcAft>
        <a:buClr>
          <a:srgbClr val="000000"/>
        </a:buClr>
        <a:buSzPct val="100000"/>
        <a:buFont typeface="Times New Roman" panose="02020603050405020304" pitchFamily="18" charset="0"/>
        <a:defRPr sz="3600">
          <a:solidFill>
            <a:srgbClr val="00408C"/>
          </a:solidFill>
          <a:latin typeface="Arial" charset="0"/>
          <a:ea typeface="Arial Unicode MS" pitchFamily="34" charset="-128"/>
          <a:cs typeface="Arial Unicode MS" charset="0"/>
        </a:defRPr>
      </a:lvl5pPr>
      <a:lvl6pPr marL="2514600" indent="-228600" algn="l" defTabSz="449263" rtl="0" eaLnBrk="0" fontAlgn="base" hangingPunct="0">
        <a:spcBef>
          <a:spcPct val="0"/>
        </a:spcBef>
        <a:spcAft>
          <a:spcPct val="0"/>
        </a:spcAft>
        <a:buClr>
          <a:srgbClr val="000000"/>
        </a:buClr>
        <a:buSzPct val="100000"/>
        <a:buFont typeface="Times New Roman" pitchFamily="16" charset="0"/>
        <a:defRPr sz="3600">
          <a:solidFill>
            <a:srgbClr val="00408C"/>
          </a:solidFill>
          <a:latin typeface="Arial" charset="0"/>
          <a:cs typeface="Arial Unicode MS" charset="0"/>
        </a:defRPr>
      </a:lvl6pPr>
      <a:lvl7pPr marL="2971800" indent="-228600" algn="l" defTabSz="449263" rtl="0" eaLnBrk="0" fontAlgn="base" hangingPunct="0">
        <a:spcBef>
          <a:spcPct val="0"/>
        </a:spcBef>
        <a:spcAft>
          <a:spcPct val="0"/>
        </a:spcAft>
        <a:buClr>
          <a:srgbClr val="000000"/>
        </a:buClr>
        <a:buSzPct val="100000"/>
        <a:buFont typeface="Times New Roman" pitchFamily="16" charset="0"/>
        <a:defRPr sz="3600">
          <a:solidFill>
            <a:srgbClr val="00408C"/>
          </a:solidFill>
          <a:latin typeface="Arial" charset="0"/>
          <a:cs typeface="Arial Unicode MS" charset="0"/>
        </a:defRPr>
      </a:lvl7pPr>
      <a:lvl8pPr marL="3429000" indent="-228600" algn="l" defTabSz="449263" rtl="0" eaLnBrk="0" fontAlgn="base" hangingPunct="0">
        <a:spcBef>
          <a:spcPct val="0"/>
        </a:spcBef>
        <a:spcAft>
          <a:spcPct val="0"/>
        </a:spcAft>
        <a:buClr>
          <a:srgbClr val="000000"/>
        </a:buClr>
        <a:buSzPct val="100000"/>
        <a:buFont typeface="Times New Roman" pitchFamily="16" charset="0"/>
        <a:defRPr sz="3600">
          <a:solidFill>
            <a:srgbClr val="00408C"/>
          </a:solidFill>
          <a:latin typeface="Arial" charset="0"/>
          <a:cs typeface="Arial Unicode MS" charset="0"/>
        </a:defRPr>
      </a:lvl8pPr>
      <a:lvl9pPr marL="3886200" indent="-228600" algn="l" defTabSz="449263" rtl="0" eaLnBrk="0" fontAlgn="base" hangingPunct="0">
        <a:spcBef>
          <a:spcPct val="0"/>
        </a:spcBef>
        <a:spcAft>
          <a:spcPct val="0"/>
        </a:spcAft>
        <a:buClr>
          <a:srgbClr val="000000"/>
        </a:buClr>
        <a:buSzPct val="100000"/>
        <a:buFont typeface="Times New Roman" pitchFamily="16" charset="0"/>
        <a:defRPr sz="3600">
          <a:solidFill>
            <a:srgbClr val="00408C"/>
          </a:solidFill>
          <a:latin typeface="Arial" charset="0"/>
          <a:cs typeface="Arial Unicode MS" charset="0"/>
        </a:defRPr>
      </a:lvl9pPr>
    </p:titleStyle>
    <p:bodyStyle>
      <a:lvl1pPr marL="342900" indent="-342900" algn="l" defTabSz="449263" rtl="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mn-lt"/>
          <a:ea typeface="+mn-ea"/>
          <a:cs typeface="+mn-cs"/>
        </a:defRPr>
      </a:lvl1pPr>
      <a:lvl2pPr marL="742950" indent="-285750" algn="l" defTabSz="449263" rtl="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mn-lt"/>
          <a:ea typeface="+mn-ea"/>
          <a:cs typeface="+mn-cs"/>
        </a:defRPr>
      </a:lvl2pPr>
      <a:lvl3pPr marL="1143000" indent="-228600" algn="l" defTabSz="449263" rtl="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mn-lt"/>
          <a:ea typeface="+mn-ea"/>
          <a:cs typeface="+mn-cs"/>
        </a:defRPr>
      </a:lvl3pPr>
      <a:lvl4pPr marL="1600200" indent="-228600" algn="l" defTabSz="449263" rtl="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mn-lt"/>
          <a:ea typeface="+mn-ea"/>
          <a:cs typeface="+mn-cs"/>
        </a:defRPr>
      </a:lvl4pPr>
      <a:lvl5pPr marL="2057400" indent="-228600" algn="l" defTabSz="449263" rtl="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mn-lt"/>
          <a:ea typeface="+mn-ea"/>
          <a:cs typeface="+mn-cs"/>
        </a:defRPr>
      </a:lvl5pPr>
      <a:lvl6pPr marL="2514600" indent="-228600" algn="l" defTabSz="449263" rtl="0" eaLnBrk="0" fontAlgn="base" hangingPunct="0">
        <a:spcBef>
          <a:spcPts val="550"/>
        </a:spcBef>
        <a:spcAft>
          <a:spcPct val="0"/>
        </a:spcAft>
        <a:buClr>
          <a:srgbClr val="000000"/>
        </a:buClr>
        <a:buSzPct val="100000"/>
        <a:buFont typeface="Times New Roman" pitchFamily="16" charset="0"/>
        <a:defRPr sz="2200">
          <a:solidFill>
            <a:srgbClr val="000000"/>
          </a:solidFill>
          <a:latin typeface="+mn-lt"/>
          <a:ea typeface="+mn-ea"/>
          <a:cs typeface="+mn-cs"/>
        </a:defRPr>
      </a:lvl6pPr>
      <a:lvl7pPr marL="2971800" indent="-228600" algn="l" defTabSz="449263" rtl="0" eaLnBrk="0" fontAlgn="base" hangingPunct="0">
        <a:spcBef>
          <a:spcPts val="550"/>
        </a:spcBef>
        <a:spcAft>
          <a:spcPct val="0"/>
        </a:spcAft>
        <a:buClr>
          <a:srgbClr val="000000"/>
        </a:buClr>
        <a:buSzPct val="100000"/>
        <a:buFont typeface="Times New Roman" pitchFamily="16" charset="0"/>
        <a:defRPr sz="2200">
          <a:solidFill>
            <a:srgbClr val="000000"/>
          </a:solidFill>
          <a:latin typeface="+mn-lt"/>
          <a:ea typeface="+mn-ea"/>
          <a:cs typeface="+mn-cs"/>
        </a:defRPr>
      </a:lvl7pPr>
      <a:lvl8pPr marL="3429000" indent="-228600" algn="l" defTabSz="449263" rtl="0" eaLnBrk="0" fontAlgn="base" hangingPunct="0">
        <a:spcBef>
          <a:spcPts val="550"/>
        </a:spcBef>
        <a:spcAft>
          <a:spcPct val="0"/>
        </a:spcAft>
        <a:buClr>
          <a:srgbClr val="000000"/>
        </a:buClr>
        <a:buSzPct val="100000"/>
        <a:buFont typeface="Times New Roman" pitchFamily="16" charset="0"/>
        <a:defRPr sz="2200">
          <a:solidFill>
            <a:srgbClr val="000000"/>
          </a:solidFill>
          <a:latin typeface="+mn-lt"/>
          <a:ea typeface="+mn-ea"/>
          <a:cs typeface="+mn-cs"/>
        </a:defRPr>
      </a:lvl8pPr>
      <a:lvl9pPr marL="3886200" indent="-228600" algn="l" defTabSz="449263" rtl="0" eaLnBrk="0" fontAlgn="base" hangingPunct="0">
        <a:spcBef>
          <a:spcPts val="550"/>
        </a:spcBef>
        <a:spcAft>
          <a:spcPct val="0"/>
        </a:spcAft>
        <a:buClr>
          <a:srgbClr val="000000"/>
        </a:buClr>
        <a:buSzPct val="100000"/>
        <a:buFont typeface="Times New Roman" pitchFamily="16" charset="0"/>
        <a:defRPr sz="2200">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oleObject" Target="../embeddings/oleObject1.bin"/><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oleObject" Target="../embeddings/oleObject2.bin"/><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7.xml"/><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6.jpeg"/><Relationship Id="rId4" Type="http://schemas.openxmlformats.org/officeDocument/2006/relationships/image" Target="../media/image5.jpeg"/></Relationships>
</file>

<file path=ppt/slides/_rels/slide3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34.png"/></Relationships>
</file>

<file path=ppt/slides/_rels/slide3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3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40.jpeg"/></Relationships>
</file>

<file path=ppt/slides/_rels/slide3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8" Type="http://schemas.openxmlformats.org/officeDocument/2006/relationships/image" Target="../media/image51.wmf"/><Relationship Id="rId3" Type="http://schemas.openxmlformats.org/officeDocument/2006/relationships/image" Target="../media/image47.wmf"/><Relationship Id="rId7" Type="http://schemas.openxmlformats.org/officeDocument/2006/relationships/image" Target="../media/image50.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17.png"/><Relationship Id="rId9" Type="http://schemas.openxmlformats.org/officeDocument/2006/relationships/image" Target="../media/image18.png"/></Relationships>
</file>

<file path=ppt/slides/_rels/slide4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7.xml"/><Relationship Id="rId4" Type="http://schemas.openxmlformats.org/officeDocument/2006/relationships/image" Target="../media/image55.png"/></Relationships>
</file>

<file path=ppt/slides/_rels/slide4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png"/><Relationship Id="rId18" Type="http://schemas.openxmlformats.org/officeDocument/2006/relationships/image" Target="../media/image74.png"/><Relationship Id="rId3" Type="http://schemas.openxmlformats.org/officeDocument/2006/relationships/image" Target="../media/image59.png"/><Relationship Id="rId21" Type="http://schemas.openxmlformats.org/officeDocument/2006/relationships/image" Target="../media/image77.png"/><Relationship Id="rId7" Type="http://schemas.openxmlformats.org/officeDocument/2006/relationships/image" Target="../media/image63.png"/><Relationship Id="rId12" Type="http://schemas.openxmlformats.org/officeDocument/2006/relationships/image" Target="../media/image68.png"/><Relationship Id="rId17" Type="http://schemas.openxmlformats.org/officeDocument/2006/relationships/image" Target="../media/image73.png"/><Relationship Id="rId2" Type="http://schemas.openxmlformats.org/officeDocument/2006/relationships/image" Target="../media/image58.png"/><Relationship Id="rId16" Type="http://schemas.openxmlformats.org/officeDocument/2006/relationships/image" Target="../media/image72.png"/><Relationship Id="rId20" Type="http://schemas.openxmlformats.org/officeDocument/2006/relationships/image" Target="../media/image76.png"/><Relationship Id="rId1" Type="http://schemas.openxmlformats.org/officeDocument/2006/relationships/slideLayout" Target="../slideLayouts/slideLayout7.xml"/><Relationship Id="rId6" Type="http://schemas.openxmlformats.org/officeDocument/2006/relationships/image" Target="../media/image62.png"/><Relationship Id="rId11" Type="http://schemas.openxmlformats.org/officeDocument/2006/relationships/image" Target="../media/image67.png"/><Relationship Id="rId5" Type="http://schemas.openxmlformats.org/officeDocument/2006/relationships/image" Target="../media/image61.png"/><Relationship Id="rId15" Type="http://schemas.openxmlformats.org/officeDocument/2006/relationships/image" Target="../media/image71.png"/><Relationship Id="rId10" Type="http://schemas.openxmlformats.org/officeDocument/2006/relationships/image" Target="../media/image66.png"/><Relationship Id="rId19" Type="http://schemas.openxmlformats.org/officeDocument/2006/relationships/image" Target="../media/image75.png"/><Relationship Id="rId4" Type="http://schemas.openxmlformats.org/officeDocument/2006/relationships/image" Target="../media/image60.png"/><Relationship Id="rId9" Type="http://schemas.openxmlformats.org/officeDocument/2006/relationships/image" Target="../media/image65.png"/><Relationship Id="rId14" Type="http://schemas.openxmlformats.org/officeDocument/2006/relationships/image" Target="../media/image70.png"/></Relationships>
</file>

<file path=ppt/slides/_rels/slide5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81.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8" Type="http://schemas.openxmlformats.org/officeDocument/2006/relationships/image" Target="../media/image87.jpeg"/><Relationship Id="rId3" Type="http://schemas.openxmlformats.org/officeDocument/2006/relationships/image" Target="../media/image84.png"/><Relationship Id="rId7" Type="http://schemas.openxmlformats.org/officeDocument/2006/relationships/image" Target="../media/image86.png"/><Relationship Id="rId2" Type="http://schemas.openxmlformats.org/officeDocument/2006/relationships/image" Target="../media/image83.png"/><Relationship Id="rId1" Type="http://schemas.openxmlformats.org/officeDocument/2006/relationships/slideLayout" Target="../slideLayouts/slideLayout7.xml"/><Relationship Id="rId6" Type="http://schemas.openxmlformats.org/officeDocument/2006/relationships/image" Target="../media/image16.png"/><Relationship Id="rId11" Type="http://schemas.openxmlformats.org/officeDocument/2006/relationships/image" Target="../media/image89.jpeg"/><Relationship Id="rId5" Type="http://schemas.openxmlformats.org/officeDocument/2006/relationships/image" Target="../media/image82.jpeg"/><Relationship Id="rId10" Type="http://schemas.openxmlformats.org/officeDocument/2006/relationships/image" Target="../media/image17.png"/><Relationship Id="rId4" Type="http://schemas.openxmlformats.org/officeDocument/2006/relationships/image" Target="../media/image85.png"/><Relationship Id="rId9" Type="http://schemas.openxmlformats.org/officeDocument/2006/relationships/image" Target="../media/image88.jpeg"/></Relationships>
</file>

<file path=ppt/slides/_rels/slide56.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wmf"/><Relationship Id="rId18" Type="http://schemas.openxmlformats.org/officeDocument/2006/relationships/image" Target="../media/image112.png"/><Relationship Id="rId3" Type="http://schemas.openxmlformats.org/officeDocument/2006/relationships/image" Target="../media/image97.png"/><Relationship Id="rId7" Type="http://schemas.openxmlformats.org/officeDocument/2006/relationships/image" Target="../media/image101.png"/><Relationship Id="rId12" Type="http://schemas.openxmlformats.org/officeDocument/2006/relationships/image" Target="../media/image106.png"/><Relationship Id="rId17" Type="http://schemas.openxmlformats.org/officeDocument/2006/relationships/image" Target="../media/image111.wmf"/><Relationship Id="rId2" Type="http://schemas.openxmlformats.org/officeDocument/2006/relationships/notesSlide" Target="../notesSlides/notesSlide18.xml"/><Relationship Id="rId16" Type="http://schemas.openxmlformats.org/officeDocument/2006/relationships/image" Target="../media/image110.png"/><Relationship Id="rId1" Type="http://schemas.openxmlformats.org/officeDocument/2006/relationships/slideLayout" Target="../slideLayouts/slideLayout2.xml"/><Relationship Id="rId6" Type="http://schemas.openxmlformats.org/officeDocument/2006/relationships/image" Target="../media/image100.wmf"/><Relationship Id="rId11" Type="http://schemas.openxmlformats.org/officeDocument/2006/relationships/image" Target="../media/image105.png"/><Relationship Id="rId5" Type="http://schemas.openxmlformats.org/officeDocument/2006/relationships/image" Target="../media/image99.png"/><Relationship Id="rId15" Type="http://schemas.openxmlformats.org/officeDocument/2006/relationships/image" Target="../media/image109.png"/><Relationship Id="rId10" Type="http://schemas.openxmlformats.org/officeDocument/2006/relationships/image" Target="../media/image104.png"/><Relationship Id="rId19" Type="http://schemas.openxmlformats.org/officeDocument/2006/relationships/image" Target="../media/image113.png"/><Relationship Id="rId4" Type="http://schemas.openxmlformats.org/officeDocument/2006/relationships/image" Target="../media/image98.png"/><Relationship Id="rId9" Type="http://schemas.openxmlformats.org/officeDocument/2006/relationships/image" Target="../media/image103.png"/><Relationship Id="rId14" Type="http://schemas.openxmlformats.org/officeDocument/2006/relationships/image" Target="../media/image108.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slideLayout" Target="../slideLayouts/slideLayout2.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1">
            <a:extLst>
              <a:ext uri="{FF2B5EF4-FFF2-40B4-BE49-F238E27FC236}">
                <a16:creationId xmlns:a16="http://schemas.microsoft.com/office/drawing/2014/main" id="{C2AEE0A0-B481-4963-8C64-46BA05E1DAD6}"/>
              </a:ext>
            </a:extLst>
          </p:cNvPr>
          <p:cNvSpPr>
            <a:spLocks noChangeArrowheads="1"/>
          </p:cNvSpPr>
          <p:nvPr/>
        </p:nvSpPr>
        <p:spPr bwMode="auto">
          <a:xfrm>
            <a:off x="1230313" y="6092825"/>
            <a:ext cx="6934200" cy="5048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lvl1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9pPr>
          </a:lstStyle>
          <a:p>
            <a:pPr eaLnBrk="1" hangingPunct="1">
              <a:spcBef>
                <a:spcPts val="450"/>
              </a:spcBef>
              <a:buClrTx/>
              <a:buFontTx/>
              <a:buNone/>
            </a:pPr>
            <a:r>
              <a:rPr lang="en-US" altLang="en-US" sz="1800">
                <a:solidFill>
                  <a:srgbClr val="00408C"/>
                </a:solidFill>
                <a:cs typeface="Arial" panose="020B0604020202020204" pitchFamily="34" charset="0"/>
              </a:rPr>
              <a:t>WIPO Industrial Property Business Solutions Division (IPOBSD) </a:t>
            </a:r>
          </a:p>
        </p:txBody>
      </p:sp>
      <p:sp>
        <p:nvSpPr>
          <p:cNvPr id="5123" name="Text Box 3">
            <a:extLst>
              <a:ext uri="{FF2B5EF4-FFF2-40B4-BE49-F238E27FC236}">
                <a16:creationId xmlns:a16="http://schemas.microsoft.com/office/drawing/2014/main" id="{2494607F-A48A-484B-8A8A-367DC365E5DF}"/>
              </a:ext>
            </a:extLst>
          </p:cNvPr>
          <p:cNvSpPr txBox="1">
            <a:spLocks noChangeArrowheads="1"/>
          </p:cNvSpPr>
          <p:nvPr/>
        </p:nvSpPr>
        <p:spPr bwMode="auto">
          <a:xfrm>
            <a:off x="5562600" y="4953000"/>
            <a:ext cx="2362200" cy="5048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lvl1pPr marL="342900" indent="-339725">
              <a:spcBef>
                <a:spcPts val="550"/>
              </a:spcBef>
              <a:buClr>
                <a:srgbClr val="000000"/>
              </a:buClr>
              <a:buSzPct val="100000"/>
              <a:buFont typeface="Times New Roman" panose="02020603050405020304" pitchFamily="18" charset="0"/>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defRPr sz="2200">
                <a:solidFill>
                  <a:srgbClr val="000000"/>
                </a:solidFill>
                <a:latin typeface="Arial" panose="020B0604020202020204" pitchFamily="34" charset="0"/>
                <a:ea typeface="ヒラギノ角ゴ Pro W3"/>
                <a:cs typeface="ヒラギノ角ゴ Pro W3"/>
              </a:defRPr>
            </a:lvl9pPr>
          </a:lstStyle>
          <a:p>
            <a:pPr algn="r" eaLnBrk="1" hangingPunct="1">
              <a:buClrTx/>
              <a:buFontTx/>
              <a:buNone/>
            </a:pPr>
            <a:r>
              <a:rPr lang="en-US" altLang="en-US" sz="2400" dirty="0"/>
              <a:t>April 22, 2026</a:t>
            </a:r>
            <a:endParaRPr lang="en-US" altLang="en-US" sz="2400" dirty="0">
              <a:cs typeface="Arial" panose="020B0604020202020204" pitchFamily="34" charset="0"/>
            </a:endParaRPr>
          </a:p>
        </p:txBody>
      </p:sp>
      <p:sp>
        <p:nvSpPr>
          <p:cNvPr id="5124" name="Text Box 2">
            <a:extLst>
              <a:ext uri="{FF2B5EF4-FFF2-40B4-BE49-F238E27FC236}">
                <a16:creationId xmlns:a16="http://schemas.microsoft.com/office/drawing/2014/main" id="{90529192-8E49-4FEB-9C66-A0AB72D3B33C}"/>
              </a:ext>
            </a:extLst>
          </p:cNvPr>
          <p:cNvSpPr txBox="1">
            <a:spLocks noChangeArrowheads="1"/>
          </p:cNvSpPr>
          <p:nvPr/>
        </p:nvSpPr>
        <p:spPr bwMode="auto">
          <a:xfrm>
            <a:off x="152400" y="2801938"/>
            <a:ext cx="8686800" cy="16224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lvl1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9pPr>
          </a:lstStyle>
          <a:p>
            <a:pPr algn="ctr" eaLnBrk="1" hangingPunct="1">
              <a:spcBef>
                <a:spcPct val="0"/>
              </a:spcBef>
              <a:buClrTx/>
              <a:buFontTx/>
              <a:buNone/>
            </a:pPr>
            <a:r>
              <a:rPr lang="en-GB" altLang="en-US" sz="3600" dirty="0">
                <a:solidFill>
                  <a:srgbClr val="00408C"/>
                </a:solidFill>
                <a:cs typeface="Arial" panose="020B0604020202020204" pitchFamily="34" charset="0"/>
              </a:rPr>
              <a:t>Interoperability with Member </a:t>
            </a:r>
            <a:r>
              <a:rPr lang="en-GB" altLang="en-US" sz="3600">
                <a:solidFill>
                  <a:srgbClr val="00408C"/>
                </a:solidFill>
                <a:cs typeface="Arial" panose="020B0604020202020204" pitchFamily="34" charset="0"/>
              </a:rPr>
              <a:t>States Systems </a:t>
            </a:r>
            <a:endParaRPr lang="en-GB" altLang="en-US" sz="3600" dirty="0">
              <a:solidFill>
                <a:srgbClr val="00408C"/>
              </a:solidFill>
              <a:cs typeface="Arial" panose="020B0604020202020204" pitchFamily="34" charset="0"/>
            </a:endParaRPr>
          </a:p>
          <a:p>
            <a:pPr eaLnBrk="1" hangingPunct="1">
              <a:spcBef>
                <a:spcPct val="0"/>
              </a:spcBef>
              <a:buClrTx/>
              <a:buFontTx/>
              <a:buNone/>
            </a:pPr>
            <a:r>
              <a:rPr lang="en-GB" altLang="en-US" sz="3600" dirty="0">
                <a:solidFill>
                  <a:srgbClr val="00408C"/>
                </a:solidFill>
                <a:cs typeface="Arial" panose="020B0604020202020204" pitchFamily="34" charset="0"/>
              </a:rPr>
              <a:t>WIPO Suite Products and Services</a:t>
            </a:r>
            <a:br>
              <a:rPr lang="en-GB" altLang="en-US" sz="3600" dirty="0">
                <a:solidFill>
                  <a:srgbClr val="00408C"/>
                </a:solidFill>
                <a:cs typeface="Arial" panose="020B0604020202020204" pitchFamily="34" charset="0"/>
              </a:rPr>
            </a:br>
            <a:endParaRPr lang="en-GB" altLang="en-US" sz="2600" dirty="0">
              <a:solidFill>
                <a:srgbClr val="00408C"/>
              </a:solidFill>
              <a:cs typeface="Arial" panose="020B0604020202020204" pitchFamily="34" charset="0"/>
            </a:endParaRPr>
          </a:p>
        </p:txBody>
      </p:sp>
      <p:sp>
        <p:nvSpPr>
          <p:cNvPr id="5125" name="Text Box 3">
            <a:extLst>
              <a:ext uri="{FF2B5EF4-FFF2-40B4-BE49-F238E27FC236}">
                <a16:creationId xmlns:a16="http://schemas.microsoft.com/office/drawing/2014/main" id="{07219691-8515-4951-8835-7A262E145901}"/>
              </a:ext>
            </a:extLst>
          </p:cNvPr>
          <p:cNvSpPr txBox="1">
            <a:spLocks noChangeArrowheads="1"/>
          </p:cNvSpPr>
          <p:nvPr/>
        </p:nvSpPr>
        <p:spPr bwMode="auto">
          <a:xfrm>
            <a:off x="4697413" y="5522913"/>
            <a:ext cx="3124200" cy="5048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lvl1pPr marL="342900" indent="-339725">
              <a:spcBef>
                <a:spcPts val="550"/>
              </a:spcBef>
              <a:buClr>
                <a:srgbClr val="000000"/>
              </a:buClr>
              <a:buSzPct val="100000"/>
              <a:buFont typeface="Times New Roman" panose="02020603050405020304" pitchFamily="18" charset="0"/>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defRPr sz="2200">
                <a:solidFill>
                  <a:srgbClr val="000000"/>
                </a:solidFill>
                <a:latin typeface="Arial" panose="020B0604020202020204" pitchFamily="34" charset="0"/>
                <a:ea typeface="ヒラギノ角ゴ Pro W3"/>
                <a:cs typeface="ヒラギノ角ゴ Pro W3"/>
              </a:defRPr>
            </a:lvl9pPr>
          </a:lstStyle>
          <a:p>
            <a:pPr algn="r" eaLnBrk="1" hangingPunct="1">
              <a:buClrTx/>
              <a:buFontTx/>
              <a:buNone/>
            </a:pPr>
            <a:r>
              <a:rPr lang="en-US" altLang="en-US" sz="2400"/>
              <a:t>Gregory Sadyalunda</a:t>
            </a:r>
            <a:endParaRPr lang="en-US" altLang="en-US" sz="2400">
              <a:cs typeface="Arial" panose="020B0604020202020204" pitchFamily="34" charset="0"/>
            </a:endParaRPr>
          </a:p>
        </p:txBody>
      </p:sp>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a:extLst>
              <a:ext uri="{FF2B5EF4-FFF2-40B4-BE49-F238E27FC236}">
                <a16:creationId xmlns:a16="http://schemas.microsoft.com/office/drawing/2014/main" id="{B12182A4-8FC6-4A75-AF92-39F10AA36A60}"/>
              </a:ext>
            </a:extLst>
          </p:cNvPr>
          <p:cNvSpPr>
            <a:spLocks noGrp="1" noChangeArrowheads="1"/>
          </p:cNvSpPr>
          <p:nvPr>
            <p:ph type="title"/>
          </p:nvPr>
        </p:nvSpPr>
        <p:spPr>
          <a:xfrm>
            <a:off x="250825" y="238125"/>
            <a:ext cx="8713788" cy="681038"/>
          </a:xfrm>
        </p:spPr>
        <p:txBody>
          <a:bodyPr/>
          <a:lstStyle/>
          <a:p>
            <a:pPr eaLnBrk="1" hangingPunct="1"/>
            <a:r>
              <a:rPr lang="en-US" altLang="en-US"/>
              <a:t>IP Office Digital Transformation</a:t>
            </a:r>
          </a:p>
        </p:txBody>
      </p:sp>
      <p:graphicFrame>
        <p:nvGraphicFramePr>
          <p:cNvPr id="20483" name="Content Placeholder 3">
            <a:extLst>
              <a:ext uri="{FF2B5EF4-FFF2-40B4-BE49-F238E27FC236}">
                <a16:creationId xmlns:a16="http://schemas.microsoft.com/office/drawing/2014/main" id="{49F885C6-139B-4DBF-B3FB-BCF997AB3687}"/>
              </a:ext>
            </a:extLst>
          </p:cNvPr>
          <p:cNvGraphicFramePr>
            <a:graphicFrameLocks noGrp="1" noChangeAspect="1"/>
          </p:cNvGraphicFramePr>
          <p:nvPr>
            <p:ph idx="1"/>
          </p:nvPr>
        </p:nvGraphicFramePr>
        <p:xfrm>
          <a:off x="539750" y="1149350"/>
          <a:ext cx="7993063" cy="4872038"/>
        </p:xfrm>
        <a:graphic>
          <a:graphicData uri="http://schemas.openxmlformats.org/presentationml/2006/ole">
            <mc:AlternateContent xmlns:mc="http://schemas.openxmlformats.org/markup-compatibility/2006">
              <mc:Choice xmlns:v="urn:schemas-microsoft-com:vml" Requires="v">
                <p:oleObj name="Visio" r:id="rId2" imgW="9926230" imgH="5434303" progId="Visio.Drawing.11">
                  <p:embed/>
                </p:oleObj>
              </mc:Choice>
              <mc:Fallback>
                <p:oleObj name="Visio" r:id="rId2" imgW="9926230" imgH="5434303" progId="Visio.Drawing.11">
                  <p:embed/>
                  <p:pic>
                    <p:nvPicPr>
                      <p:cNvPr id="20483" name="Content Placeholder 3">
                        <a:extLst>
                          <a:ext uri="{FF2B5EF4-FFF2-40B4-BE49-F238E27FC236}">
                            <a16:creationId xmlns:a16="http://schemas.microsoft.com/office/drawing/2014/main" id="{49F885C6-139B-4DBF-B3FB-BCF997AB3687}"/>
                          </a:ext>
                        </a:extLst>
                      </p:cNvPr>
                      <p:cNvPicPr>
                        <a:picLocks noGrp="1"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750" y="1149350"/>
                        <a:ext cx="7993063" cy="487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miter lim="800000"/>
                            <a:headEnd/>
                            <a:tailEnd/>
                          </a14:hiddenLine>
                        </a:ext>
                      </a:extLst>
                    </p:spPr>
                  </p:pic>
                </p:oleObj>
              </mc:Fallback>
            </mc:AlternateContent>
          </a:graphicData>
        </a:graphic>
      </p:graphicFrame>
      <p:sp>
        <p:nvSpPr>
          <p:cNvPr id="20484" name="Slide Number Placeholder 3">
            <a:extLst>
              <a:ext uri="{FF2B5EF4-FFF2-40B4-BE49-F238E27FC236}">
                <a16:creationId xmlns:a16="http://schemas.microsoft.com/office/drawing/2014/main" id="{D10CED8D-C109-4C7F-96A6-9F4FD3B8BF84}"/>
              </a:ext>
            </a:extLst>
          </p:cNvPr>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9pPr>
          </a:lstStyle>
          <a:p>
            <a:fld id="{C15E3730-FFA7-4FDA-A6CD-F5389B7FB0A3}" type="slidenum">
              <a:rPr lang="en-US" altLang="en-US" smtClean="0">
                <a:solidFill>
                  <a:srgbClr val="000000"/>
                </a:solidFill>
              </a:rPr>
              <a:pPr/>
              <a:t>10</a:t>
            </a:fld>
            <a:endParaRPr lang="en-US" altLang="en-US">
              <a:solidFill>
                <a:srgbClr val="000000"/>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a:extLst>
              <a:ext uri="{FF2B5EF4-FFF2-40B4-BE49-F238E27FC236}">
                <a16:creationId xmlns:a16="http://schemas.microsoft.com/office/drawing/2014/main" id="{F487A372-EFD2-43D3-8F29-689F53FA237A}"/>
              </a:ext>
            </a:extLst>
          </p:cNvPr>
          <p:cNvSpPr>
            <a:spLocks noGrp="1" noChangeArrowheads="1"/>
          </p:cNvSpPr>
          <p:nvPr>
            <p:ph type="title"/>
          </p:nvPr>
        </p:nvSpPr>
        <p:spPr>
          <a:xfrm>
            <a:off x="55563" y="134938"/>
            <a:ext cx="9088437" cy="682625"/>
          </a:xfrm>
        </p:spPr>
        <p:txBody>
          <a:bodyPr/>
          <a:lstStyle/>
          <a:p>
            <a:pPr algn="ctr" eaLnBrk="1" hangingPunct="1"/>
            <a:r>
              <a:rPr lang="en-US" altLang="en-US"/>
              <a:t>IP Office Functions and Services</a:t>
            </a:r>
          </a:p>
        </p:txBody>
      </p:sp>
      <p:graphicFrame>
        <p:nvGraphicFramePr>
          <p:cNvPr id="21507" name="Content Placeholder 3">
            <a:extLst>
              <a:ext uri="{FF2B5EF4-FFF2-40B4-BE49-F238E27FC236}">
                <a16:creationId xmlns:a16="http://schemas.microsoft.com/office/drawing/2014/main" id="{A02078C5-6759-4A0B-8464-DF2C7DEC787C}"/>
              </a:ext>
            </a:extLst>
          </p:cNvPr>
          <p:cNvGraphicFramePr>
            <a:graphicFrameLocks noGrp="1" noChangeAspect="1"/>
          </p:cNvGraphicFramePr>
          <p:nvPr>
            <p:ph idx="1"/>
          </p:nvPr>
        </p:nvGraphicFramePr>
        <p:xfrm>
          <a:off x="468313" y="1052513"/>
          <a:ext cx="8424862" cy="5700712"/>
        </p:xfrm>
        <a:graphic>
          <a:graphicData uri="http://schemas.openxmlformats.org/presentationml/2006/ole">
            <mc:AlternateContent xmlns:mc="http://schemas.openxmlformats.org/markup-compatibility/2006">
              <mc:Choice xmlns:v="urn:schemas-microsoft-com:vml" Requires="v">
                <p:oleObj name="Visio" r:id="rId2" imgW="9713410" imgH="7264183" progId="Visio.Drawing.11">
                  <p:embed/>
                </p:oleObj>
              </mc:Choice>
              <mc:Fallback>
                <p:oleObj name="Visio" r:id="rId2" imgW="9713410" imgH="7264183" progId="Visio.Drawing.11">
                  <p:embed/>
                  <p:pic>
                    <p:nvPicPr>
                      <p:cNvPr id="21507" name="Content Placeholder 3">
                        <a:extLst>
                          <a:ext uri="{FF2B5EF4-FFF2-40B4-BE49-F238E27FC236}">
                            <a16:creationId xmlns:a16="http://schemas.microsoft.com/office/drawing/2014/main" id="{A02078C5-6759-4A0B-8464-DF2C7DEC787C}"/>
                          </a:ext>
                        </a:extLst>
                      </p:cNvPr>
                      <p:cNvPicPr>
                        <a:picLocks noGrp="1"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8313" y="1052513"/>
                        <a:ext cx="8424862" cy="57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miter lim="800000"/>
                            <a:headEnd/>
                            <a:tailEnd/>
                          </a14:hiddenLine>
                        </a:ext>
                      </a:extLst>
                    </p:spPr>
                  </p:pic>
                </p:oleObj>
              </mc:Fallback>
            </mc:AlternateContent>
          </a:graphicData>
        </a:graphic>
      </p:graphicFrame>
      <p:sp>
        <p:nvSpPr>
          <p:cNvPr id="21508" name="Slide Number Placeholder 3">
            <a:extLst>
              <a:ext uri="{FF2B5EF4-FFF2-40B4-BE49-F238E27FC236}">
                <a16:creationId xmlns:a16="http://schemas.microsoft.com/office/drawing/2014/main" id="{8247ED60-F86A-440F-8492-4CD69D4552BC}"/>
              </a:ext>
            </a:extLst>
          </p:cNvPr>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9pPr>
          </a:lstStyle>
          <a:p>
            <a:fld id="{2A8210D3-07CA-4764-99DB-9A481B19EA0A}" type="slidenum">
              <a:rPr lang="en-US" altLang="en-US" smtClean="0">
                <a:solidFill>
                  <a:srgbClr val="000000"/>
                </a:solidFill>
              </a:rPr>
              <a:pPr/>
              <a:t>11</a:t>
            </a:fld>
            <a:endParaRPr lang="en-US" altLang="en-US">
              <a:solidFill>
                <a:srgbClr val="000000"/>
              </a:solidFil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a:extLst>
              <a:ext uri="{FF2B5EF4-FFF2-40B4-BE49-F238E27FC236}">
                <a16:creationId xmlns:a16="http://schemas.microsoft.com/office/drawing/2014/main" id="{D2B75F7C-29EF-4A89-81EE-2A1C57A11388}"/>
              </a:ext>
            </a:extLst>
          </p:cNvPr>
          <p:cNvSpPr>
            <a:spLocks noGrp="1" noChangeArrowheads="1"/>
          </p:cNvSpPr>
          <p:nvPr>
            <p:ph type="title"/>
          </p:nvPr>
        </p:nvSpPr>
        <p:spPr>
          <a:xfrm>
            <a:off x="241300" y="152400"/>
            <a:ext cx="3340100" cy="538163"/>
          </a:xfrm>
        </p:spPr>
        <p:txBody>
          <a:bodyPr/>
          <a:lstStyle/>
          <a:p>
            <a:r>
              <a:rPr lang="en-US" altLang="en-US"/>
              <a:t>What is IPAS?</a:t>
            </a:r>
          </a:p>
        </p:txBody>
      </p:sp>
      <p:sp>
        <p:nvSpPr>
          <p:cNvPr id="22531" name="Rectangle 21">
            <a:extLst>
              <a:ext uri="{FF2B5EF4-FFF2-40B4-BE49-F238E27FC236}">
                <a16:creationId xmlns:a16="http://schemas.microsoft.com/office/drawing/2014/main" id="{44327A5F-15B7-47B3-98C0-DF4EAEB1605D}"/>
              </a:ext>
            </a:extLst>
          </p:cNvPr>
          <p:cNvSpPr>
            <a:spLocks noChangeArrowheads="1"/>
          </p:cNvSpPr>
          <p:nvPr/>
        </p:nvSpPr>
        <p:spPr bwMode="auto">
          <a:xfrm>
            <a:off x="250825" y="1773238"/>
            <a:ext cx="8642350" cy="1008062"/>
          </a:xfrm>
          <a:prstGeom prst="rect">
            <a:avLst/>
          </a:prstGeom>
          <a:solidFill>
            <a:srgbClr val="CCECFF">
              <a:alpha val="50195"/>
            </a:srgbClr>
          </a:solidFill>
          <a:ln w="28575">
            <a:solidFill>
              <a:srgbClr val="3399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hangingPunct="1">
              <a:spcBef>
                <a:spcPct val="0"/>
              </a:spcBef>
              <a:buClrTx/>
              <a:buSzTx/>
              <a:buFontTx/>
              <a:buNone/>
            </a:pPr>
            <a:endParaRPr lang="en-US" altLang="en-US">
              <a:solidFill>
                <a:schemeClr val="tx1"/>
              </a:solidFill>
              <a:ea typeface="Arial Unicode MS" pitchFamily="34" charset="-128"/>
            </a:endParaRPr>
          </a:p>
        </p:txBody>
      </p:sp>
      <p:sp>
        <p:nvSpPr>
          <p:cNvPr id="22532" name="AutoShape 20">
            <a:extLst>
              <a:ext uri="{FF2B5EF4-FFF2-40B4-BE49-F238E27FC236}">
                <a16:creationId xmlns:a16="http://schemas.microsoft.com/office/drawing/2014/main" id="{6B4907AD-DD5D-4D3A-80B3-6BBFABC3A908}"/>
              </a:ext>
            </a:extLst>
          </p:cNvPr>
          <p:cNvSpPr>
            <a:spLocks noChangeArrowheads="1"/>
          </p:cNvSpPr>
          <p:nvPr/>
        </p:nvSpPr>
        <p:spPr bwMode="auto">
          <a:xfrm>
            <a:off x="211138" y="3000375"/>
            <a:ext cx="8642350" cy="3384550"/>
          </a:xfrm>
          <a:prstGeom prst="foldedCorner">
            <a:avLst>
              <a:gd name="adj" fmla="val 12500"/>
            </a:avLst>
          </a:prstGeom>
          <a:solidFill>
            <a:srgbClr val="FFFFCC"/>
          </a:solidFill>
          <a:ln w="28575">
            <a:solidFill>
              <a:srgbClr val="FFCC99"/>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hangingPunct="1">
              <a:spcBef>
                <a:spcPct val="0"/>
              </a:spcBef>
              <a:buClrTx/>
              <a:buSzTx/>
              <a:buFontTx/>
              <a:buNone/>
            </a:pPr>
            <a:endParaRPr lang="en-US" altLang="en-US">
              <a:solidFill>
                <a:schemeClr val="tx1"/>
              </a:solidFill>
              <a:ea typeface="Arial Unicode MS" pitchFamily="34" charset="-128"/>
            </a:endParaRPr>
          </a:p>
        </p:txBody>
      </p:sp>
      <p:sp>
        <p:nvSpPr>
          <p:cNvPr id="22533" name="Rectangle 19">
            <a:extLst>
              <a:ext uri="{FF2B5EF4-FFF2-40B4-BE49-F238E27FC236}">
                <a16:creationId xmlns:a16="http://schemas.microsoft.com/office/drawing/2014/main" id="{BED511E3-D363-4A97-B82B-05A6E2E9C214}"/>
              </a:ext>
            </a:extLst>
          </p:cNvPr>
          <p:cNvSpPr>
            <a:spLocks noChangeArrowheads="1"/>
          </p:cNvSpPr>
          <p:nvPr/>
        </p:nvSpPr>
        <p:spPr bwMode="auto">
          <a:xfrm>
            <a:off x="250825" y="765175"/>
            <a:ext cx="8642350" cy="863600"/>
          </a:xfrm>
          <a:prstGeom prst="rect">
            <a:avLst/>
          </a:prstGeom>
          <a:solidFill>
            <a:srgbClr val="DDDDDD">
              <a:alpha val="50195"/>
            </a:srgbClr>
          </a:solidFill>
          <a:ln w="28575">
            <a:solidFill>
              <a:srgbClr val="96969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hangingPunct="1">
              <a:spcBef>
                <a:spcPct val="0"/>
              </a:spcBef>
              <a:buClrTx/>
              <a:buSzTx/>
              <a:buFontTx/>
              <a:buNone/>
            </a:pPr>
            <a:endParaRPr lang="en-US" altLang="en-US">
              <a:solidFill>
                <a:schemeClr val="tx1"/>
              </a:solidFill>
              <a:ea typeface="Arial Unicode MS" pitchFamily="34" charset="-128"/>
            </a:endParaRPr>
          </a:p>
        </p:txBody>
      </p:sp>
      <p:sp>
        <p:nvSpPr>
          <p:cNvPr id="22534" name="Text Box 16">
            <a:extLst>
              <a:ext uri="{FF2B5EF4-FFF2-40B4-BE49-F238E27FC236}">
                <a16:creationId xmlns:a16="http://schemas.microsoft.com/office/drawing/2014/main" id="{F872693B-2F1C-4232-B021-615C25E00EA0}"/>
              </a:ext>
            </a:extLst>
          </p:cNvPr>
          <p:cNvSpPr txBox="1">
            <a:spLocks noChangeArrowheads="1"/>
          </p:cNvSpPr>
          <p:nvPr/>
        </p:nvSpPr>
        <p:spPr bwMode="auto">
          <a:xfrm>
            <a:off x="323850" y="836613"/>
            <a:ext cx="8569325" cy="646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hangingPunct="1">
              <a:spcBef>
                <a:spcPct val="0"/>
              </a:spcBef>
              <a:buClrTx/>
              <a:buSzTx/>
              <a:buFontTx/>
              <a:buNone/>
            </a:pPr>
            <a:r>
              <a:rPr lang="en-IE" altLang="en-US" sz="1800">
                <a:solidFill>
                  <a:schemeClr val="tx1"/>
                </a:solidFill>
                <a:ea typeface="Arial Unicode MS" pitchFamily="34" charset="-128"/>
              </a:rPr>
              <a:t>IPAS (</a:t>
            </a:r>
            <a:r>
              <a:rPr lang="en-IE" altLang="en-US" sz="1800" b="1">
                <a:solidFill>
                  <a:srgbClr val="A50021"/>
                </a:solidFill>
                <a:ea typeface="Arial Unicode MS" pitchFamily="34" charset="-128"/>
              </a:rPr>
              <a:t>I</a:t>
            </a:r>
            <a:r>
              <a:rPr lang="en-IE" altLang="en-US" sz="1800">
                <a:solidFill>
                  <a:schemeClr val="tx1"/>
                </a:solidFill>
                <a:ea typeface="Arial Unicode MS" pitchFamily="34" charset="-128"/>
              </a:rPr>
              <a:t>ndustrial </a:t>
            </a:r>
            <a:r>
              <a:rPr lang="en-IE" altLang="en-US" sz="1800" b="1">
                <a:solidFill>
                  <a:srgbClr val="A50021"/>
                </a:solidFill>
                <a:ea typeface="Arial Unicode MS" pitchFamily="34" charset="-128"/>
              </a:rPr>
              <a:t>P</a:t>
            </a:r>
            <a:r>
              <a:rPr lang="en-IE" altLang="en-US" sz="1800">
                <a:solidFill>
                  <a:schemeClr val="tx1"/>
                </a:solidFill>
                <a:ea typeface="Arial Unicode MS" pitchFamily="34" charset="-128"/>
              </a:rPr>
              <a:t>roperty </a:t>
            </a:r>
            <a:r>
              <a:rPr lang="en-IE" altLang="en-US" sz="1800" b="1">
                <a:solidFill>
                  <a:srgbClr val="A50021"/>
                </a:solidFill>
                <a:ea typeface="Arial Unicode MS" pitchFamily="34" charset="-128"/>
              </a:rPr>
              <a:t>A</a:t>
            </a:r>
            <a:r>
              <a:rPr lang="en-IE" altLang="en-US" sz="1800">
                <a:solidFill>
                  <a:schemeClr val="tx1"/>
                </a:solidFill>
                <a:ea typeface="Arial Unicode MS" pitchFamily="34" charset="-128"/>
              </a:rPr>
              <a:t>utomation </a:t>
            </a:r>
            <a:r>
              <a:rPr lang="en-IE" altLang="en-US" sz="1800" b="1">
                <a:solidFill>
                  <a:srgbClr val="A50021"/>
                </a:solidFill>
                <a:ea typeface="Arial Unicode MS" pitchFamily="34" charset="-128"/>
              </a:rPr>
              <a:t>S</a:t>
            </a:r>
            <a:r>
              <a:rPr lang="en-IE" altLang="en-US" sz="1800">
                <a:solidFill>
                  <a:schemeClr val="tx1"/>
                </a:solidFill>
                <a:ea typeface="Arial Unicode MS" pitchFamily="34" charset="-128"/>
              </a:rPr>
              <a:t>ystem) is a software developed and Supported by WIPO for the complete administration of IP rights in an IP Office.</a:t>
            </a:r>
          </a:p>
        </p:txBody>
      </p:sp>
      <p:sp>
        <p:nvSpPr>
          <p:cNvPr id="22535" name="Text Box 17">
            <a:extLst>
              <a:ext uri="{FF2B5EF4-FFF2-40B4-BE49-F238E27FC236}">
                <a16:creationId xmlns:a16="http://schemas.microsoft.com/office/drawing/2014/main" id="{02DB6A23-2E7E-4C85-A441-37F08216B015}"/>
              </a:ext>
            </a:extLst>
          </p:cNvPr>
          <p:cNvSpPr txBox="1">
            <a:spLocks noChangeArrowheads="1"/>
          </p:cNvSpPr>
          <p:nvPr/>
        </p:nvSpPr>
        <p:spPr bwMode="auto">
          <a:xfrm>
            <a:off x="211138" y="1844675"/>
            <a:ext cx="8642350" cy="923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hangingPunct="1">
              <a:spcBef>
                <a:spcPct val="0"/>
              </a:spcBef>
              <a:buClrTx/>
              <a:buSzTx/>
              <a:buFontTx/>
              <a:buNone/>
            </a:pPr>
            <a:r>
              <a:rPr lang="en-IE" altLang="en-US" sz="1800">
                <a:solidFill>
                  <a:schemeClr val="tx1"/>
                </a:solidFill>
                <a:ea typeface="Arial Unicode MS" pitchFamily="34" charset="-128"/>
              </a:rPr>
              <a:t>It covers the management of trademarks, patents, industrial designs, utility models. IPAS is designed as an IP case management system hence can be extended to support other IP domains like Copyright, and Geographical Indications.</a:t>
            </a:r>
          </a:p>
        </p:txBody>
      </p:sp>
      <p:sp>
        <p:nvSpPr>
          <p:cNvPr id="22536" name="Text Box 18">
            <a:extLst>
              <a:ext uri="{FF2B5EF4-FFF2-40B4-BE49-F238E27FC236}">
                <a16:creationId xmlns:a16="http://schemas.microsoft.com/office/drawing/2014/main" id="{E4B2CD3E-1F0B-40DB-8060-86A5A6E73773}"/>
              </a:ext>
            </a:extLst>
          </p:cNvPr>
          <p:cNvSpPr txBox="1">
            <a:spLocks noChangeArrowheads="1"/>
          </p:cNvSpPr>
          <p:nvPr/>
        </p:nvSpPr>
        <p:spPr bwMode="auto">
          <a:xfrm>
            <a:off x="355600" y="3382963"/>
            <a:ext cx="8135938" cy="2894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hangingPunct="1">
              <a:spcBef>
                <a:spcPct val="0"/>
              </a:spcBef>
              <a:buClrTx/>
              <a:buSzTx/>
              <a:buFontTx/>
              <a:buBlip>
                <a:blip r:embed="rId2"/>
              </a:buBlip>
            </a:pPr>
            <a:r>
              <a:rPr lang="en-IE" altLang="en-US" sz="1400">
                <a:solidFill>
                  <a:schemeClr val="tx1"/>
                </a:solidFill>
                <a:ea typeface="Arial Unicode MS" pitchFamily="34" charset="-128"/>
              </a:rPr>
              <a:t> Case Data Management (Key-in, Change, Business rules, Log, Persist in Database)</a:t>
            </a:r>
          </a:p>
          <a:p>
            <a:pPr eaLnBrk="1" hangingPunct="1">
              <a:spcBef>
                <a:spcPct val="0"/>
              </a:spcBef>
              <a:buClrTx/>
              <a:buSzTx/>
              <a:buFontTx/>
              <a:buBlip>
                <a:blip r:embed="rId2"/>
              </a:buBlip>
            </a:pPr>
            <a:r>
              <a:rPr lang="en-IE" altLang="en-US" sz="1400">
                <a:solidFill>
                  <a:schemeClr val="tx1"/>
                </a:solidFill>
                <a:ea typeface="Arial Unicode MS" pitchFamily="34" charset="-128"/>
              </a:rPr>
              <a:t> Workflow (Case lifecycle aka Status Transition)</a:t>
            </a:r>
          </a:p>
          <a:p>
            <a:pPr eaLnBrk="1" hangingPunct="1">
              <a:spcBef>
                <a:spcPct val="0"/>
              </a:spcBef>
              <a:buClrTx/>
              <a:buSzTx/>
              <a:buFontTx/>
              <a:buBlip>
                <a:blip r:embed="rId2"/>
              </a:buBlip>
            </a:pPr>
            <a:r>
              <a:rPr lang="en-IE" altLang="en-US" sz="1400">
                <a:solidFill>
                  <a:schemeClr val="tx1"/>
                </a:solidFill>
                <a:ea typeface="Arial Unicode MS" pitchFamily="34" charset="-128"/>
              </a:rPr>
              <a:t> Office Notifications / Letters</a:t>
            </a:r>
          </a:p>
          <a:p>
            <a:pPr eaLnBrk="1" hangingPunct="1">
              <a:spcBef>
                <a:spcPct val="0"/>
              </a:spcBef>
              <a:buClrTx/>
              <a:buSzTx/>
              <a:buFontTx/>
              <a:buBlip>
                <a:blip r:embed="rId2"/>
              </a:buBlip>
            </a:pPr>
            <a:r>
              <a:rPr lang="en-IE" altLang="en-US" sz="1400">
                <a:solidFill>
                  <a:schemeClr val="tx1"/>
                </a:solidFill>
                <a:ea typeface="Arial Unicode MS" pitchFamily="34" charset="-128"/>
              </a:rPr>
              <a:t> Examination</a:t>
            </a:r>
          </a:p>
          <a:p>
            <a:pPr eaLnBrk="1" hangingPunct="1">
              <a:spcBef>
                <a:spcPct val="0"/>
              </a:spcBef>
              <a:buClrTx/>
              <a:buSzTx/>
              <a:buFontTx/>
              <a:buBlip>
                <a:blip r:embed="rId2"/>
              </a:buBlip>
            </a:pPr>
            <a:r>
              <a:rPr lang="en-IE" altLang="en-US" sz="1400">
                <a:solidFill>
                  <a:schemeClr val="tx1"/>
                </a:solidFill>
                <a:ea typeface="Arial Unicode MS" pitchFamily="34" charset="-128"/>
              </a:rPr>
              <a:t> Publication</a:t>
            </a:r>
          </a:p>
          <a:p>
            <a:pPr eaLnBrk="1" hangingPunct="1">
              <a:spcBef>
                <a:spcPct val="0"/>
              </a:spcBef>
              <a:buClrTx/>
              <a:buSzTx/>
              <a:buFontTx/>
              <a:buBlip>
                <a:blip r:embed="rId2"/>
              </a:buBlip>
            </a:pPr>
            <a:r>
              <a:rPr lang="en-IE" altLang="en-US" sz="1400">
                <a:solidFill>
                  <a:schemeClr val="tx1"/>
                </a:solidFill>
                <a:ea typeface="Arial Unicode MS" pitchFamily="34" charset="-128"/>
              </a:rPr>
              <a:t> Issue of Certificate</a:t>
            </a:r>
          </a:p>
          <a:p>
            <a:pPr eaLnBrk="1" hangingPunct="1">
              <a:spcBef>
                <a:spcPct val="0"/>
              </a:spcBef>
              <a:buClrTx/>
              <a:buSzTx/>
              <a:buFontTx/>
              <a:buBlip>
                <a:blip r:embed="rId2"/>
              </a:buBlip>
            </a:pPr>
            <a:r>
              <a:rPr lang="en-IE" altLang="en-US" sz="1400">
                <a:solidFill>
                  <a:schemeClr val="tx1"/>
                </a:solidFill>
                <a:ea typeface="Arial Unicode MS" pitchFamily="34" charset="-128"/>
              </a:rPr>
              <a:t> Query (Bibliographic Data and Codes: </a:t>
            </a:r>
            <a:r>
              <a:rPr lang="en-IE" altLang="en-US" sz="1000" b="1">
                <a:solidFill>
                  <a:schemeClr val="tx1"/>
                </a:solidFill>
                <a:ea typeface="Arial Unicode MS" pitchFamily="34" charset="-128"/>
              </a:rPr>
              <a:t>Nice, Vienna, Locarno, IPC</a:t>
            </a:r>
            <a:r>
              <a:rPr lang="en-IE" altLang="en-US" sz="1400">
                <a:solidFill>
                  <a:schemeClr val="tx1"/>
                </a:solidFill>
                <a:ea typeface="Arial Unicode MS" pitchFamily="34" charset="-128"/>
              </a:rPr>
              <a:t> ) </a:t>
            </a:r>
          </a:p>
          <a:p>
            <a:pPr eaLnBrk="1" hangingPunct="1">
              <a:spcBef>
                <a:spcPct val="0"/>
              </a:spcBef>
              <a:buClrTx/>
              <a:buSzTx/>
              <a:buFontTx/>
              <a:buBlip>
                <a:blip r:embed="rId2"/>
              </a:buBlip>
            </a:pPr>
            <a:r>
              <a:rPr lang="en-IE" altLang="en-US" sz="1400">
                <a:solidFill>
                  <a:schemeClr val="tx1"/>
                </a:solidFill>
                <a:ea typeface="Arial Unicode MS" pitchFamily="34" charset="-128"/>
              </a:rPr>
              <a:t> Trademark Search Report (Including Phonetic)</a:t>
            </a:r>
          </a:p>
          <a:p>
            <a:pPr eaLnBrk="1" hangingPunct="1">
              <a:spcBef>
                <a:spcPct val="0"/>
              </a:spcBef>
              <a:buClrTx/>
              <a:buSzTx/>
              <a:buFontTx/>
              <a:buBlip>
                <a:blip r:embed="rId2"/>
              </a:buBlip>
            </a:pPr>
            <a:r>
              <a:rPr lang="en-IE" altLang="en-US" sz="1400">
                <a:solidFill>
                  <a:schemeClr val="tx1"/>
                </a:solidFill>
                <a:ea typeface="Arial Unicode MS" pitchFamily="34" charset="-128"/>
              </a:rPr>
              <a:t> Fee – Payment Recording</a:t>
            </a:r>
          </a:p>
          <a:p>
            <a:pPr eaLnBrk="1" hangingPunct="1">
              <a:spcBef>
                <a:spcPct val="0"/>
              </a:spcBef>
              <a:buClrTx/>
              <a:buSzTx/>
              <a:buFontTx/>
              <a:buBlip>
                <a:blip r:embed="rId2"/>
              </a:buBlip>
            </a:pPr>
            <a:r>
              <a:rPr lang="en-IE" altLang="en-US" sz="1400">
                <a:solidFill>
                  <a:schemeClr val="tx1"/>
                </a:solidFill>
                <a:ea typeface="Arial Unicode MS" pitchFamily="34" charset="-128"/>
              </a:rPr>
              <a:t> Document Tracking</a:t>
            </a:r>
          </a:p>
          <a:p>
            <a:pPr eaLnBrk="1" hangingPunct="1">
              <a:spcBef>
                <a:spcPct val="0"/>
              </a:spcBef>
              <a:buClrTx/>
              <a:buSzTx/>
              <a:buFontTx/>
              <a:buBlip>
                <a:blip r:embed="rId2"/>
              </a:buBlip>
            </a:pPr>
            <a:r>
              <a:rPr lang="en-IE" altLang="en-US" sz="1400">
                <a:solidFill>
                  <a:schemeClr val="tx1"/>
                </a:solidFill>
                <a:ea typeface="Arial Unicode MS" pitchFamily="34" charset="-128"/>
              </a:rPr>
              <a:t> Import International Trademark (Madrid and ARIPO)</a:t>
            </a:r>
          </a:p>
          <a:p>
            <a:pPr eaLnBrk="1" hangingPunct="1">
              <a:spcBef>
                <a:spcPct val="0"/>
              </a:spcBef>
              <a:buClrTx/>
              <a:buSzTx/>
              <a:buFontTx/>
              <a:buBlip>
                <a:blip r:embed="rId2"/>
              </a:buBlip>
            </a:pPr>
            <a:r>
              <a:rPr lang="en-IE" altLang="en-US" sz="1400">
                <a:solidFill>
                  <a:schemeClr val="tx1"/>
                </a:solidFill>
                <a:ea typeface="Arial Unicode MS" pitchFamily="34" charset="-128"/>
              </a:rPr>
              <a:t> Statistics</a:t>
            </a:r>
          </a:p>
          <a:p>
            <a:pPr eaLnBrk="1" hangingPunct="1">
              <a:spcBef>
                <a:spcPct val="0"/>
              </a:spcBef>
              <a:buClrTx/>
              <a:buSzTx/>
              <a:buFontTx/>
              <a:buBlip>
                <a:blip r:embed="rId2"/>
              </a:buBlip>
            </a:pPr>
            <a:r>
              <a:rPr lang="en-IE" altLang="en-US" sz="1400">
                <a:solidFill>
                  <a:schemeClr val="tx1"/>
                </a:solidFill>
                <a:ea typeface="Arial Unicode MS" pitchFamily="34" charset="-128"/>
              </a:rPr>
              <a:t> User-Authorization Management</a:t>
            </a:r>
          </a:p>
        </p:txBody>
      </p:sp>
      <p:sp>
        <p:nvSpPr>
          <p:cNvPr id="22537" name="Text Box 22">
            <a:extLst>
              <a:ext uri="{FF2B5EF4-FFF2-40B4-BE49-F238E27FC236}">
                <a16:creationId xmlns:a16="http://schemas.microsoft.com/office/drawing/2014/main" id="{CD18250A-7910-4B94-8788-F88E7255012F}"/>
              </a:ext>
            </a:extLst>
          </p:cNvPr>
          <p:cNvSpPr txBox="1">
            <a:spLocks noChangeArrowheads="1"/>
          </p:cNvSpPr>
          <p:nvPr/>
        </p:nvSpPr>
        <p:spPr bwMode="auto">
          <a:xfrm>
            <a:off x="5624513" y="4132263"/>
            <a:ext cx="3013075" cy="1816100"/>
          </a:xfrm>
          <a:prstGeom prst="rect">
            <a:avLst/>
          </a:prstGeom>
          <a:solidFill>
            <a:schemeClr val="bg1"/>
          </a:solidFill>
          <a:ln w="22225" cap="rnd">
            <a:solidFill>
              <a:srgbClr val="993300"/>
            </a:solidFill>
            <a:prstDash val="sysDot"/>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hangingPunct="1">
              <a:spcBef>
                <a:spcPct val="0"/>
              </a:spcBef>
              <a:buClrTx/>
              <a:buSzTx/>
              <a:buFontTx/>
              <a:buNone/>
            </a:pPr>
            <a:r>
              <a:rPr lang="en-IE" altLang="en-US" sz="1600">
                <a:solidFill>
                  <a:srgbClr val="CC00CC"/>
                </a:solidFill>
                <a:ea typeface="Arial Unicode MS" pitchFamily="34" charset="-128"/>
              </a:rPr>
              <a:t>Patents / Trademarks etc.</a:t>
            </a:r>
          </a:p>
          <a:p>
            <a:pPr eaLnBrk="1" hangingPunct="1">
              <a:spcBef>
                <a:spcPct val="0"/>
              </a:spcBef>
              <a:buClrTx/>
              <a:buSzTx/>
              <a:buFontTx/>
              <a:buNone/>
            </a:pPr>
            <a:r>
              <a:rPr lang="en-IE" altLang="en-US" sz="1600">
                <a:solidFill>
                  <a:srgbClr val="CC00CC"/>
                </a:solidFill>
                <a:ea typeface="Arial Unicode MS" pitchFamily="34" charset="-128"/>
              </a:rPr>
              <a:t>International Trademark &amp; PCT</a:t>
            </a:r>
          </a:p>
          <a:p>
            <a:pPr eaLnBrk="1" hangingPunct="1">
              <a:spcBef>
                <a:spcPct val="0"/>
              </a:spcBef>
              <a:buClrTx/>
              <a:buSzTx/>
              <a:buFontTx/>
              <a:buNone/>
            </a:pPr>
            <a:r>
              <a:rPr lang="en-IE" altLang="en-US" sz="1600">
                <a:solidFill>
                  <a:srgbClr val="CC00CC"/>
                </a:solidFill>
                <a:ea typeface="Arial Unicode MS" pitchFamily="34" charset="-128"/>
              </a:rPr>
              <a:t>Opposition</a:t>
            </a:r>
          </a:p>
          <a:p>
            <a:pPr eaLnBrk="1" hangingPunct="1">
              <a:spcBef>
                <a:spcPct val="0"/>
              </a:spcBef>
              <a:buClrTx/>
              <a:buSzTx/>
              <a:buFontTx/>
              <a:buNone/>
            </a:pPr>
            <a:r>
              <a:rPr lang="en-IE" altLang="en-US" sz="1600">
                <a:solidFill>
                  <a:srgbClr val="CC00CC"/>
                </a:solidFill>
                <a:ea typeface="Arial Unicode MS" pitchFamily="34" charset="-128"/>
              </a:rPr>
              <a:t>Registration-Record-Renewal</a:t>
            </a:r>
          </a:p>
          <a:p>
            <a:pPr eaLnBrk="1" hangingPunct="1">
              <a:spcBef>
                <a:spcPct val="0"/>
              </a:spcBef>
              <a:buClrTx/>
              <a:buSzTx/>
              <a:buFontTx/>
              <a:buNone/>
            </a:pPr>
            <a:r>
              <a:rPr lang="en-IE" altLang="en-US" sz="1600">
                <a:solidFill>
                  <a:srgbClr val="CC00CC"/>
                </a:solidFill>
                <a:ea typeface="Arial Unicode MS" pitchFamily="34" charset="-128"/>
              </a:rPr>
              <a:t>Patent</a:t>
            </a:r>
          </a:p>
          <a:p>
            <a:pPr eaLnBrk="1" hangingPunct="1">
              <a:spcBef>
                <a:spcPct val="0"/>
              </a:spcBef>
              <a:buClrTx/>
              <a:buSzTx/>
              <a:buFontTx/>
              <a:buNone/>
            </a:pPr>
            <a:r>
              <a:rPr lang="en-IE" altLang="en-US" sz="1600">
                <a:solidFill>
                  <a:srgbClr val="CC00CC"/>
                </a:solidFill>
                <a:ea typeface="Arial Unicode MS" pitchFamily="34" charset="-128"/>
              </a:rPr>
              <a:t>Industrial Design</a:t>
            </a:r>
          </a:p>
          <a:p>
            <a:pPr eaLnBrk="1" hangingPunct="1">
              <a:spcBef>
                <a:spcPct val="0"/>
              </a:spcBef>
              <a:buClrTx/>
              <a:buSzTx/>
              <a:buFontTx/>
              <a:buNone/>
            </a:pPr>
            <a:r>
              <a:rPr lang="en-IE" altLang="en-US" sz="1600">
                <a:solidFill>
                  <a:srgbClr val="CC00CC"/>
                </a:solidFill>
                <a:ea typeface="Arial Unicode MS" pitchFamily="34" charset="-128"/>
              </a:rPr>
              <a:t>Utility Model</a:t>
            </a:r>
          </a:p>
        </p:txBody>
      </p:sp>
      <p:sp>
        <p:nvSpPr>
          <p:cNvPr id="22538" name="Text Box 23">
            <a:extLst>
              <a:ext uri="{FF2B5EF4-FFF2-40B4-BE49-F238E27FC236}">
                <a16:creationId xmlns:a16="http://schemas.microsoft.com/office/drawing/2014/main" id="{61E6A363-2135-41AE-972B-E22202E79770}"/>
              </a:ext>
            </a:extLst>
          </p:cNvPr>
          <p:cNvSpPr txBox="1">
            <a:spLocks noChangeArrowheads="1"/>
          </p:cNvSpPr>
          <p:nvPr/>
        </p:nvSpPr>
        <p:spPr bwMode="auto">
          <a:xfrm>
            <a:off x="395288" y="3092450"/>
            <a:ext cx="3490912"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hangingPunct="1">
              <a:spcBef>
                <a:spcPct val="0"/>
              </a:spcBef>
              <a:buClrTx/>
              <a:buSzTx/>
              <a:buFontTx/>
              <a:buNone/>
            </a:pPr>
            <a:r>
              <a:rPr lang="en-IE" altLang="en-US" sz="1600" u="sng">
                <a:solidFill>
                  <a:srgbClr val="CC0000"/>
                </a:solidFill>
                <a:ea typeface="Arial Unicode MS" pitchFamily="34" charset="-128"/>
              </a:rPr>
              <a:t>Functionalities and Services</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a:extLst>
              <a:ext uri="{FF2B5EF4-FFF2-40B4-BE49-F238E27FC236}">
                <a16:creationId xmlns:a16="http://schemas.microsoft.com/office/drawing/2014/main" id="{1024B6EB-08F7-4CD0-935A-C9E55D840D67}"/>
              </a:ext>
            </a:extLst>
          </p:cNvPr>
          <p:cNvSpPr>
            <a:spLocks noGrp="1" noChangeArrowheads="1"/>
          </p:cNvSpPr>
          <p:nvPr>
            <p:ph type="title"/>
          </p:nvPr>
        </p:nvSpPr>
        <p:spPr/>
        <p:txBody>
          <a:bodyPr/>
          <a:lstStyle/>
          <a:p>
            <a:pPr eaLnBrk="1" hangingPunct="1"/>
            <a:r>
              <a:rPr lang="de-CH" altLang="en-US"/>
              <a:t>More IPAS Features</a:t>
            </a:r>
            <a:endParaRPr lang="en-US" altLang="en-US"/>
          </a:p>
        </p:txBody>
      </p:sp>
      <p:sp>
        <p:nvSpPr>
          <p:cNvPr id="23555" name="Rectangle 3">
            <a:extLst>
              <a:ext uri="{FF2B5EF4-FFF2-40B4-BE49-F238E27FC236}">
                <a16:creationId xmlns:a16="http://schemas.microsoft.com/office/drawing/2014/main" id="{EF8C64C2-7AB2-458E-A0BF-D7D6A2FA35DB}"/>
              </a:ext>
            </a:extLst>
          </p:cNvPr>
          <p:cNvSpPr>
            <a:spLocks noGrp="1" noChangeArrowheads="1"/>
          </p:cNvSpPr>
          <p:nvPr>
            <p:ph idx="1"/>
          </p:nvPr>
        </p:nvSpPr>
        <p:spPr>
          <a:xfrm>
            <a:off x="488950" y="1341438"/>
            <a:ext cx="7988300" cy="4546600"/>
          </a:xfrm>
        </p:spPr>
        <p:txBody>
          <a:bodyPr/>
          <a:lstStyle/>
          <a:p>
            <a:pPr eaLnBrk="1" hangingPunct="1"/>
            <a:r>
              <a:rPr lang="en-US" altLang="en-US"/>
              <a:t>Processing Renewals of trademarks and industrial designs</a:t>
            </a:r>
          </a:p>
          <a:p>
            <a:pPr eaLnBrk="1" hangingPunct="1"/>
            <a:r>
              <a:rPr lang="en-US" altLang="en-US"/>
              <a:t>Processing assignments, merger, change of name and/or address, etc…etc.</a:t>
            </a:r>
          </a:p>
          <a:p>
            <a:pPr eaLnBrk="1" hangingPunct="1"/>
            <a:r>
              <a:rPr lang="en-US" altLang="en-US"/>
              <a:t>Annuities generation and payment tracking</a:t>
            </a:r>
          </a:p>
          <a:p>
            <a:pPr eaLnBrk="1" hangingPunct="1"/>
            <a:r>
              <a:rPr lang="en-US" altLang="en-US"/>
              <a:t>Journals/Gazettes preparation</a:t>
            </a:r>
          </a:p>
          <a:p>
            <a:pPr eaLnBrk="1" hangingPunct="1"/>
            <a:r>
              <a:rPr lang="en-US" altLang="en-US"/>
              <a:t>Pre-Filing Search</a:t>
            </a:r>
          </a:p>
          <a:p>
            <a:pPr eaLnBrk="1" hangingPunct="1"/>
            <a:r>
              <a:rPr lang="en-US" altLang="en-US"/>
              <a:t>Dossier Tracking</a:t>
            </a:r>
          </a:p>
          <a:p>
            <a:pPr eaLnBrk="1" hangingPunct="1"/>
            <a:r>
              <a:rPr lang="en-US" altLang="en-US"/>
              <a:t>Productivity Report</a:t>
            </a:r>
          </a:p>
          <a:p>
            <a:pPr eaLnBrk="1" hangingPunct="1"/>
            <a:r>
              <a:rPr lang="en-US" altLang="en-US"/>
              <a:t>Yearly Statistic Report</a:t>
            </a:r>
          </a:p>
          <a:p>
            <a:pPr eaLnBrk="1" hangingPunct="1"/>
            <a:r>
              <a:rPr lang="en-US" altLang="en-US"/>
              <a:t>Linkage with electronic document management system</a:t>
            </a:r>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a:extLst>
              <a:ext uri="{FF2B5EF4-FFF2-40B4-BE49-F238E27FC236}">
                <a16:creationId xmlns:a16="http://schemas.microsoft.com/office/drawing/2014/main" id="{A0EAAE36-B2A5-410F-B752-EE8840A884C2}"/>
              </a:ext>
            </a:extLst>
          </p:cNvPr>
          <p:cNvSpPr>
            <a:spLocks noGrp="1" noChangeArrowheads="1"/>
          </p:cNvSpPr>
          <p:nvPr>
            <p:ph type="title"/>
          </p:nvPr>
        </p:nvSpPr>
        <p:spPr/>
        <p:txBody>
          <a:bodyPr/>
          <a:lstStyle/>
          <a:p>
            <a:pPr eaLnBrk="1" hangingPunct="1"/>
            <a:r>
              <a:rPr lang="de-CH" altLang="en-US"/>
              <a:t>IPAS Customzation</a:t>
            </a:r>
            <a:endParaRPr lang="en-US" altLang="en-US"/>
          </a:p>
        </p:txBody>
      </p:sp>
      <p:sp>
        <p:nvSpPr>
          <p:cNvPr id="24579" name="Rectangle 3">
            <a:extLst>
              <a:ext uri="{FF2B5EF4-FFF2-40B4-BE49-F238E27FC236}">
                <a16:creationId xmlns:a16="http://schemas.microsoft.com/office/drawing/2014/main" id="{A1D19F4A-EB66-45E0-B970-E422DF2E39D8}"/>
              </a:ext>
            </a:extLst>
          </p:cNvPr>
          <p:cNvSpPr>
            <a:spLocks noGrp="1" noChangeArrowheads="1"/>
          </p:cNvSpPr>
          <p:nvPr>
            <p:ph idx="1"/>
          </p:nvPr>
        </p:nvSpPr>
        <p:spPr>
          <a:xfrm>
            <a:off x="488950" y="1341438"/>
            <a:ext cx="7988300" cy="4546600"/>
          </a:xfrm>
        </p:spPr>
        <p:txBody>
          <a:bodyPr/>
          <a:lstStyle/>
          <a:p>
            <a:pPr eaLnBrk="1" hangingPunct="1"/>
            <a:r>
              <a:rPr lang="en-SG" altLang="en-US"/>
              <a:t>Extensive customization including: </a:t>
            </a:r>
          </a:p>
          <a:p>
            <a:pPr lvl="1" eaLnBrk="1" hangingPunct="1"/>
            <a:r>
              <a:rPr lang="en-SG" altLang="en-US"/>
              <a:t>National IP laws, Regulations / Administrative Procedures,</a:t>
            </a:r>
          </a:p>
          <a:p>
            <a:pPr lvl="1" eaLnBrk="1" hangingPunct="1"/>
            <a:r>
              <a:rPr lang="en-SG" altLang="en-US"/>
              <a:t>Workflow processes, legal time-periods and deadlines, </a:t>
            </a:r>
          </a:p>
          <a:p>
            <a:pPr lvl="1" eaLnBrk="1" hangingPunct="1"/>
            <a:r>
              <a:rPr lang="en-SG" altLang="en-US"/>
              <a:t>Templates of official correspondences (Office Notifications &amp; Letters), certificates, gazettes,</a:t>
            </a:r>
          </a:p>
          <a:p>
            <a:pPr lvl="1" eaLnBrk="1" hangingPunct="1"/>
            <a:r>
              <a:rPr lang="en-SG" altLang="en-US"/>
              <a:t>Language, terminology</a:t>
            </a:r>
          </a:p>
          <a:p>
            <a:pPr lvl="1" eaLnBrk="1" hangingPunct="1"/>
            <a:endParaRPr lang="en-SG" altLang="en-US"/>
          </a:p>
          <a:p>
            <a:pPr eaLnBrk="1" hangingPunct="1"/>
            <a:r>
              <a:rPr lang="en-SG" altLang="en-US"/>
              <a:t>No programming is required to customize IPAS</a:t>
            </a:r>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a:extLst>
              <a:ext uri="{FF2B5EF4-FFF2-40B4-BE49-F238E27FC236}">
                <a16:creationId xmlns:a16="http://schemas.microsoft.com/office/drawing/2014/main" id="{6C3A10FD-0EEC-49AA-A8AF-AF4AABBCB604}"/>
              </a:ext>
            </a:extLst>
          </p:cNvPr>
          <p:cNvSpPr>
            <a:spLocks noGrp="1" noChangeArrowheads="1"/>
          </p:cNvSpPr>
          <p:nvPr>
            <p:ph type="title"/>
          </p:nvPr>
        </p:nvSpPr>
        <p:spPr/>
        <p:txBody>
          <a:bodyPr/>
          <a:lstStyle/>
          <a:p>
            <a:r>
              <a:rPr lang="en-US" altLang="en-US"/>
              <a:t>Copyright Workflow in IPAS</a:t>
            </a:r>
            <a:endParaRPr lang="en-GB" altLang="en-US"/>
          </a:p>
        </p:txBody>
      </p:sp>
      <p:pic>
        <p:nvPicPr>
          <p:cNvPr id="26627" name="Content Placeholder 3">
            <a:extLst>
              <a:ext uri="{FF2B5EF4-FFF2-40B4-BE49-F238E27FC236}">
                <a16:creationId xmlns:a16="http://schemas.microsoft.com/office/drawing/2014/main" id="{0D13F573-55F7-40D8-B9F2-194013FF6447}"/>
              </a:ext>
            </a:extLst>
          </p:cNvPr>
          <p:cNvPicPr>
            <a:picLocks noGrp="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468313" y="1447800"/>
            <a:ext cx="8294687" cy="5334000"/>
          </a:xfr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a:extLst>
              <a:ext uri="{FF2B5EF4-FFF2-40B4-BE49-F238E27FC236}">
                <a16:creationId xmlns:a16="http://schemas.microsoft.com/office/drawing/2014/main" id="{7F6101FE-90C2-4778-ACBA-F502B0A0EA7D}"/>
              </a:ext>
            </a:extLst>
          </p:cNvPr>
          <p:cNvSpPr>
            <a:spLocks noGrp="1" noChangeArrowheads="1"/>
          </p:cNvSpPr>
          <p:nvPr>
            <p:ph type="title"/>
          </p:nvPr>
        </p:nvSpPr>
        <p:spPr>
          <a:xfrm>
            <a:off x="228600" y="404813"/>
            <a:ext cx="8467725" cy="738187"/>
          </a:xfrm>
        </p:spPr>
        <p:txBody>
          <a:bodyPr/>
          <a:lstStyle/>
          <a:p>
            <a:r>
              <a:rPr lang="en-US" altLang="en-US"/>
              <a:t>Copyright Administration in IPAS</a:t>
            </a:r>
            <a:endParaRPr lang="en-GB" altLang="en-US"/>
          </a:p>
        </p:txBody>
      </p:sp>
      <p:pic>
        <p:nvPicPr>
          <p:cNvPr id="27651" name="Content Placeholder 3">
            <a:extLst>
              <a:ext uri="{FF2B5EF4-FFF2-40B4-BE49-F238E27FC236}">
                <a16:creationId xmlns:a16="http://schemas.microsoft.com/office/drawing/2014/main" id="{FA6014D5-3EFA-4E59-85A3-503553DE3549}"/>
              </a:ext>
            </a:extLst>
          </p:cNvPr>
          <p:cNvPicPr>
            <a:picLocks noGrp="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228600" y="1344613"/>
            <a:ext cx="8610600" cy="5513387"/>
          </a:xfr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a:extLst>
              <a:ext uri="{FF2B5EF4-FFF2-40B4-BE49-F238E27FC236}">
                <a16:creationId xmlns:a16="http://schemas.microsoft.com/office/drawing/2014/main" id="{6E6EBA6F-A1A5-4B38-9396-3E074A10496B}"/>
              </a:ext>
            </a:extLst>
          </p:cNvPr>
          <p:cNvSpPr>
            <a:spLocks noGrp="1" noChangeArrowheads="1"/>
          </p:cNvSpPr>
          <p:nvPr>
            <p:ph type="title"/>
          </p:nvPr>
        </p:nvSpPr>
        <p:spPr/>
        <p:txBody>
          <a:bodyPr/>
          <a:lstStyle/>
          <a:p>
            <a:r>
              <a:rPr lang="en-US" altLang="en-US"/>
              <a:t>Copyright Office Action in IPAS</a:t>
            </a:r>
            <a:endParaRPr lang="en-GB" altLang="en-US"/>
          </a:p>
        </p:txBody>
      </p:sp>
      <p:pic>
        <p:nvPicPr>
          <p:cNvPr id="28675" name="Content Placeholder 3">
            <a:extLst>
              <a:ext uri="{FF2B5EF4-FFF2-40B4-BE49-F238E27FC236}">
                <a16:creationId xmlns:a16="http://schemas.microsoft.com/office/drawing/2014/main" id="{1F9BF530-8BDA-4E60-83C6-AF95A03D655B}"/>
              </a:ext>
            </a:extLst>
          </p:cNvPr>
          <p:cNvPicPr>
            <a:picLocks noGrp="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228600" y="1524000"/>
            <a:ext cx="8763000" cy="5257800"/>
          </a:xfr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51">
            <a:extLst>
              <a:ext uri="{FF2B5EF4-FFF2-40B4-BE49-F238E27FC236}">
                <a16:creationId xmlns:a16="http://schemas.microsoft.com/office/drawing/2014/main" id="{F2CDB47F-FA89-4EE7-A4E8-3660E1B3D40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188" y="1773238"/>
            <a:ext cx="1876425"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9699" name="Shape 17">
            <a:extLst>
              <a:ext uri="{FF2B5EF4-FFF2-40B4-BE49-F238E27FC236}">
                <a16:creationId xmlns:a16="http://schemas.microsoft.com/office/drawing/2014/main" id="{F4FC7A9F-6528-45B7-90B0-BA7AB63B25DA}"/>
              </a:ext>
            </a:extLst>
          </p:cNvPr>
          <p:cNvCxnSpPr>
            <a:cxnSpLocks noChangeShapeType="1"/>
            <a:endCxn id="29704" idx="2"/>
          </p:cNvCxnSpPr>
          <p:nvPr/>
        </p:nvCxnSpPr>
        <p:spPr bwMode="auto">
          <a:xfrm rot="10800000">
            <a:off x="954088" y="2611438"/>
            <a:ext cx="4481512" cy="1681162"/>
          </a:xfrm>
          <a:prstGeom prst="bentConnector2">
            <a:avLst/>
          </a:prstGeom>
          <a:noFill/>
          <a:ln w="38100" algn="ctr">
            <a:solidFill>
              <a:schemeClr val="tx1"/>
            </a:solidFill>
            <a:round/>
            <a:headEnd/>
            <a:tailEnd type="triangle" w="lg" len="lg"/>
          </a:ln>
          <a:extLst>
            <a:ext uri="{909E8E84-426E-40DD-AFC4-6F175D3DCCD1}">
              <a14:hiddenFill xmlns:a14="http://schemas.microsoft.com/office/drawing/2010/main">
                <a:noFill/>
              </a14:hiddenFill>
            </a:ext>
          </a:extLst>
        </p:spPr>
      </p:cxnSp>
      <p:sp>
        <p:nvSpPr>
          <p:cNvPr id="3" name="Rectangle 2">
            <a:extLst>
              <a:ext uri="{FF2B5EF4-FFF2-40B4-BE49-F238E27FC236}">
                <a16:creationId xmlns:a16="http://schemas.microsoft.com/office/drawing/2014/main" id="{5946D3DA-2339-43F7-968D-826CD5FFA76A}"/>
              </a:ext>
            </a:extLst>
          </p:cNvPr>
          <p:cNvSpPr txBox="1">
            <a:spLocks noChangeArrowheads="1"/>
          </p:cNvSpPr>
          <p:nvPr/>
        </p:nvSpPr>
        <p:spPr bwMode="auto">
          <a:xfrm>
            <a:off x="138113" y="79375"/>
            <a:ext cx="8929687" cy="941388"/>
          </a:xfrm>
          <a:prstGeom prst="rect">
            <a:avLst/>
          </a:prstGeom>
          <a:noFill/>
          <a:ln w="9525">
            <a:noFill/>
            <a:miter lim="800000"/>
            <a:headEnd/>
            <a:tailEnd/>
          </a:ln>
        </p:spPr>
        <p:txBody>
          <a:bodyPr anchor="ctr"/>
          <a:lstStyle/>
          <a:p>
            <a:pPr defTabSz="914400" eaLnBrk="1" hangingPunct="1">
              <a:defRPr/>
            </a:pPr>
            <a:r>
              <a:rPr lang="de-CH" sz="3600" kern="0" dirty="0">
                <a:solidFill>
                  <a:srgbClr val="00408C"/>
                </a:solidFill>
                <a:latin typeface="+mj-lt"/>
                <a:ea typeface="+mj-ea"/>
                <a:cs typeface="+mj-cs"/>
              </a:rPr>
              <a:t>WIPO File PCT National Phase Integration</a:t>
            </a:r>
            <a:endParaRPr lang="en-US" sz="3600" kern="0" dirty="0">
              <a:solidFill>
                <a:srgbClr val="00408C"/>
              </a:solidFill>
              <a:latin typeface="+mj-lt"/>
              <a:ea typeface="+mj-ea"/>
              <a:cs typeface="+mj-cs"/>
            </a:endParaRPr>
          </a:p>
        </p:txBody>
      </p:sp>
      <p:sp>
        <p:nvSpPr>
          <p:cNvPr id="5" name="Cloud">
            <a:extLst>
              <a:ext uri="{FF2B5EF4-FFF2-40B4-BE49-F238E27FC236}">
                <a16:creationId xmlns:a16="http://schemas.microsoft.com/office/drawing/2014/main" id="{2333CC24-715C-49FD-852E-6118EC5634A8}"/>
              </a:ext>
            </a:extLst>
          </p:cNvPr>
          <p:cNvSpPr>
            <a:spLocks noChangeAspect="1" noEditPoints="1" noChangeArrowheads="1"/>
          </p:cNvSpPr>
          <p:nvPr/>
        </p:nvSpPr>
        <p:spPr bwMode="auto">
          <a:xfrm>
            <a:off x="3348038" y="3987800"/>
            <a:ext cx="990600" cy="665163"/>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BE7D"/>
          </a:solidFill>
          <a:ln w="9525">
            <a:solidFill>
              <a:srgbClr val="000000"/>
            </a:solidFill>
            <a:miter lim="800000"/>
            <a:headEnd/>
            <a:tailEnd/>
          </a:ln>
          <a:effectLst>
            <a:outerShdw dist="107763" dir="2700000" algn="ctr" rotWithShape="0">
              <a:srgbClr val="808080"/>
            </a:outerShdw>
          </a:effectLst>
        </p:spPr>
        <p:txBody>
          <a:bodyPr/>
          <a:lstStyle/>
          <a:p>
            <a:pPr>
              <a:defRPr/>
            </a:pPr>
            <a:endParaRPr lang="en-SG">
              <a:ea typeface="ヒラギノ角ゴ Pro W3" pitchFamily="1" charset="-128"/>
              <a:cs typeface="+mn-cs"/>
            </a:endParaRPr>
          </a:p>
        </p:txBody>
      </p:sp>
      <p:sp>
        <p:nvSpPr>
          <p:cNvPr id="29702" name="Text Box 49">
            <a:extLst>
              <a:ext uri="{FF2B5EF4-FFF2-40B4-BE49-F238E27FC236}">
                <a16:creationId xmlns:a16="http://schemas.microsoft.com/office/drawing/2014/main" id="{C0A0338A-4764-4A67-80F5-CA319BEB2E49}"/>
              </a:ext>
            </a:extLst>
          </p:cNvPr>
          <p:cNvSpPr txBox="1">
            <a:spLocks noChangeArrowheads="1"/>
          </p:cNvSpPr>
          <p:nvPr/>
        </p:nvSpPr>
        <p:spPr bwMode="auto">
          <a:xfrm>
            <a:off x="3419475" y="4140200"/>
            <a:ext cx="833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1400" b="1"/>
              <a:t>Internet</a:t>
            </a:r>
          </a:p>
        </p:txBody>
      </p:sp>
      <p:sp>
        <p:nvSpPr>
          <p:cNvPr id="8" name="Cube 7">
            <a:extLst>
              <a:ext uri="{FF2B5EF4-FFF2-40B4-BE49-F238E27FC236}">
                <a16:creationId xmlns:a16="http://schemas.microsoft.com/office/drawing/2014/main" id="{F9EB9FF0-4A5B-4C21-BE19-F7D17DA7AA8A}"/>
              </a:ext>
            </a:extLst>
          </p:cNvPr>
          <p:cNvSpPr/>
          <p:nvPr/>
        </p:nvSpPr>
        <p:spPr bwMode="auto">
          <a:xfrm>
            <a:off x="1355576" y="2646020"/>
            <a:ext cx="1152129" cy="576064"/>
          </a:xfrm>
          <a:prstGeom prst="cube">
            <a:avLst>
              <a:gd name="adj" fmla="val 13777"/>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05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Reception Module</a:t>
            </a:r>
            <a:endParaRPr lang="en-SG" sz="50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endParaRPr>
          </a:p>
        </p:txBody>
      </p:sp>
      <p:pic>
        <p:nvPicPr>
          <p:cNvPr id="29704" name="Picture 5">
            <a:extLst>
              <a:ext uri="{FF2B5EF4-FFF2-40B4-BE49-F238E27FC236}">
                <a16:creationId xmlns:a16="http://schemas.microsoft.com/office/drawing/2014/main" id="{A961FF42-22BB-4D27-ACAA-6453DCAE4D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7388" y="2154238"/>
            <a:ext cx="5334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0" name="Cube 9">
            <a:extLst>
              <a:ext uri="{FF2B5EF4-FFF2-40B4-BE49-F238E27FC236}">
                <a16:creationId xmlns:a16="http://schemas.microsoft.com/office/drawing/2014/main" id="{6C67C1E3-E24B-4135-A9F7-8041F201F865}"/>
              </a:ext>
            </a:extLst>
          </p:cNvPr>
          <p:cNvSpPr/>
          <p:nvPr/>
        </p:nvSpPr>
        <p:spPr bwMode="auto">
          <a:xfrm>
            <a:off x="708968" y="4005064"/>
            <a:ext cx="1798713" cy="720080"/>
          </a:xfrm>
          <a:prstGeom prst="cube">
            <a:avLst>
              <a:gd name="adj" fmla="val 13777"/>
            </a:avLst>
          </a:prstGeom>
          <a:solidFill>
            <a:srgbClr val="0070C0"/>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05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PCT National Phase Download</a:t>
            </a:r>
            <a:endParaRPr lang="en-SG" sz="50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endParaRPr>
          </a:p>
        </p:txBody>
      </p:sp>
      <p:cxnSp>
        <p:nvCxnSpPr>
          <p:cNvPr id="29706" name="Straight Connector 19">
            <a:extLst>
              <a:ext uri="{FF2B5EF4-FFF2-40B4-BE49-F238E27FC236}">
                <a16:creationId xmlns:a16="http://schemas.microsoft.com/office/drawing/2014/main" id="{ADBF212F-9110-477B-A1CD-8AA97570798D}"/>
              </a:ext>
            </a:extLst>
          </p:cNvPr>
          <p:cNvCxnSpPr>
            <a:cxnSpLocks noChangeShapeType="1"/>
          </p:cNvCxnSpPr>
          <p:nvPr/>
        </p:nvCxnSpPr>
        <p:spPr bwMode="auto">
          <a:xfrm>
            <a:off x="2987675" y="1052513"/>
            <a:ext cx="0" cy="5113337"/>
          </a:xfrm>
          <a:prstGeom prst="line">
            <a:avLst/>
          </a:prstGeom>
          <a:noFill/>
          <a:ln w="9525"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9707" name="Straight Connector 20">
            <a:extLst>
              <a:ext uri="{FF2B5EF4-FFF2-40B4-BE49-F238E27FC236}">
                <a16:creationId xmlns:a16="http://schemas.microsoft.com/office/drawing/2014/main" id="{1396C7D4-2CD5-4803-AB67-6E133A5788B3}"/>
              </a:ext>
            </a:extLst>
          </p:cNvPr>
          <p:cNvCxnSpPr>
            <a:cxnSpLocks noChangeShapeType="1"/>
          </p:cNvCxnSpPr>
          <p:nvPr/>
        </p:nvCxnSpPr>
        <p:spPr bwMode="auto">
          <a:xfrm>
            <a:off x="4716463" y="1052513"/>
            <a:ext cx="0" cy="5113337"/>
          </a:xfrm>
          <a:prstGeom prst="line">
            <a:avLst/>
          </a:prstGeom>
          <a:noFill/>
          <a:ln w="9525"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29708" name="TextBox 21">
            <a:extLst>
              <a:ext uri="{FF2B5EF4-FFF2-40B4-BE49-F238E27FC236}">
                <a16:creationId xmlns:a16="http://schemas.microsoft.com/office/drawing/2014/main" id="{4752AFB8-72F9-4AEF-8198-5B1BD7FA621C}"/>
              </a:ext>
            </a:extLst>
          </p:cNvPr>
          <p:cNvSpPr txBox="1">
            <a:spLocks noChangeArrowheads="1"/>
          </p:cNvSpPr>
          <p:nvPr/>
        </p:nvSpPr>
        <p:spPr bwMode="auto">
          <a:xfrm>
            <a:off x="2587625" y="5084763"/>
            <a:ext cx="400050" cy="1081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a:spAutoFit/>
          </a:bodyPr>
          <a:lstStyle/>
          <a:p>
            <a:r>
              <a:rPr lang="en-SG" altLang="en-US" sz="1400" b="1"/>
              <a:t>IP OFFICE</a:t>
            </a:r>
          </a:p>
        </p:txBody>
      </p:sp>
      <p:sp>
        <p:nvSpPr>
          <p:cNvPr id="29709" name="TextBox 22">
            <a:extLst>
              <a:ext uri="{FF2B5EF4-FFF2-40B4-BE49-F238E27FC236}">
                <a16:creationId xmlns:a16="http://schemas.microsoft.com/office/drawing/2014/main" id="{2B15C3F4-EF42-4A4A-81BF-53967A796362}"/>
              </a:ext>
            </a:extLst>
          </p:cNvPr>
          <p:cNvSpPr txBox="1">
            <a:spLocks noChangeArrowheads="1"/>
          </p:cNvSpPr>
          <p:nvPr/>
        </p:nvSpPr>
        <p:spPr bwMode="auto">
          <a:xfrm>
            <a:off x="4787900" y="5084763"/>
            <a:ext cx="400050" cy="1081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a:spAutoFit/>
          </a:bodyPr>
          <a:lstStyle/>
          <a:p>
            <a:r>
              <a:rPr lang="en-SG" altLang="en-US" sz="1400" b="1"/>
              <a:t>WIPO</a:t>
            </a:r>
          </a:p>
        </p:txBody>
      </p:sp>
      <p:pic>
        <p:nvPicPr>
          <p:cNvPr id="29710" name="Picture 3">
            <a:extLst>
              <a:ext uri="{FF2B5EF4-FFF2-40B4-BE49-F238E27FC236}">
                <a16:creationId xmlns:a16="http://schemas.microsoft.com/office/drawing/2014/main" id="{FAC55116-17D7-4F5D-8682-8CB5587F19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5600" y="3852863"/>
            <a:ext cx="3409950" cy="8001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2">
            <a:extLst>
              <a:ext uri="{FF2B5EF4-FFF2-40B4-BE49-F238E27FC236}">
                <a16:creationId xmlns:a16="http://schemas.microsoft.com/office/drawing/2014/main" id="{E2DBDB2A-09B4-43E4-904E-D8C703ADE13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925" y="609600"/>
            <a:ext cx="9109075" cy="617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23" name="Title 1">
            <a:extLst>
              <a:ext uri="{FF2B5EF4-FFF2-40B4-BE49-F238E27FC236}">
                <a16:creationId xmlns:a16="http://schemas.microsoft.com/office/drawing/2014/main" id="{A0A13CC0-E93D-43B7-B025-27924F8FD0BB}"/>
              </a:ext>
            </a:extLst>
          </p:cNvPr>
          <p:cNvSpPr>
            <a:spLocks noGrp="1" noChangeArrowheads="1"/>
          </p:cNvSpPr>
          <p:nvPr>
            <p:ph type="title"/>
          </p:nvPr>
        </p:nvSpPr>
        <p:spPr>
          <a:xfrm>
            <a:off x="34925" y="76200"/>
            <a:ext cx="8229600" cy="533400"/>
          </a:xfrm>
        </p:spPr>
        <p:txBody>
          <a:bodyPr/>
          <a:lstStyle/>
          <a:p>
            <a:pPr eaLnBrk="1" hangingPunct="1"/>
            <a:r>
              <a:rPr lang="en-US" altLang="en-US"/>
              <a:t>IP Records in IPAS</a:t>
            </a:r>
            <a:endParaRPr lang="en-SG" alt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Box 1">
            <a:extLst>
              <a:ext uri="{FF2B5EF4-FFF2-40B4-BE49-F238E27FC236}">
                <a16:creationId xmlns:a16="http://schemas.microsoft.com/office/drawing/2014/main" id="{561317E0-BD9B-4A36-A258-0945A36AD0DB}"/>
              </a:ext>
            </a:extLst>
          </p:cNvPr>
          <p:cNvSpPr txBox="1">
            <a:spLocks noChangeArrowheads="1"/>
          </p:cNvSpPr>
          <p:nvPr/>
        </p:nvSpPr>
        <p:spPr bwMode="auto">
          <a:xfrm>
            <a:off x="152400" y="1066800"/>
            <a:ext cx="8534400" cy="4953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lvl1pPr marL="331788" indent="-331788">
              <a:spcBef>
                <a:spcPts val="550"/>
              </a:spcBef>
              <a:buClr>
                <a:srgbClr val="000000"/>
              </a:buClr>
              <a:buSzPct val="100000"/>
              <a:buFont typeface="Times New Roman" panose="02020603050405020304" pitchFamily="18" charset="0"/>
              <a:tabLst>
                <a:tab pos="331788" algn="l"/>
                <a:tab pos="779463" algn="l"/>
                <a:tab pos="1228725" algn="l"/>
                <a:tab pos="1677988" algn="l"/>
                <a:tab pos="2127250" algn="l"/>
                <a:tab pos="2576513" algn="l"/>
                <a:tab pos="3025775" algn="l"/>
                <a:tab pos="3475038" algn="l"/>
                <a:tab pos="3924300" algn="l"/>
                <a:tab pos="4373563" algn="l"/>
                <a:tab pos="4822825" algn="l"/>
                <a:tab pos="5272088" algn="l"/>
                <a:tab pos="5721350" algn="l"/>
                <a:tab pos="6170613" algn="l"/>
                <a:tab pos="6619875" algn="l"/>
                <a:tab pos="7069138" algn="l"/>
                <a:tab pos="7518400" algn="l"/>
                <a:tab pos="7967663" algn="l"/>
                <a:tab pos="8416925" algn="l"/>
                <a:tab pos="8866188" algn="l"/>
                <a:tab pos="9315450"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331788" algn="l"/>
                <a:tab pos="779463" algn="l"/>
                <a:tab pos="1228725" algn="l"/>
                <a:tab pos="1677988" algn="l"/>
                <a:tab pos="2127250" algn="l"/>
                <a:tab pos="2576513" algn="l"/>
                <a:tab pos="3025775" algn="l"/>
                <a:tab pos="3475038" algn="l"/>
                <a:tab pos="3924300" algn="l"/>
                <a:tab pos="4373563" algn="l"/>
                <a:tab pos="4822825" algn="l"/>
                <a:tab pos="5272088" algn="l"/>
                <a:tab pos="5721350" algn="l"/>
                <a:tab pos="6170613" algn="l"/>
                <a:tab pos="6619875" algn="l"/>
                <a:tab pos="7069138" algn="l"/>
                <a:tab pos="7518400" algn="l"/>
                <a:tab pos="7967663" algn="l"/>
                <a:tab pos="8416925" algn="l"/>
                <a:tab pos="8866188" algn="l"/>
                <a:tab pos="9315450"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331788" algn="l"/>
                <a:tab pos="779463" algn="l"/>
                <a:tab pos="1228725" algn="l"/>
                <a:tab pos="1677988" algn="l"/>
                <a:tab pos="2127250" algn="l"/>
                <a:tab pos="2576513" algn="l"/>
                <a:tab pos="3025775" algn="l"/>
                <a:tab pos="3475038" algn="l"/>
                <a:tab pos="3924300" algn="l"/>
                <a:tab pos="4373563" algn="l"/>
                <a:tab pos="4822825" algn="l"/>
                <a:tab pos="5272088" algn="l"/>
                <a:tab pos="5721350" algn="l"/>
                <a:tab pos="6170613" algn="l"/>
                <a:tab pos="6619875" algn="l"/>
                <a:tab pos="7069138" algn="l"/>
                <a:tab pos="7518400" algn="l"/>
                <a:tab pos="7967663" algn="l"/>
                <a:tab pos="8416925" algn="l"/>
                <a:tab pos="8866188" algn="l"/>
                <a:tab pos="9315450"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331788" algn="l"/>
                <a:tab pos="779463" algn="l"/>
                <a:tab pos="1228725" algn="l"/>
                <a:tab pos="1677988" algn="l"/>
                <a:tab pos="2127250" algn="l"/>
                <a:tab pos="2576513" algn="l"/>
                <a:tab pos="3025775" algn="l"/>
                <a:tab pos="3475038" algn="l"/>
                <a:tab pos="3924300" algn="l"/>
                <a:tab pos="4373563" algn="l"/>
                <a:tab pos="4822825" algn="l"/>
                <a:tab pos="5272088" algn="l"/>
                <a:tab pos="5721350" algn="l"/>
                <a:tab pos="6170613" algn="l"/>
                <a:tab pos="6619875" algn="l"/>
                <a:tab pos="7069138" algn="l"/>
                <a:tab pos="7518400" algn="l"/>
                <a:tab pos="7967663" algn="l"/>
                <a:tab pos="8416925" algn="l"/>
                <a:tab pos="8866188" algn="l"/>
                <a:tab pos="9315450"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331788" algn="l"/>
                <a:tab pos="779463" algn="l"/>
                <a:tab pos="1228725" algn="l"/>
                <a:tab pos="1677988" algn="l"/>
                <a:tab pos="2127250" algn="l"/>
                <a:tab pos="2576513" algn="l"/>
                <a:tab pos="3025775" algn="l"/>
                <a:tab pos="3475038" algn="l"/>
                <a:tab pos="3924300" algn="l"/>
                <a:tab pos="4373563" algn="l"/>
                <a:tab pos="4822825" algn="l"/>
                <a:tab pos="5272088" algn="l"/>
                <a:tab pos="5721350" algn="l"/>
                <a:tab pos="6170613" algn="l"/>
                <a:tab pos="6619875" algn="l"/>
                <a:tab pos="7069138" algn="l"/>
                <a:tab pos="7518400" algn="l"/>
                <a:tab pos="7967663" algn="l"/>
                <a:tab pos="8416925" algn="l"/>
                <a:tab pos="8866188" algn="l"/>
                <a:tab pos="9315450"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331788" algn="l"/>
                <a:tab pos="779463" algn="l"/>
                <a:tab pos="1228725" algn="l"/>
                <a:tab pos="1677988" algn="l"/>
                <a:tab pos="2127250" algn="l"/>
                <a:tab pos="2576513" algn="l"/>
                <a:tab pos="3025775" algn="l"/>
                <a:tab pos="3475038" algn="l"/>
                <a:tab pos="3924300" algn="l"/>
                <a:tab pos="4373563" algn="l"/>
                <a:tab pos="4822825" algn="l"/>
                <a:tab pos="5272088" algn="l"/>
                <a:tab pos="5721350" algn="l"/>
                <a:tab pos="6170613" algn="l"/>
                <a:tab pos="6619875" algn="l"/>
                <a:tab pos="7069138" algn="l"/>
                <a:tab pos="7518400" algn="l"/>
                <a:tab pos="7967663" algn="l"/>
                <a:tab pos="8416925" algn="l"/>
                <a:tab pos="8866188" algn="l"/>
                <a:tab pos="9315450"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331788" algn="l"/>
                <a:tab pos="779463" algn="l"/>
                <a:tab pos="1228725" algn="l"/>
                <a:tab pos="1677988" algn="l"/>
                <a:tab pos="2127250" algn="l"/>
                <a:tab pos="2576513" algn="l"/>
                <a:tab pos="3025775" algn="l"/>
                <a:tab pos="3475038" algn="l"/>
                <a:tab pos="3924300" algn="l"/>
                <a:tab pos="4373563" algn="l"/>
                <a:tab pos="4822825" algn="l"/>
                <a:tab pos="5272088" algn="l"/>
                <a:tab pos="5721350" algn="l"/>
                <a:tab pos="6170613" algn="l"/>
                <a:tab pos="6619875" algn="l"/>
                <a:tab pos="7069138" algn="l"/>
                <a:tab pos="7518400" algn="l"/>
                <a:tab pos="7967663" algn="l"/>
                <a:tab pos="8416925" algn="l"/>
                <a:tab pos="8866188" algn="l"/>
                <a:tab pos="9315450"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331788" algn="l"/>
                <a:tab pos="779463" algn="l"/>
                <a:tab pos="1228725" algn="l"/>
                <a:tab pos="1677988" algn="l"/>
                <a:tab pos="2127250" algn="l"/>
                <a:tab pos="2576513" algn="l"/>
                <a:tab pos="3025775" algn="l"/>
                <a:tab pos="3475038" algn="l"/>
                <a:tab pos="3924300" algn="l"/>
                <a:tab pos="4373563" algn="l"/>
                <a:tab pos="4822825" algn="l"/>
                <a:tab pos="5272088" algn="l"/>
                <a:tab pos="5721350" algn="l"/>
                <a:tab pos="6170613" algn="l"/>
                <a:tab pos="6619875" algn="l"/>
                <a:tab pos="7069138" algn="l"/>
                <a:tab pos="7518400" algn="l"/>
                <a:tab pos="7967663" algn="l"/>
                <a:tab pos="8416925" algn="l"/>
                <a:tab pos="8866188" algn="l"/>
                <a:tab pos="9315450"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331788" algn="l"/>
                <a:tab pos="779463" algn="l"/>
                <a:tab pos="1228725" algn="l"/>
                <a:tab pos="1677988" algn="l"/>
                <a:tab pos="2127250" algn="l"/>
                <a:tab pos="2576513" algn="l"/>
                <a:tab pos="3025775" algn="l"/>
                <a:tab pos="3475038" algn="l"/>
                <a:tab pos="3924300" algn="l"/>
                <a:tab pos="4373563" algn="l"/>
                <a:tab pos="4822825" algn="l"/>
                <a:tab pos="5272088" algn="l"/>
                <a:tab pos="5721350" algn="l"/>
                <a:tab pos="6170613" algn="l"/>
                <a:tab pos="6619875" algn="l"/>
                <a:tab pos="7069138" algn="l"/>
                <a:tab pos="7518400" algn="l"/>
                <a:tab pos="7967663" algn="l"/>
                <a:tab pos="8416925" algn="l"/>
                <a:tab pos="8866188" algn="l"/>
                <a:tab pos="9315450" algn="l"/>
              </a:tabLst>
              <a:defRPr sz="2200">
                <a:solidFill>
                  <a:srgbClr val="000000"/>
                </a:solidFill>
                <a:latin typeface="Arial" panose="020B0604020202020204" pitchFamily="34" charset="0"/>
                <a:ea typeface="ヒラギノ角ゴ Pro W3"/>
                <a:cs typeface="ヒラギノ角ゴ Pro W3"/>
              </a:defRPr>
            </a:lvl9pPr>
          </a:lstStyle>
          <a:p>
            <a:pPr lvl="1" eaLnBrk="1" hangingPunct="1">
              <a:spcBef>
                <a:spcPts val="1200"/>
              </a:spcBef>
              <a:buFont typeface="Times New Roman" panose="02020603050405020304" pitchFamily="18" charset="0"/>
              <a:buBlip>
                <a:blip r:embed="rId3"/>
              </a:buBlip>
            </a:pPr>
            <a:r>
              <a:rPr lang="en-US" altLang="en-US" sz="3200">
                <a:cs typeface="Arial" panose="020B0604020202020204" pitchFamily="34" charset="0"/>
              </a:rPr>
              <a:t> Before IPO Digital Transformation</a:t>
            </a:r>
          </a:p>
          <a:p>
            <a:pPr lvl="1" eaLnBrk="1" hangingPunct="1">
              <a:spcBef>
                <a:spcPts val="1200"/>
              </a:spcBef>
              <a:buFont typeface="Times New Roman" panose="02020603050405020304" pitchFamily="18" charset="0"/>
              <a:buBlip>
                <a:blip r:embed="rId3"/>
              </a:buBlip>
            </a:pPr>
            <a:r>
              <a:rPr lang="en-US" altLang="en-US" sz="3200">
                <a:cs typeface="Arial" panose="020B0604020202020204" pitchFamily="34" charset="0"/>
              </a:rPr>
              <a:t> WIPO Solutions – Products and Services</a:t>
            </a:r>
          </a:p>
          <a:p>
            <a:pPr lvl="1" eaLnBrk="1" hangingPunct="1">
              <a:spcBef>
                <a:spcPts val="1200"/>
              </a:spcBef>
              <a:buFont typeface="Times New Roman" panose="02020603050405020304" pitchFamily="18" charset="0"/>
              <a:buBlip>
                <a:blip r:embed="rId3"/>
              </a:buBlip>
            </a:pPr>
            <a:r>
              <a:rPr lang="en-US" altLang="en-US" sz="3200">
                <a:cs typeface="Arial" panose="020B0604020202020204" pitchFamily="34" charset="0"/>
              </a:rPr>
              <a:t> IP Office Digital Transformation</a:t>
            </a:r>
          </a:p>
          <a:p>
            <a:pPr lvl="1" eaLnBrk="1" hangingPunct="1">
              <a:spcBef>
                <a:spcPts val="1200"/>
              </a:spcBef>
              <a:buFont typeface="Times New Roman" panose="02020603050405020304" pitchFamily="18" charset="0"/>
              <a:buBlip>
                <a:blip r:embed="rId3"/>
              </a:buBlip>
            </a:pPr>
            <a:r>
              <a:rPr lang="en-US" altLang="en-US" sz="3200">
                <a:solidFill>
                  <a:schemeClr val="tx1"/>
                </a:solidFill>
                <a:cs typeface="Arial" panose="020B0604020202020204" pitchFamily="34" charset="0"/>
              </a:rPr>
              <a:t> What is IPAS?</a:t>
            </a:r>
          </a:p>
          <a:p>
            <a:pPr lvl="1" eaLnBrk="1" hangingPunct="1">
              <a:spcBef>
                <a:spcPts val="1200"/>
              </a:spcBef>
              <a:buFont typeface="Times New Roman" panose="02020603050405020304" pitchFamily="18" charset="0"/>
              <a:buBlip>
                <a:blip r:embed="rId3"/>
              </a:buBlip>
            </a:pPr>
            <a:r>
              <a:rPr lang="en-US" altLang="en-US" sz="3200">
                <a:solidFill>
                  <a:schemeClr val="tx1"/>
                </a:solidFill>
                <a:cs typeface="Arial" panose="020B0604020202020204" pitchFamily="34" charset="0"/>
              </a:rPr>
              <a:t> What is WIPO File?</a:t>
            </a:r>
          </a:p>
          <a:p>
            <a:pPr lvl="1" eaLnBrk="1" hangingPunct="1">
              <a:spcBef>
                <a:spcPts val="1200"/>
              </a:spcBef>
              <a:buFont typeface="Times New Roman" panose="02020603050405020304" pitchFamily="18" charset="0"/>
              <a:buBlip>
                <a:blip r:embed="rId3"/>
              </a:buBlip>
            </a:pPr>
            <a:r>
              <a:rPr lang="en-US" altLang="en-US" sz="3200">
                <a:solidFill>
                  <a:schemeClr val="tx1"/>
                </a:solidFill>
                <a:cs typeface="Arial" panose="020B0604020202020204" pitchFamily="34" charset="0"/>
              </a:rPr>
              <a:t> What is WIPO Publish?</a:t>
            </a:r>
          </a:p>
          <a:p>
            <a:pPr lvl="1" eaLnBrk="1" hangingPunct="1">
              <a:spcBef>
                <a:spcPts val="1200"/>
              </a:spcBef>
              <a:buFont typeface="Times New Roman" panose="02020603050405020304" pitchFamily="18" charset="0"/>
              <a:buBlip>
                <a:blip r:embed="rId3"/>
              </a:buBlip>
            </a:pPr>
            <a:r>
              <a:rPr lang="en-US" altLang="en-US" sz="3200">
                <a:solidFill>
                  <a:schemeClr val="tx1"/>
                </a:solidFill>
                <a:cs typeface="Arial" panose="020B0604020202020204" pitchFamily="34" charset="0"/>
              </a:rPr>
              <a:t> What is IPAS Madrid Module?</a:t>
            </a:r>
          </a:p>
          <a:p>
            <a:pPr lvl="1" eaLnBrk="1" hangingPunct="1">
              <a:spcBef>
                <a:spcPts val="1200"/>
              </a:spcBef>
              <a:buFont typeface="Times New Roman" panose="02020603050405020304" pitchFamily="18" charset="0"/>
              <a:buBlip>
                <a:blip r:embed="rId3"/>
              </a:buBlip>
            </a:pPr>
            <a:r>
              <a:rPr lang="en-US" altLang="en-US" sz="3200">
                <a:solidFill>
                  <a:schemeClr val="tx1"/>
                </a:solidFill>
                <a:cs typeface="Arial" panose="020B0604020202020204" pitchFamily="34" charset="0"/>
              </a:rPr>
              <a:t> What is ARIPO Member States Module?</a:t>
            </a:r>
          </a:p>
          <a:p>
            <a:pPr lvl="1" eaLnBrk="1" hangingPunct="1">
              <a:spcBef>
                <a:spcPts val="1200"/>
              </a:spcBef>
              <a:buFont typeface="Times New Roman" panose="02020603050405020304" pitchFamily="18" charset="0"/>
              <a:buBlip>
                <a:blip r:embed="rId3"/>
              </a:buBlip>
            </a:pPr>
            <a:endParaRPr lang="en-US" altLang="en-US" sz="3200">
              <a:solidFill>
                <a:schemeClr val="tx1"/>
              </a:solidFill>
              <a:cs typeface="Arial" panose="020B0604020202020204" pitchFamily="34" charset="0"/>
            </a:endParaRPr>
          </a:p>
          <a:p>
            <a:pPr lvl="1" eaLnBrk="1" hangingPunct="1">
              <a:spcBef>
                <a:spcPts val="1200"/>
              </a:spcBef>
              <a:buFont typeface="Times New Roman" panose="02020603050405020304" pitchFamily="18" charset="0"/>
              <a:buBlip>
                <a:blip r:embed="rId3"/>
              </a:buBlip>
            </a:pPr>
            <a:endParaRPr lang="en-US" altLang="en-US" sz="3200">
              <a:solidFill>
                <a:schemeClr val="tx1"/>
              </a:solidFill>
              <a:cs typeface="Arial" panose="020B0604020202020204" pitchFamily="34" charset="0"/>
            </a:endParaRPr>
          </a:p>
        </p:txBody>
      </p:sp>
      <p:sp>
        <p:nvSpPr>
          <p:cNvPr id="7171" name="Text Box 2">
            <a:extLst>
              <a:ext uri="{FF2B5EF4-FFF2-40B4-BE49-F238E27FC236}">
                <a16:creationId xmlns:a16="http://schemas.microsoft.com/office/drawing/2014/main" id="{47755C17-D159-4F0C-A343-351C549EE5E0}"/>
              </a:ext>
            </a:extLst>
          </p:cNvPr>
          <p:cNvSpPr txBox="1">
            <a:spLocks noChangeArrowheads="1"/>
          </p:cNvSpPr>
          <p:nvPr/>
        </p:nvSpPr>
        <p:spPr bwMode="auto">
          <a:xfrm>
            <a:off x="638175" y="160338"/>
            <a:ext cx="8534400" cy="7921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nchor="ctr"/>
          <a:lstStyle>
            <a:lvl1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9pPr>
          </a:lstStyle>
          <a:p>
            <a:pPr algn="ctr">
              <a:spcBef>
                <a:spcPct val="0"/>
              </a:spcBef>
              <a:buClrTx/>
              <a:buFontTx/>
              <a:buNone/>
            </a:pPr>
            <a:r>
              <a:rPr lang="en-US" altLang="en-US" sz="3600" b="1">
                <a:solidFill>
                  <a:srgbClr val="00408C"/>
                </a:solidFill>
                <a:cs typeface="Arial" panose="020B0604020202020204" pitchFamily="34" charset="0"/>
              </a:rPr>
              <a:t>Agenda</a:t>
            </a:r>
          </a:p>
        </p:txBody>
      </p:sp>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ext Box 2">
            <a:extLst>
              <a:ext uri="{FF2B5EF4-FFF2-40B4-BE49-F238E27FC236}">
                <a16:creationId xmlns:a16="http://schemas.microsoft.com/office/drawing/2014/main" id="{973F7ED3-BBE8-4088-A717-E1E3E6FDBCED}"/>
              </a:ext>
            </a:extLst>
          </p:cNvPr>
          <p:cNvSpPr txBox="1">
            <a:spLocks noChangeArrowheads="1"/>
          </p:cNvSpPr>
          <p:nvPr/>
        </p:nvSpPr>
        <p:spPr bwMode="auto">
          <a:xfrm>
            <a:off x="304800" y="274638"/>
            <a:ext cx="8229600" cy="1143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nchor="ctr"/>
          <a:lstStyle>
            <a:lvl1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9pPr>
          </a:lstStyle>
          <a:p>
            <a:pPr algn="ctr" eaLnBrk="1" hangingPunct="1">
              <a:spcBef>
                <a:spcPct val="0"/>
              </a:spcBef>
              <a:buClrTx/>
              <a:buSzTx/>
              <a:buFontTx/>
              <a:buNone/>
            </a:pPr>
            <a:r>
              <a:rPr lang="en-US" altLang="en-US" sz="3600" b="1">
                <a:solidFill>
                  <a:srgbClr val="00408C"/>
                </a:solidFill>
                <a:cs typeface="Arial" panose="020B0604020202020204" pitchFamily="34" charset="0"/>
              </a:rPr>
              <a:t>Automated Office Actions</a:t>
            </a:r>
          </a:p>
        </p:txBody>
      </p:sp>
      <p:pic>
        <p:nvPicPr>
          <p:cNvPr id="31747" name="Content Placeholder 4">
            <a:extLst>
              <a:ext uri="{FF2B5EF4-FFF2-40B4-BE49-F238E27FC236}">
                <a16:creationId xmlns:a16="http://schemas.microsoft.com/office/drawing/2014/main" id="{08B89E1E-0F47-400A-863D-DEB80D13D48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1447800"/>
            <a:ext cx="9144000" cy="475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a:extLst>
              <a:ext uri="{FF2B5EF4-FFF2-40B4-BE49-F238E27FC236}">
                <a16:creationId xmlns:a16="http://schemas.microsoft.com/office/drawing/2014/main" id="{30CC0562-7EF9-4D4F-A6A5-5AFD3571124F}"/>
              </a:ext>
            </a:extLst>
          </p:cNvPr>
          <p:cNvSpPr>
            <a:spLocks noGrp="1" noChangeArrowheads="1"/>
          </p:cNvSpPr>
          <p:nvPr>
            <p:ph type="title"/>
          </p:nvPr>
        </p:nvSpPr>
        <p:spPr/>
        <p:txBody>
          <a:bodyPr/>
          <a:lstStyle/>
          <a:p>
            <a:r>
              <a:rPr lang="en-US" altLang="en-US" sz="3200"/>
              <a:t>IPAS Data Input Verification – Check List</a:t>
            </a:r>
            <a:endParaRPr lang="en-CH" altLang="en-US" sz="3200"/>
          </a:p>
        </p:txBody>
      </p:sp>
      <p:pic>
        <p:nvPicPr>
          <p:cNvPr id="33795" name="Content Placeholder 5">
            <a:extLst>
              <a:ext uri="{FF2B5EF4-FFF2-40B4-BE49-F238E27FC236}">
                <a16:creationId xmlns:a16="http://schemas.microsoft.com/office/drawing/2014/main" id="{51316981-7439-4A5F-9149-CD8560F8558B}"/>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1113" y="1708150"/>
            <a:ext cx="9132887" cy="5033963"/>
          </a:xfr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ext Box 1">
            <a:extLst>
              <a:ext uri="{FF2B5EF4-FFF2-40B4-BE49-F238E27FC236}">
                <a16:creationId xmlns:a16="http://schemas.microsoft.com/office/drawing/2014/main" id="{80A874A8-DF08-4933-A8C1-AE040E98E009}"/>
              </a:ext>
            </a:extLst>
          </p:cNvPr>
          <p:cNvSpPr txBox="1">
            <a:spLocks noChangeArrowheads="1"/>
          </p:cNvSpPr>
          <p:nvPr/>
        </p:nvSpPr>
        <p:spPr bwMode="auto">
          <a:xfrm>
            <a:off x="1331913" y="188913"/>
            <a:ext cx="5761037" cy="48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132120" anchor="ctr"/>
          <a:lstStyle>
            <a:lvl1pPr marL="39688">
              <a:tabLst>
                <a:tab pos="39688" algn="l"/>
                <a:tab pos="487363" algn="l"/>
                <a:tab pos="936625" algn="l"/>
                <a:tab pos="1385888" algn="l"/>
                <a:tab pos="1835150" algn="l"/>
                <a:tab pos="2284413" algn="l"/>
                <a:tab pos="2733675" algn="l"/>
                <a:tab pos="3182938" algn="l"/>
                <a:tab pos="3632200" algn="l"/>
                <a:tab pos="4081463" algn="l"/>
                <a:tab pos="4530725" algn="l"/>
                <a:tab pos="4979988" algn="l"/>
                <a:tab pos="5429250" algn="l"/>
                <a:tab pos="5878513" algn="l"/>
                <a:tab pos="6327775" algn="l"/>
                <a:tab pos="6777038" algn="l"/>
                <a:tab pos="7226300" algn="l"/>
                <a:tab pos="7675563" algn="l"/>
                <a:tab pos="8124825" algn="l"/>
                <a:tab pos="8574088" algn="l"/>
                <a:tab pos="9023350" algn="l"/>
              </a:tabLst>
              <a:defRPr sz="2200">
                <a:solidFill>
                  <a:schemeClr val="bg1"/>
                </a:solidFill>
                <a:latin typeface="Arial" panose="020B0604020202020204" pitchFamily="34" charset="0"/>
                <a:ea typeface="ヒラギノ角ゴ Pro W3"/>
                <a:cs typeface="ヒラギノ角ゴ Pro W3"/>
              </a:defRPr>
            </a:lvl1pPr>
            <a:lvl2pPr>
              <a:tabLst>
                <a:tab pos="39688" algn="l"/>
                <a:tab pos="487363" algn="l"/>
                <a:tab pos="936625" algn="l"/>
                <a:tab pos="1385888" algn="l"/>
                <a:tab pos="1835150" algn="l"/>
                <a:tab pos="2284413" algn="l"/>
                <a:tab pos="2733675" algn="l"/>
                <a:tab pos="3182938" algn="l"/>
                <a:tab pos="3632200" algn="l"/>
                <a:tab pos="4081463" algn="l"/>
                <a:tab pos="4530725" algn="l"/>
                <a:tab pos="4979988" algn="l"/>
                <a:tab pos="5429250" algn="l"/>
                <a:tab pos="5878513" algn="l"/>
                <a:tab pos="6327775" algn="l"/>
                <a:tab pos="6777038" algn="l"/>
                <a:tab pos="7226300" algn="l"/>
                <a:tab pos="7675563" algn="l"/>
                <a:tab pos="8124825" algn="l"/>
                <a:tab pos="8574088" algn="l"/>
                <a:tab pos="9023350" algn="l"/>
              </a:tabLst>
              <a:defRPr sz="2200">
                <a:solidFill>
                  <a:schemeClr val="bg1"/>
                </a:solidFill>
                <a:latin typeface="Arial" panose="020B0604020202020204" pitchFamily="34" charset="0"/>
                <a:ea typeface="ヒラギノ角ゴ Pro W3"/>
                <a:cs typeface="ヒラギノ角ゴ Pro W3"/>
              </a:defRPr>
            </a:lvl2pPr>
            <a:lvl3pPr>
              <a:tabLst>
                <a:tab pos="39688" algn="l"/>
                <a:tab pos="487363" algn="l"/>
                <a:tab pos="936625" algn="l"/>
                <a:tab pos="1385888" algn="l"/>
                <a:tab pos="1835150" algn="l"/>
                <a:tab pos="2284413" algn="l"/>
                <a:tab pos="2733675" algn="l"/>
                <a:tab pos="3182938" algn="l"/>
                <a:tab pos="3632200" algn="l"/>
                <a:tab pos="4081463" algn="l"/>
                <a:tab pos="4530725" algn="l"/>
                <a:tab pos="4979988" algn="l"/>
                <a:tab pos="5429250" algn="l"/>
                <a:tab pos="5878513" algn="l"/>
                <a:tab pos="6327775" algn="l"/>
                <a:tab pos="6777038" algn="l"/>
                <a:tab pos="7226300" algn="l"/>
                <a:tab pos="7675563" algn="l"/>
                <a:tab pos="8124825" algn="l"/>
                <a:tab pos="8574088" algn="l"/>
                <a:tab pos="9023350" algn="l"/>
              </a:tabLst>
              <a:defRPr sz="2200">
                <a:solidFill>
                  <a:schemeClr val="bg1"/>
                </a:solidFill>
                <a:latin typeface="Arial" panose="020B0604020202020204" pitchFamily="34" charset="0"/>
                <a:ea typeface="ヒラギノ角ゴ Pro W3"/>
                <a:cs typeface="ヒラギノ角ゴ Pro W3"/>
              </a:defRPr>
            </a:lvl3pPr>
            <a:lvl4pPr>
              <a:tabLst>
                <a:tab pos="39688" algn="l"/>
                <a:tab pos="487363" algn="l"/>
                <a:tab pos="936625" algn="l"/>
                <a:tab pos="1385888" algn="l"/>
                <a:tab pos="1835150" algn="l"/>
                <a:tab pos="2284413" algn="l"/>
                <a:tab pos="2733675" algn="l"/>
                <a:tab pos="3182938" algn="l"/>
                <a:tab pos="3632200" algn="l"/>
                <a:tab pos="4081463" algn="l"/>
                <a:tab pos="4530725" algn="l"/>
                <a:tab pos="4979988" algn="l"/>
                <a:tab pos="5429250" algn="l"/>
                <a:tab pos="5878513" algn="l"/>
                <a:tab pos="6327775" algn="l"/>
                <a:tab pos="6777038" algn="l"/>
                <a:tab pos="7226300" algn="l"/>
                <a:tab pos="7675563" algn="l"/>
                <a:tab pos="8124825" algn="l"/>
                <a:tab pos="8574088" algn="l"/>
                <a:tab pos="9023350" algn="l"/>
              </a:tabLst>
              <a:defRPr sz="2200">
                <a:solidFill>
                  <a:schemeClr val="bg1"/>
                </a:solidFill>
                <a:latin typeface="Arial" panose="020B0604020202020204" pitchFamily="34" charset="0"/>
                <a:ea typeface="ヒラギノ角ゴ Pro W3"/>
                <a:cs typeface="ヒラギノ角ゴ Pro W3"/>
              </a:defRPr>
            </a:lvl4pPr>
            <a:lvl5pPr>
              <a:tabLst>
                <a:tab pos="39688" algn="l"/>
                <a:tab pos="487363" algn="l"/>
                <a:tab pos="936625" algn="l"/>
                <a:tab pos="1385888" algn="l"/>
                <a:tab pos="1835150" algn="l"/>
                <a:tab pos="2284413" algn="l"/>
                <a:tab pos="2733675" algn="l"/>
                <a:tab pos="3182938" algn="l"/>
                <a:tab pos="3632200" algn="l"/>
                <a:tab pos="4081463" algn="l"/>
                <a:tab pos="4530725" algn="l"/>
                <a:tab pos="4979988" algn="l"/>
                <a:tab pos="5429250" algn="l"/>
                <a:tab pos="5878513" algn="l"/>
                <a:tab pos="6327775" algn="l"/>
                <a:tab pos="6777038" algn="l"/>
                <a:tab pos="7226300" algn="l"/>
                <a:tab pos="7675563" algn="l"/>
                <a:tab pos="8124825" algn="l"/>
                <a:tab pos="8574088" algn="l"/>
                <a:tab pos="9023350" algn="l"/>
              </a:tabLst>
              <a:defRPr sz="2200">
                <a:solidFill>
                  <a:schemeClr val="bg1"/>
                </a:solidFill>
                <a:latin typeface="Arial" panose="020B0604020202020204" pitchFamily="34" charset="0"/>
                <a:ea typeface="ヒラギノ角ゴ Pro W3"/>
                <a:cs typeface="ヒラギノ角ゴ Pro W3"/>
              </a:defRPr>
            </a:lvl5pPr>
            <a:lvl6pPr marL="2514600" indent="-228600" defTabSz="449263" eaLnBrk="0" fontAlgn="base" hangingPunct="0">
              <a:spcBef>
                <a:spcPct val="0"/>
              </a:spcBef>
              <a:spcAft>
                <a:spcPct val="0"/>
              </a:spcAft>
              <a:tabLst>
                <a:tab pos="39688" algn="l"/>
                <a:tab pos="487363" algn="l"/>
                <a:tab pos="936625" algn="l"/>
                <a:tab pos="1385888" algn="l"/>
                <a:tab pos="1835150" algn="l"/>
                <a:tab pos="2284413" algn="l"/>
                <a:tab pos="2733675" algn="l"/>
                <a:tab pos="3182938" algn="l"/>
                <a:tab pos="3632200" algn="l"/>
                <a:tab pos="4081463" algn="l"/>
                <a:tab pos="4530725" algn="l"/>
                <a:tab pos="4979988" algn="l"/>
                <a:tab pos="5429250" algn="l"/>
                <a:tab pos="5878513" algn="l"/>
                <a:tab pos="6327775" algn="l"/>
                <a:tab pos="6777038" algn="l"/>
                <a:tab pos="7226300" algn="l"/>
                <a:tab pos="7675563" algn="l"/>
                <a:tab pos="8124825" algn="l"/>
                <a:tab pos="8574088" algn="l"/>
                <a:tab pos="9023350" algn="l"/>
              </a:tabLst>
              <a:defRPr sz="2200">
                <a:solidFill>
                  <a:schemeClr val="bg1"/>
                </a:solidFill>
                <a:latin typeface="Arial" panose="020B0604020202020204" pitchFamily="34" charset="0"/>
                <a:ea typeface="ヒラギノ角ゴ Pro W3"/>
                <a:cs typeface="ヒラギノ角ゴ Pro W3"/>
              </a:defRPr>
            </a:lvl6pPr>
            <a:lvl7pPr marL="2971800" indent="-228600" defTabSz="449263" eaLnBrk="0" fontAlgn="base" hangingPunct="0">
              <a:spcBef>
                <a:spcPct val="0"/>
              </a:spcBef>
              <a:spcAft>
                <a:spcPct val="0"/>
              </a:spcAft>
              <a:tabLst>
                <a:tab pos="39688" algn="l"/>
                <a:tab pos="487363" algn="l"/>
                <a:tab pos="936625" algn="l"/>
                <a:tab pos="1385888" algn="l"/>
                <a:tab pos="1835150" algn="l"/>
                <a:tab pos="2284413" algn="l"/>
                <a:tab pos="2733675" algn="l"/>
                <a:tab pos="3182938" algn="l"/>
                <a:tab pos="3632200" algn="l"/>
                <a:tab pos="4081463" algn="l"/>
                <a:tab pos="4530725" algn="l"/>
                <a:tab pos="4979988" algn="l"/>
                <a:tab pos="5429250" algn="l"/>
                <a:tab pos="5878513" algn="l"/>
                <a:tab pos="6327775" algn="l"/>
                <a:tab pos="6777038" algn="l"/>
                <a:tab pos="7226300" algn="l"/>
                <a:tab pos="7675563" algn="l"/>
                <a:tab pos="8124825" algn="l"/>
                <a:tab pos="8574088" algn="l"/>
                <a:tab pos="9023350" algn="l"/>
              </a:tabLst>
              <a:defRPr sz="2200">
                <a:solidFill>
                  <a:schemeClr val="bg1"/>
                </a:solidFill>
                <a:latin typeface="Arial" panose="020B0604020202020204" pitchFamily="34" charset="0"/>
                <a:ea typeface="ヒラギノ角ゴ Pro W3"/>
                <a:cs typeface="ヒラギノ角ゴ Pro W3"/>
              </a:defRPr>
            </a:lvl7pPr>
            <a:lvl8pPr marL="3429000" indent="-228600" defTabSz="449263" eaLnBrk="0" fontAlgn="base" hangingPunct="0">
              <a:spcBef>
                <a:spcPct val="0"/>
              </a:spcBef>
              <a:spcAft>
                <a:spcPct val="0"/>
              </a:spcAft>
              <a:tabLst>
                <a:tab pos="39688" algn="l"/>
                <a:tab pos="487363" algn="l"/>
                <a:tab pos="936625" algn="l"/>
                <a:tab pos="1385888" algn="l"/>
                <a:tab pos="1835150" algn="l"/>
                <a:tab pos="2284413" algn="l"/>
                <a:tab pos="2733675" algn="l"/>
                <a:tab pos="3182938" algn="l"/>
                <a:tab pos="3632200" algn="l"/>
                <a:tab pos="4081463" algn="l"/>
                <a:tab pos="4530725" algn="l"/>
                <a:tab pos="4979988" algn="l"/>
                <a:tab pos="5429250" algn="l"/>
                <a:tab pos="5878513" algn="l"/>
                <a:tab pos="6327775" algn="l"/>
                <a:tab pos="6777038" algn="l"/>
                <a:tab pos="7226300" algn="l"/>
                <a:tab pos="7675563" algn="l"/>
                <a:tab pos="8124825" algn="l"/>
                <a:tab pos="8574088" algn="l"/>
                <a:tab pos="9023350" algn="l"/>
              </a:tabLst>
              <a:defRPr sz="2200">
                <a:solidFill>
                  <a:schemeClr val="bg1"/>
                </a:solidFill>
                <a:latin typeface="Arial" panose="020B0604020202020204" pitchFamily="34" charset="0"/>
                <a:ea typeface="ヒラギノ角ゴ Pro W3"/>
                <a:cs typeface="ヒラギノ角ゴ Pro W3"/>
              </a:defRPr>
            </a:lvl8pPr>
            <a:lvl9pPr marL="3886200" indent="-228600" defTabSz="449263" eaLnBrk="0" fontAlgn="base" hangingPunct="0">
              <a:spcBef>
                <a:spcPct val="0"/>
              </a:spcBef>
              <a:spcAft>
                <a:spcPct val="0"/>
              </a:spcAft>
              <a:tabLst>
                <a:tab pos="39688" algn="l"/>
                <a:tab pos="487363" algn="l"/>
                <a:tab pos="936625" algn="l"/>
                <a:tab pos="1385888" algn="l"/>
                <a:tab pos="1835150" algn="l"/>
                <a:tab pos="2284413" algn="l"/>
                <a:tab pos="2733675" algn="l"/>
                <a:tab pos="3182938" algn="l"/>
                <a:tab pos="3632200" algn="l"/>
                <a:tab pos="4081463" algn="l"/>
                <a:tab pos="4530725" algn="l"/>
                <a:tab pos="4979988" algn="l"/>
                <a:tab pos="5429250" algn="l"/>
                <a:tab pos="5878513" algn="l"/>
                <a:tab pos="6327775" algn="l"/>
                <a:tab pos="6777038" algn="l"/>
                <a:tab pos="7226300" algn="l"/>
                <a:tab pos="7675563" algn="l"/>
                <a:tab pos="8124825" algn="l"/>
                <a:tab pos="8574088" algn="l"/>
                <a:tab pos="9023350" algn="l"/>
              </a:tabLst>
              <a:defRPr sz="2200">
                <a:solidFill>
                  <a:schemeClr val="bg1"/>
                </a:solidFill>
                <a:latin typeface="Arial" panose="020B0604020202020204" pitchFamily="34" charset="0"/>
                <a:ea typeface="ヒラギノ角ゴ Pro W3"/>
                <a:cs typeface="ヒラギノ角ゴ Pro W3"/>
              </a:defRPr>
            </a:lvl9pPr>
          </a:lstStyle>
          <a:p>
            <a:pPr algn="ctr" eaLnBrk="1" hangingPunct="1">
              <a:buSzPct val="100000"/>
            </a:pPr>
            <a:r>
              <a:rPr lang="en-GB" altLang="en-US" sz="3200">
                <a:solidFill>
                  <a:srgbClr val="00408C"/>
                </a:solidFill>
                <a:cs typeface="Arial" panose="020B0604020202020204" pitchFamily="34" charset="0"/>
              </a:rPr>
              <a:t>IPAS Onsite Deployment</a:t>
            </a:r>
          </a:p>
        </p:txBody>
      </p:sp>
      <p:pic>
        <p:nvPicPr>
          <p:cNvPr id="34819" name="Picture 2">
            <a:extLst>
              <a:ext uri="{FF2B5EF4-FFF2-40B4-BE49-F238E27FC236}">
                <a16:creationId xmlns:a16="http://schemas.microsoft.com/office/drawing/2014/main" id="{AD73FF46-06A1-4C7A-8C4D-75A9933158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7088" y="801688"/>
            <a:ext cx="7345362" cy="521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Number Placeholder 1">
            <a:extLst>
              <a:ext uri="{FF2B5EF4-FFF2-40B4-BE49-F238E27FC236}">
                <a16:creationId xmlns:a16="http://schemas.microsoft.com/office/drawing/2014/main" id="{0F8A2C9B-051A-4E78-BDD8-89665EEDC37F}"/>
              </a:ext>
            </a:extLst>
          </p:cNvPr>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9pPr>
          </a:lstStyle>
          <a:p>
            <a:fld id="{F9639C38-1066-4138-AC85-23E585F9FA67}" type="slidenum">
              <a:rPr lang="en-US" altLang="en-US" smtClean="0">
                <a:solidFill>
                  <a:srgbClr val="000000"/>
                </a:solidFill>
              </a:rPr>
              <a:pPr/>
              <a:t>23</a:t>
            </a:fld>
            <a:endParaRPr lang="en-US" altLang="en-US">
              <a:solidFill>
                <a:srgbClr val="000000"/>
              </a:solidFill>
            </a:endParaRPr>
          </a:p>
        </p:txBody>
      </p:sp>
      <p:pic>
        <p:nvPicPr>
          <p:cNvPr id="36867" name="Picture 2">
            <a:extLst>
              <a:ext uri="{FF2B5EF4-FFF2-40B4-BE49-F238E27FC236}">
                <a16:creationId xmlns:a16="http://schemas.microsoft.com/office/drawing/2014/main" id="{52AE93B7-601A-4B5A-B8A2-49853521C4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0"/>
            <a:ext cx="10287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6AE5B11F-6598-4C14-8AB7-EFB8886AD536}"/>
              </a:ext>
            </a:extLst>
          </p:cNvPr>
          <p:cNvSpPr txBox="1"/>
          <p:nvPr/>
        </p:nvSpPr>
        <p:spPr>
          <a:xfrm>
            <a:off x="2663825" y="6461125"/>
            <a:ext cx="3886200" cy="400050"/>
          </a:xfrm>
          <a:prstGeom prst="rect">
            <a:avLst/>
          </a:prstGeom>
        </p:spPr>
        <p:style>
          <a:lnRef idx="3">
            <a:schemeClr val="lt1"/>
          </a:lnRef>
          <a:fillRef idx="1">
            <a:schemeClr val="accent2"/>
          </a:fillRef>
          <a:effectRef idx="1">
            <a:schemeClr val="accent2"/>
          </a:effectRef>
          <a:fontRef idx="minor">
            <a:schemeClr val="lt1"/>
          </a:fontRef>
        </p:style>
        <p:txBody>
          <a:bodyPr>
            <a:spAutoFit/>
          </a:bodyPr>
          <a:lstStyle/>
          <a:p>
            <a:pPr>
              <a:defRPr/>
            </a:pPr>
            <a:r>
              <a:rPr lang="en-US" sz="2000" i="1" dirty="0"/>
              <a:t>IPAS 4 – Cloud Hosted</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a:extLst>
              <a:ext uri="{FF2B5EF4-FFF2-40B4-BE49-F238E27FC236}">
                <a16:creationId xmlns:a16="http://schemas.microsoft.com/office/drawing/2014/main" id="{5775BBB3-62FA-43C6-B9FB-D58E34BCC06D}"/>
              </a:ext>
            </a:extLst>
          </p:cNvPr>
          <p:cNvSpPr>
            <a:spLocks noGrp="1" noChangeArrowheads="1"/>
          </p:cNvSpPr>
          <p:nvPr>
            <p:ph type="title"/>
          </p:nvPr>
        </p:nvSpPr>
        <p:spPr>
          <a:xfrm>
            <a:off x="457200" y="274638"/>
            <a:ext cx="8229600" cy="1143000"/>
          </a:xfrm>
        </p:spPr>
        <p:txBody>
          <a:bodyPr/>
          <a:lstStyle/>
          <a:p>
            <a:r>
              <a:rPr lang="en-US" altLang="en-US"/>
              <a:t>IPAS 4 – Cloud Version</a:t>
            </a:r>
          </a:p>
        </p:txBody>
      </p:sp>
      <p:pic>
        <p:nvPicPr>
          <p:cNvPr id="38915" name="Picture 2">
            <a:extLst>
              <a:ext uri="{FF2B5EF4-FFF2-40B4-BE49-F238E27FC236}">
                <a16:creationId xmlns:a16="http://schemas.microsoft.com/office/drawing/2014/main" id="{CD5279A9-5CDA-40FA-A67F-748E8307562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1219200"/>
            <a:ext cx="8229600" cy="392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7" name="TextBox 3">
            <a:extLst>
              <a:ext uri="{FF2B5EF4-FFF2-40B4-BE49-F238E27FC236}">
                <a16:creationId xmlns:a16="http://schemas.microsoft.com/office/drawing/2014/main" id="{64773F84-2EDE-46AB-ADA0-16C5C9573FE8}"/>
              </a:ext>
            </a:extLst>
          </p:cNvPr>
          <p:cNvSpPr txBox="1">
            <a:spLocks noChangeArrowheads="1"/>
          </p:cNvSpPr>
          <p:nvPr/>
        </p:nvSpPr>
        <p:spPr bwMode="auto">
          <a:xfrm>
            <a:off x="1066800" y="5257800"/>
            <a:ext cx="44958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sz="2200">
                <a:solidFill>
                  <a:schemeClr val="bg1"/>
                </a:solidFill>
                <a:latin typeface="Arial" panose="020B0604020202020204" pitchFamily="34" charset="0"/>
                <a:ea typeface="ヒラギノ角ゴ Pro W3"/>
                <a:cs typeface="ヒラギノ角ゴ Pro W3"/>
              </a:defRPr>
            </a:lvl1pPr>
            <a:lvl2pPr>
              <a:defRPr sz="2200">
                <a:solidFill>
                  <a:schemeClr val="bg1"/>
                </a:solidFill>
                <a:latin typeface="Arial" panose="020B0604020202020204" pitchFamily="34" charset="0"/>
                <a:ea typeface="ヒラギノ角ゴ Pro W3"/>
                <a:cs typeface="ヒラギノ角ゴ Pro W3"/>
              </a:defRPr>
            </a:lvl2pPr>
            <a:lvl3pPr>
              <a:defRPr sz="2200">
                <a:solidFill>
                  <a:schemeClr val="bg1"/>
                </a:solidFill>
                <a:latin typeface="Arial" panose="020B0604020202020204" pitchFamily="34" charset="0"/>
                <a:ea typeface="ヒラギノ角ゴ Pro W3"/>
                <a:cs typeface="ヒラギノ角ゴ Pro W3"/>
              </a:defRPr>
            </a:lvl3pPr>
            <a:lvl4pPr>
              <a:defRPr sz="2200">
                <a:solidFill>
                  <a:schemeClr val="bg1"/>
                </a:solidFill>
                <a:latin typeface="Arial" panose="020B0604020202020204" pitchFamily="34" charset="0"/>
                <a:ea typeface="ヒラギノ角ゴ Pro W3"/>
                <a:cs typeface="ヒラギノ角ゴ Pro W3"/>
              </a:defRPr>
            </a:lvl4pPr>
            <a:lvl5pPr>
              <a:defRPr sz="2200">
                <a:solidFill>
                  <a:schemeClr val="bg1"/>
                </a:solidFill>
                <a:latin typeface="Arial" panose="020B0604020202020204" pitchFamily="34" charset="0"/>
                <a:ea typeface="ヒラギノ角ゴ Pro W3"/>
                <a:cs typeface="ヒラギノ角ゴ Pro W3"/>
              </a:defRPr>
            </a:lvl5pPr>
            <a:lvl6pPr marL="2514600" indent="-228600" defTabSz="449263"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6pPr>
            <a:lvl7pPr marL="2971800" indent="-228600" defTabSz="449263"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7pPr>
            <a:lvl8pPr marL="3429000" indent="-228600" defTabSz="449263"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8pPr>
            <a:lvl9pPr marL="3886200" indent="-228600" defTabSz="449263"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9pPr>
          </a:lstStyle>
          <a:p>
            <a:pPr>
              <a:buFont typeface="Arial" panose="020B0604020202020204" pitchFamily="34" charset="0"/>
              <a:buChar char="•"/>
            </a:pPr>
            <a:r>
              <a:rPr lang="en-US" altLang="en-US"/>
              <a:t>Tailored by work function</a:t>
            </a:r>
          </a:p>
          <a:p>
            <a:pPr>
              <a:buFont typeface="Arial" panose="020B0604020202020204" pitchFamily="34" charset="0"/>
              <a:buChar char="•"/>
            </a:pPr>
            <a:r>
              <a:rPr lang="en-US" altLang="en-US"/>
              <a:t>Examiner tools and productivity</a:t>
            </a:r>
          </a:p>
          <a:p>
            <a:pPr>
              <a:buFont typeface="Arial" panose="020B0604020202020204" pitchFamily="34" charset="0"/>
              <a:buChar char="•"/>
            </a:pPr>
            <a:r>
              <a:rPr lang="en-US" altLang="en-US"/>
              <a:t>Business process management</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a:extLst>
              <a:ext uri="{FF2B5EF4-FFF2-40B4-BE49-F238E27FC236}">
                <a16:creationId xmlns:a16="http://schemas.microsoft.com/office/drawing/2014/main" id="{9705AE97-A678-4F11-B515-7DEDECDF4F1F}"/>
              </a:ext>
            </a:extLst>
          </p:cNvPr>
          <p:cNvSpPr>
            <a:spLocks noGrp="1" noChangeArrowheads="1"/>
          </p:cNvSpPr>
          <p:nvPr>
            <p:ph type="title"/>
          </p:nvPr>
        </p:nvSpPr>
        <p:spPr/>
        <p:txBody>
          <a:bodyPr/>
          <a:lstStyle/>
          <a:p>
            <a:r>
              <a:rPr lang="en-GB" altLang="en-US">
                <a:cs typeface="Arial" panose="020B0604020202020204" pitchFamily="34" charset="0"/>
              </a:rPr>
              <a:t>Productivity Statistics</a:t>
            </a:r>
            <a:endParaRPr lang="en-GB" altLang="en-US"/>
          </a:p>
        </p:txBody>
      </p:sp>
      <p:pic>
        <p:nvPicPr>
          <p:cNvPr id="39940" name="Picture 4" descr="A screenshot of a cell phone&#10;&#10;Description generated with very high confidence">
            <a:extLst>
              <a:ext uri="{FF2B5EF4-FFF2-40B4-BE49-F238E27FC236}">
                <a16:creationId xmlns:a16="http://schemas.microsoft.com/office/drawing/2014/main" id="{339001FF-180D-4601-978C-F63D890474F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4025" y="1309688"/>
            <a:ext cx="8451850" cy="4354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1">
            <a:extLst>
              <a:ext uri="{FF2B5EF4-FFF2-40B4-BE49-F238E27FC236}">
                <a16:creationId xmlns:a16="http://schemas.microsoft.com/office/drawing/2014/main" id="{E9293890-4FF1-4093-85BB-841AB12C409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43000"/>
            <a:ext cx="9067800" cy="563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3" name="Text Box 1">
            <a:extLst>
              <a:ext uri="{FF2B5EF4-FFF2-40B4-BE49-F238E27FC236}">
                <a16:creationId xmlns:a16="http://schemas.microsoft.com/office/drawing/2014/main" id="{974BCD66-B13A-4D24-B6F2-1B85D84C1991}"/>
              </a:ext>
            </a:extLst>
          </p:cNvPr>
          <p:cNvSpPr txBox="1">
            <a:spLocks noChangeArrowheads="1"/>
          </p:cNvSpPr>
          <p:nvPr/>
        </p:nvSpPr>
        <p:spPr bwMode="auto">
          <a:xfrm>
            <a:off x="76200" y="0"/>
            <a:ext cx="8991600" cy="9350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9pPr>
          </a:lstStyle>
          <a:p>
            <a:pPr eaLnBrk="1" hangingPunct="1">
              <a:spcBef>
                <a:spcPct val="0"/>
              </a:spcBef>
              <a:buClrTx/>
              <a:buSzTx/>
              <a:buFontTx/>
              <a:buNone/>
            </a:pPr>
            <a:r>
              <a:rPr lang="en-US" altLang="en-US" sz="2800">
                <a:solidFill>
                  <a:srgbClr val="00408C"/>
                </a:solidFill>
                <a:ea typeface="Arial Unicode MS" pitchFamily="34" charset="-128"/>
              </a:rPr>
              <a:t>Lesotho – IPAS 4 (Cloud) Implementation</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1">
            <a:extLst>
              <a:ext uri="{FF2B5EF4-FFF2-40B4-BE49-F238E27FC236}">
                <a16:creationId xmlns:a16="http://schemas.microsoft.com/office/drawing/2014/main" id="{D396A9DE-8AD2-4FF1-941E-110564C5AD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1219200"/>
            <a:ext cx="8839200" cy="541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87" name="Text Box 1">
            <a:extLst>
              <a:ext uri="{FF2B5EF4-FFF2-40B4-BE49-F238E27FC236}">
                <a16:creationId xmlns:a16="http://schemas.microsoft.com/office/drawing/2014/main" id="{99160B0D-AC36-40CC-90C9-949378793622}"/>
              </a:ext>
            </a:extLst>
          </p:cNvPr>
          <p:cNvSpPr txBox="1">
            <a:spLocks noChangeArrowheads="1"/>
          </p:cNvSpPr>
          <p:nvPr/>
        </p:nvSpPr>
        <p:spPr bwMode="auto">
          <a:xfrm>
            <a:off x="76200" y="219075"/>
            <a:ext cx="8991600" cy="9350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9pPr>
          </a:lstStyle>
          <a:p>
            <a:pPr eaLnBrk="1" hangingPunct="1">
              <a:spcBef>
                <a:spcPct val="0"/>
              </a:spcBef>
              <a:buClrTx/>
              <a:buSzTx/>
              <a:buFontTx/>
              <a:buNone/>
            </a:pPr>
            <a:r>
              <a:rPr lang="en-US" altLang="en-US" sz="2800">
                <a:solidFill>
                  <a:srgbClr val="00408C"/>
                </a:solidFill>
                <a:ea typeface="Arial Unicode MS" pitchFamily="34" charset="-128"/>
              </a:rPr>
              <a:t>Lesotho – IPAS 4 (Cloud) Implementation</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ext Box 1">
            <a:extLst>
              <a:ext uri="{FF2B5EF4-FFF2-40B4-BE49-F238E27FC236}">
                <a16:creationId xmlns:a16="http://schemas.microsoft.com/office/drawing/2014/main" id="{086B7E34-DAED-4777-9FA1-A0B3F5F4EB27}"/>
              </a:ext>
            </a:extLst>
          </p:cNvPr>
          <p:cNvSpPr txBox="1">
            <a:spLocks noChangeArrowheads="1"/>
          </p:cNvSpPr>
          <p:nvPr/>
        </p:nvSpPr>
        <p:spPr bwMode="auto">
          <a:xfrm>
            <a:off x="228600" y="152400"/>
            <a:ext cx="8743950" cy="9350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9pPr>
          </a:lstStyle>
          <a:p>
            <a:pPr algn="ctr" eaLnBrk="1" hangingPunct="1">
              <a:spcBef>
                <a:spcPct val="0"/>
              </a:spcBef>
              <a:buClrTx/>
              <a:buFontTx/>
              <a:buNone/>
            </a:pPr>
            <a:r>
              <a:rPr lang="en-US" altLang="en-US" sz="3200" dirty="0">
                <a:solidFill>
                  <a:srgbClr val="00408C"/>
                </a:solidFill>
                <a:cs typeface="Arial" panose="020B0604020202020204" pitchFamily="34" charset="0"/>
              </a:rPr>
              <a:t>IPAS Files / Docs Pending Capture</a:t>
            </a:r>
          </a:p>
        </p:txBody>
      </p:sp>
      <p:pic>
        <p:nvPicPr>
          <p:cNvPr id="43011" name="Picture 1">
            <a:extLst>
              <a:ext uri="{FF2B5EF4-FFF2-40B4-BE49-F238E27FC236}">
                <a16:creationId xmlns:a16="http://schemas.microsoft.com/office/drawing/2014/main" id="{E1B0824F-49D5-49DE-846A-4513505D8F38}"/>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1950" y="1268413"/>
            <a:ext cx="8610600" cy="459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8F1A27-88E9-4369-9EB0-6E2B7E9F21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30840"/>
            <a:ext cx="9144000" cy="4888960"/>
          </a:xfrm>
          <a:prstGeom prst="rect">
            <a:avLst/>
          </a:prstGeom>
        </p:spPr>
      </p:pic>
      <p:sp>
        <p:nvSpPr>
          <p:cNvPr id="6" name="Text Box 1">
            <a:extLst>
              <a:ext uri="{FF2B5EF4-FFF2-40B4-BE49-F238E27FC236}">
                <a16:creationId xmlns:a16="http://schemas.microsoft.com/office/drawing/2014/main" id="{F8DFBD6C-B1F0-47F6-ADDA-5217ABA87836}"/>
              </a:ext>
            </a:extLst>
          </p:cNvPr>
          <p:cNvSpPr txBox="1">
            <a:spLocks noChangeArrowheads="1"/>
          </p:cNvSpPr>
          <p:nvPr/>
        </p:nvSpPr>
        <p:spPr bwMode="auto">
          <a:xfrm>
            <a:off x="28575" y="195802"/>
            <a:ext cx="8743950" cy="71859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9pPr>
          </a:lstStyle>
          <a:p>
            <a:pPr algn="ctr" eaLnBrk="1" hangingPunct="1">
              <a:spcBef>
                <a:spcPct val="0"/>
              </a:spcBef>
              <a:buClrTx/>
              <a:buFontTx/>
              <a:buNone/>
            </a:pPr>
            <a:r>
              <a:rPr lang="en-US" altLang="en-US" sz="3200" dirty="0">
                <a:solidFill>
                  <a:srgbClr val="00408C"/>
                </a:solidFill>
                <a:cs typeface="Arial" panose="020B0604020202020204" pitchFamily="34" charset="0"/>
              </a:rPr>
              <a:t>IPAS 4 Automated Search</a:t>
            </a:r>
          </a:p>
        </p:txBody>
      </p:sp>
    </p:spTree>
    <p:extLst>
      <p:ext uri="{BB962C8B-B14F-4D97-AF65-F5344CB8AC3E}">
        <p14:creationId xmlns:p14="http://schemas.microsoft.com/office/powerpoint/2010/main" val="17953824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602C94AE-3A86-494D-8140-D976411C75D9}"/>
              </a:ext>
            </a:extLst>
          </p:cNvPr>
          <p:cNvGraphicFramePr>
            <a:graphicFrameLocks noGrp="1"/>
          </p:cNvGraphicFramePr>
          <p:nvPr/>
        </p:nvGraphicFramePr>
        <p:xfrm>
          <a:off x="296863" y="1257300"/>
          <a:ext cx="8640762" cy="4835526"/>
        </p:xfrm>
        <a:graphic>
          <a:graphicData uri="http://schemas.openxmlformats.org/drawingml/2006/table">
            <a:tbl>
              <a:tblPr firstRow="1" bandRow="1">
                <a:tableStyleId>{5C22544A-7EE6-4342-B048-85BDC9FD1C3A}</a:tableStyleId>
              </a:tblPr>
              <a:tblGrid>
                <a:gridCol w="2880254">
                  <a:extLst>
                    <a:ext uri="{9D8B030D-6E8A-4147-A177-3AD203B41FA5}">
                      <a16:colId xmlns:a16="http://schemas.microsoft.com/office/drawing/2014/main" val="20000"/>
                    </a:ext>
                  </a:extLst>
                </a:gridCol>
                <a:gridCol w="2880254">
                  <a:extLst>
                    <a:ext uri="{9D8B030D-6E8A-4147-A177-3AD203B41FA5}">
                      <a16:colId xmlns:a16="http://schemas.microsoft.com/office/drawing/2014/main" val="20001"/>
                    </a:ext>
                  </a:extLst>
                </a:gridCol>
                <a:gridCol w="2880254">
                  <a:extLst>
                    <a:ext uri="{9D8B030D-6E8A-4147-A177-3AD203B41FA5}">
                      <a16:colId xmlns:a16="http://schemas.microsoft.com/office/drawing/2014/main" val="20002"/>
                    </a:ext>
                  </a:extLst>
                </a:gridCol>
              </a:tblGrid>
              <a:tr h="2417763">
                <a:tc>
                  <a:txBody>
                    <a:bodyPr/>
                    <a:lstStyle/>
                    <a:p>
                      <a:endParaRPr lang="en-CH" sz="1800" dirty="0"/>
                    </a:p>
                  </a:txBody>
                  <a:tcPr marL="91438" marR="91438" marT="45721" marB="45721"/>
                </a:tc>
                <a:tc>
                  <a:txBody>
                    <a:bodyPr/>
                    <a:lstStyle/>
                    <a:p>
                      <a:endParaRPr lang="en-CH" sz="1800" dirty="0"/>
                    </a:p>
                  </a:txBody>
                  <a:tcPr marL="91438" marR="91438" marT="45721" marB="45721"/>
                </a:tc>
                <a:tc>
                  <a:txBody>
                    <a:bodyPr/>
                    <a:lstStyle/>
                    <a:p>
                      <a:endParaRPr lang="en-CH" sz="1800" dirty="0"/>
                    </a:p>
                  </a:txBody>
                  <a:tcPr marL="91438" marR="91438" marT="45721" marB="45721"/>
                </a:tc>
                <a:extLst>
                  <a:ext uri="{0D108BD9-81ED-4DB2-BD59-A6C34878D82A}">
                    <a16:rowId xmlns:a16="http://schemas.microsoft.com/office/drawing/2014/main" val="10000"/>
                  </a:ext>
                </a:extLst>
              </a:tr>
              <a:tr h="2417763">
                <a:tc>
                  <a:txBody>
                    <a:bodyPr/>
                    <a:lstStyle/>
                    <a:p>
                      <a:endParaRPr lang="en-CH" sz="1800" dirty="0"/>
                    </a:p>
                  </a:txBody>
                  <a:tcPr marL="91438" marR="91438" marT="45721" marB="45721"/>
                </a:tc>
                <a:tc>
                  <a:txBody>
                    <a:bodyPr/>
                    <a:lstStyle/>
                    <a:p>
                      <a:endParaRPr lang="en-CH" sz="1800"/>
                    </a:p>
                  </a:txBody>
                  <a:tcPr marL="91438" marR="91438" marT="45721" marB="45721"/>
                </a:tc>
                <a:tc>
                  <a:txBody>
                    <a:bodyPr/>
                    <a:lstStyle/>
                    <a:p>
                      <a:endParaRPr lang="en-CH" sz="1800" dirty="0"/>
                    </a:p>
                  </a:txBody>
                  <a:tcPr marL="91438" marR="91438" marT="45721" marB="45721"/>
                </a:tc>
                <a:extLst>
                  <a:ext uri="{0D108BD9-81ED-4DB2-BD59-A6C34878D82A}">
                    <a16:rowId xmlns:a16="http://schemas.microsoft.com/office/drawing/2014/main" val="10001"/>
                  </a:ext>
                </a:extLst>
              </a:tr>
            </a:tbl>
          </a:graphicData>
        </a:graphic>
      </p:graphicFrame>
      <p:pic>
        <p:nvPicPr>
          <p:cNvPr id="9232" name="Picture 5">
            <a:extLst>
              <a:ext uri="{FF2B5EF4-FFF2-40B4-BE49-F238E27FC236}">
                <a16:creationId xmlns:a16="http://schemas.microsoft.com/office/drawing/2014/main" id="{156E0577-329B-4855-BF2D-1C790EB421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79763" y="1257300"/>
            <a:ext cx="2879725" cy="243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33" name="Picture 7">
            <a:extLst>
              <a:ext uri="{FF2B5EF4-FFF2-40B4-BE49-F238E27FC236}">
                <a16:creationId xmlns:a16="http://schemas.microsoft.com/office/drawing/2014/main" id="{CAC3AAB5-54F4-424B-AB38-AB32BA2261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6863" y="1285875"/>
            <a:ext cx="2879725" cy="237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34" name="Picture 8">
            <a:extLst>
              <a:ext uri="{FF2B5EF4-FFF2-40B4-BE49-F238E27FC236}">
                <a16:creationId xmlns:a16="http://schemas.microsoft.com/office/drawing/2014/main" id="{3178A22F-34BE-4828-AECF-75FFDB63CE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35" name="Rectangle 9">
            <a:extLst>
              <a:ext uri="{FF2B5EF4-FFF2-40B4-BE49-F238E27FC236}">
                <a16:creationId xmlns:a16="http://schemas.microsoft.com/office/drawing/2014/main" id="{D0D4A3DD-B9EC-437F-8E81-495DF5F2C62F}"/>
              </a:ext>
            </a:extLst>
          </p:cNvPr>
          <p:cNvSpPr>
            <a:spLocks noChangeArrowheads="1"/>
          </p:cNvSpPr>
          <p:nvPr/>
        </p:nvSpPr>
        <p:spPr bwMode="auto">
          <a:xfrm>
            <a:off x="296863" y="166688"/>
            <a:ext cx="75882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r>
              <a:rPr lang="en-GB" altLang="en-US" sz="1800" b="1">
                <a:solidFill>
                  <a:srgbClr val="00408C"/>
                </a:solidFill>
              </a:rPr>
              <a:t>IP Office – Before Digital Transformation</a:t>
            </a:r>
          </a:p>
        </p:txBody>
      </p:sp>
    </p:spTree>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B934FAA-1C7F-447D-8DA3-96D1A2FDD4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6700" y="1219200"/>
            <a:ext cx="8610599" cy="4800600"/>
          </a:xfrm>
          <a:prstGeom prst="rect">
            <a:avLst/>
          </a:prstGeom>
        </p:spPr>
      </p:pic>
      <p:sp>
        <p:nvSpPr>
          <p:cNvPr id="4" name="Text Box 1">
            <a:extLst>
              <a:ext uri="{FF2B5EF4-FFF2-40B4-BE49-F238E27FC236}">
                <a16:creationId xmlns:a16="http://schemas.microsoft.com/office/drawing/2014/main" id="{85C4D929-469C-4A25-84A3-E98DF566A061}"/>
              </a:ext>
            </a:extLst>
          </p:cNvPr>
          <p:cNvSpPr txBox="1">
            <a:spLocks noChangeArrowheads="1"/>
          </p:cNvSpPr>
          <p:nvPr/>
        </p:nvSpPr>
        <p:spPr bwMode="auto">
          <a:xfrm>
            <a:off x="28575" y="195802"/>
            <a:ext cx="8743950" cy="71859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9pPr>
          </a:lstStyle>
          <a:p>
            <a:pPr algn="ctr" eaLnBrk="1" hangingPunct="1">
              <a:spcBef>
                <a:spcPct val="0"/>
              </a:spcBef>
              <a:buClrTx/>
              <a:buFontTx/>
              <a:buNone/>
            </a:pPr>
            <a:r>
              <a:rPr lang="en-US" altLang="en-US" sz="3200" dirty="0">
                <a:solidFill>
                  <a:srgbClr val="00408C"/>
                </a:solidFill>
                <a:cs typeface="Arial" panose="020B0604020202020204" pitchFamily="34" charset="0"/>
              </a:rPr>
              <a:t>IPAS 4 Automated Search Results</a:t>
            </a:r>
          </a:p>
        </p:txBody>
      </p:sp>
    </p:spTree>
    <p:extLst>
      <p:ext uri="{BB962C8B-B14F-4D97-AF65-F5344CB8AC3E}">
        <p14:creationId xmlns:p14="http://schemas.microsoft.com/office/powerpoint/2010/main" val="14431946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FC763A-6DFF-43A3-866A-DF1A0A34F72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1066800"/>
            <a:ext cx="8381999" cy="5029200"/>
          </a:xfrm>
          <a:prstGeom prst="rect">
            <a:avLst/>
          </a:prstGeom>
        </p:spPr>
      </p:pic>
      <p:sp>
        <p:nvSpPr>
          <p:cNvPr id="4" name="Text Box 1">
            <a:extLst>
              <a:ext uri="{FF2B5EF4-FFF2-40B4-BE49-F238E27FC236}">
                <a16:creationId xmlns:a16="http://schemas.microsoft.com/office/drawing/2014/main" id="{9AD3F8E6-BB0C-4300-AF87-F3314BE2CAD3}"/>
              </a:ext>
            </a:extLst>
          </p:cNvPr>
          <p:cNvSpPr txBox="1">
            <a:spLocks noChangeArrowheads="1"/>
          </p:cNvSpPr>
          <p:nvPr/>
        </p:nvSpPr>
        <p:spPr bwMode="auto">
          <a:xfrm>
            <a:off x="28575" y="195802"/>
            <a:ext cx="8743950" cy="71859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9pPr>
          </a:lstStyle>
          <a:p>
            <a:pPr algn="ctr" eaLnBrk="1" hangingPunct="1">
              <a:spcBef>
                <a:spcPct val="0"/>
              </a:spcBef>
              <a:buClrTx/>
              <a:buFontTx/>
              <a:buNone/>
            </a:pPr>
            <a:r>
              <a:rPr lang="en-US" altLang="en-US" sz="3200" dirty="0">
                <a:solidFill>
                  <a:srgbClr val="00408C"/>
                </a:solidFill>
                <a:cs typeface="Arial" panose="020B0604020202020204" pitchFamily="34" charset="0"/>
              </a:rPr>
              <a:t>IPAS 4 Customizable Search Results</a:t>
            </a:r>
          </a:p>
        </p:txBody>
      </p:sp>
    </p:spTree>
    <p:extLst>
      <p:ext uri="{BB962C8B-B14F-4D97-AF65-F5344CB8AC3E}">
        <p14:creationId xmlns:p14="http://schemas.microsoft.com/office/powerpoint/2010/main" val="11177451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ext Box 1">
            <a:extLst>
              <a:ext uri="{FF2B5EF4-FFF2-40B4-BE49-F238E27FC236}">
                <a16:creationId xmlns:a16="http://schemas.microsoft.com/office/drawing/2014/main" id="{83EB4C03-424E-47EC-9E15-AD2D549FEF33}"/>
              </a:ext>
            </a:extLst>
          </p:cNvPr>
          <p:cNvSpPr txBox="1">
            <a:spLocks noChangeArrowheads="1"/>
          </p:cNvSpPr>
          <p:nvPr/>
        </p:nvSpPr>
        <p:spPr bwMode="auto">
          <a:xfrm>
            <a:off x="76200" y="333375"/>
            <a:ext cx="8915400" cy="9350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9pPr>
          </a:lstStyle>
          <a:p>
            <a:pPr algn="ctr" eaLnBrk="1" hangingPunct="1">
              <a:spcBef>
                <a:spcPct val="0"/>
              </a:spcBef>
              <a:buClrTx/>
              <a:buFontTx/>
              <a:buNone/>
            </a:pPr>
            <a:r>
              <a:rPr lang="en-US" altLang="en-US" sz="3200">
                <a:solidFill>
                  <a:srgbClr val="00408C"/>
                </a:solidFill>
                <a:cs typeface="Arial" panose="020B0604020202020204" pitchFamily="34" charset="0"/>
              </a:rPr>
              <a:t>IPAS 4 New Application View</a:t>
            </a:r>
          </a:p>
        </p:txBody>
      </p:sp>
      <p:pic>
        <p:nvPicPr>
          <p:cNvPr id="45059" name="Picture 1">
            <a:extLst>
              <a:ext uri="{FF2B5EF4-FFF2-40B4-BE49-F238E27FC236}">
                <a16:creationId xmlns:a16="http://schemas.microsoft.com/office/drawing/2014/main" id="{7D8ACC1D-95C1-46A6-9EC3-43FE8C0CC259}"/>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09600" y="1239838"/>
            <a:ext cx="8001000" cy="4703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Picture 2">
            <a:extLst>
              <a:ext uri="{FF2B5EF4-FFF2-40B4-BE49-F238E27FC236}">
                <a16:creationId xmlns:a16="http://schemas.microsoft.com/office/drawing/2014/main" id="{370B8280-633E-4BEE-BA02-132911D3ABF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587375"/>
            <a:ext cx="9144000" cy="566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FBCFA9AA-4BF4-4401-980E-7624C1174565}"/>
              </a:ext>
            </a:extLst>
          </p:cNvPr>
          <p:cNvSpPr txBox="1">
            <a:spLocks/>
          </p:cNvSpPr>
          <p:nvPr/>
        </p:nvSpPr>
        <p:spPr>
          <a:xfrm>
            <a:off x="914400" y="0"/>
            <a:ext cx="7467600" cy="633413"/>
          </a:xfrm>
          <a:prstGeom prst="rect">
            <a:avLst/>
          </a:prstGeom>
        </p:spPr>
        <p:txBody>
          <a:bodyPr/>
          <a:lstStyle>
            <a:lvl1pPr algn="l" rtl="0" eaLnBrk="1" fontAlgn="base" hangingPunct="1">
              <a:spcBef>
                <a:spcPct val="0"/>
              </a:spcBef>
              <a:spcAft>
                <a:spcPct val="0"/>
              </a:spcAft>
              <a:defRPr sz="3600">
                <a:solidFill>
                  <a:srgbClr val="00408C"/>
                </a:solidFill>
                <a:latin typeface="+mj-lt"/>
                <a:ea typeface="+mj-ea"/>
                <a:cs typeface="+mj-cs"/>
              </a:defRPr>
            </a:lvl1pPr>
            <a:lvl2pPr algn="l" rtl="0" eaLnBrk="1" fontAlgn="base" hangingPunct="1">
              <a:spcBef>
                <a:spcPct val="0"/>
              </a:spcBef>
              <a:spcAft>
                <a:spcPct val="0"/>
              </a:spcAft>
              <a:defRPr sz="3600">
                <a:solidFill>
                  <a:srgbClr val="00408C"/>
                </a:solidFill>
                <a:latin typeface="Arial" charset="0"/>
                <a:cs typeface="Arial" charset="0"/>
              </a:defRPr>
            </a:lvl2pPr>
            <a:lvl3pPr algn="l" rtl="0" eaLnBrk="1" fontAlgn="base" hangingPunct="1">
              <a:spcBef>
                <a:spcPct val="0"/>
              </a:spcBef>
              <a:spcAft>
                <a:spcPct val="0"/>
              </a:spcAft>
              <a:defRPr sz="3600">
                <a:solidFill>
                  <a:srgbClr val="00408C"/>
                </a:solidFill>
                <a:latin typeface="Arial" charset="0"/>
                <a:cs typeface="Arial" charset="0"/>
              </a:defRPr>
            </a:lvl3pPr>
            <a:lvl4pPr algn="l" rtl="0" eaLnBrk="1" fontAlgn="base" hangingPunct="1">
              <a:spcBef>
                <a:spcPct val="0"/>
              </a:spcBef>
              <a:spcAft>
                <a:spcPct val="0"/>
              </a:spcAft>
              <a:defRPr sz="3600">
                <a:solidFill>
                  <a:srgbClr val="00408C"/>
                </a:solidFill>
                <a:latin typeface="Arial" charset="0"/>
                <a:cs typeface="Arial" charset="0"/>
              </a:defRPr>
            </a:lvl4pPr>
            <a:lvl5pPr algn="l" rtl="0" eaLnBrk="1" fontAlgn="base" hangingPunct="1">
              <a:spcBef>
                <a:spcPct val="0"/>
              </a:spcBef>
              <a:spcAft>
                <a:spcPct val="0"/>
              </a:spcAft>
              <a:defRPr sz="3600">
                <a:solidFill>
                  <a:srgbClr val="00408C"/>
                </a:solidFill>
                <a:latin typeface="Arial" charset="0"/>
                <a:cs typeface="Arial" charset="0"/>
              </a:defRPr>
            </a:lvl5pPr>
            <a:lvl6pPr marL="457200" algn="l" rtl="0" eaLnBrk="1" fontAlgn="base" hangingPunct="1">
              <a:spcBef>
                <a:spcPct val="0"/>
              </a:spcBef>
              <a:spcAft>
                <a:spcPct val="0"/>
              </a:spcAft>
              <a:defRPr sz="3600">
                <a:solidFill>
                  <a:srgbClr val="00408C"/>
                </a:solidFill>
                <a:latin typeface="Arial" charset="0"/>
                <a:cs typeface="Arial" charset="0"/>
              </a:defRPr>
            </a:lvl6pPr>
            <a:lvl7pPr marL="914400" algn="l" rtl="0" eaLnBrk="1" fontAlgn="base" hangingPunct="1">
              <a:spcBef>
                <a:spcPct val="0"/>
              </a:spcBef>
              <a:spcAft>
                <a:spcPct val="0"/>
              </a:spcAft>
              <a:defRPr sz="3600">
                <a:solidFill>
                  <a:srgbClr val="00408C"/>
                </a:solidFill>
                <a:latin typeface="Arial" charset="0"/>
                <a:cs typeface="Arial" charset="0"/>
              </a:defRPr>
            </a:lvl7pPr>
            <a:lvl8pPr marL="1371600" algn="l" rtl="0" eaLnBrk="1" fontAlgn="base" hangingPunct="1">
              <a:spcBef>
                <a:spcPct val="0"/>
              </a:spcBef>
              <a:spcAft>
                <a:spcPct val="0"/>
              </a:spcAft>
              <a:defRPr sz="3600">
                <a:solidFill>
                  <a:srgbClr val="00408C"/>
                </a:solidFill>
                <a:latin typeface="Arial" charset="0"/>
                <a:cs typeface="Arial" charset="0"/>
              </a:defRPr>
            </a:lvl8pPr>
            <a:lvl9pPr marL="1828800" algn="l" rtl="0" eaLnBrk="1" fontAlgn="base" hangingPunct="1">
              <a:spcBef>
                <a:spcPct val="0"/>
              </a:spcBef>
              <a:spcAft>
                <a:spcPct val="0"/>
              </a:spcAft>
              <a:defRPr sz="3600">
                <a:solidFill>
                  <a:srgbClr val="00408C"/>
                </a:solidFill>
                <a:latin typeface="Arial" charset="0"/>
                <a:cs typeface="Arial" charset="0"/>
              </a:defRPr>
            </a:lvl9pPr>
          </a:lstStyle>
          <a:p>
            <a:pPr algn="ctr">
              <a:defRPr/>
            </a:pPr>
            <a:r>
              <a:rPr lang="en-GB" kern="0" dirty="0"/>
              <a:t>What is WIPO File?</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ext Box 1">
            <a:extLst>
              <a:ext uri="{FF2B5EF4-FFF2-40B4-BE49-F238E27FC236}">
                <a16:creationId xmlns:a16="http://schemas.microsoft.com/office/drawing/2014/main" id="{5123F6AB-2426-4D62-BFE3-1D5BDA23132F}"/>
              </a:ext>
            </a:extLst>
          </p:cNvPr>
          <p:cNvSpPr txBox="1">
            <a:spLocks noChangeArrowheads="1"/>
          </p:cNvSpPr>
          <p:nvPr/>
        </p:nvSpPr>
        <p:spPr bwMode="auto">
          <a:xfrm>
            <a:off x="304800" y="1143000"/>
            <a:ext cx="8494713" cy="4876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lvl1pPr marL="331788" indent="-331788">
              <a:spcBef>
                <a:spcPts val="550"/>
              </a:spcBef>
              <a:buClr>
                <a:srgbClr val="000000"/>
              </a:buClr>
              <a:buSzPct val="100000"/>
              <a:buFont typeface="Times New Roman" panose="02020603050405020304" pitchFamily="18" charset="0"/>
              <a:tabLst>
                <a:tab pos="331788" algn="l"/>
                <a:tab pos="779463" algn="l"/>
                <a:tab pos="1228725" algn="l"/>
                <a:tab pos="1677988" algn="l"/>
                <a:tab pos="2127250" algn="l"/>
                <a:tab pos="2576513" algn="l"/>
                <a:tab pos="3025775" algn="l"/>
                <a:tab pos="3475038" algn="l"/>
                <a:tab pos="3924300" algn="l"/>
                <a:tab pos="4373563" algn="l"/>
                <a:tab pos="4822825" algn="l"/>
                <a:tab pos="5272088" algn="l"/>
                <a:tab pos="5721350" algn="l"/>
                <a:tab pos="6170613" algn="l"/>
                <a:tab pos="6619875" algn="l"/>
                <a:tab pos="7069138" algn="l"/>
                <a:tab pos="7518400" algn="l"/>
                <a:tab pos="7967663" algn="l"/>
                <a:tab pos="8416925" algn="l"/>
                <a:tab pos="8866188" algn="l"/>
                <a:tab pos="9315450"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331788" algn="l"/>
                <a:tab pos="779463" algn="l"/>
                <a:tab pos="1228725" algn="l"/>
                <a:tab pos="1677988" algn="l"/>
                <a:tab pos="2127250" algn="l"/>
                <a:tab pos="2576513" algn="l"/>
                <a:tab pos="3025775" algn="l"/>
                <a:tab pos="3475038" algn="l"/>
                <a:tab pos="3924300" algn="l"/>
                <a:tab pos="4373563" algn="l"/>
                <a:tab pos="4822825" algn="l"/>
                <a:tab pos="5272088" algn="l"/>
                <a:tab pos="5721350" algn="l"/>
                <a:tab pos="6170613" algn="l"/>
                <a:tab pos="6619875" algn="l"/>
                <a:tab pos="7069138" algn="l"/>
                <a:tab pos="7518400" algn="l"/>
                <a:tab pos="7967663" algn="l"/>
                <a:tab pos="8416925" algn="l"/>
                <a:tab pos="8866188" algn="l"/>
                <a:tab pos="9315450"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331788" algn="l"/>
                <a:tab pos="779463" algn="l"/>
                <a:tab pos="1228725" algn="l"/>
                <a:tab pos="1677988" algn="l"/>
                <a:tab pos="2127250" algn="l"/>
                <a:tab pos="2576513" algn="l"/>
                <a:tab pos="3025775" algn="l"/>
                <a:tab pos="3475038" algn="l"/>
                <a:tab pos="3924300" algn="l"/>
                <a:tab pos="4373563" algn="l"/>
                <a:tab pos="4822825" algn="l"/>
                <a:tab pos="5272088" algn="l"/>
                <a:tab pos="5721350" algn="l"/>
                <a:tab pos="6170613" algn="l"/>
                <a:tab pos="6619875" algn="l"/>
                <a:tab pos="7069138" algn="l"/>
                <a:tab pos="7518400" algn="l"/>
                <a:tab pos="7967663" algn="l"/>
                <a:tab pos="8416925" algn="l"/>
                <a:tab pos="8866188" algn="l"/>
                <a:tab pos="9315450"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331788" algn="l"/>
                <a:tab pos="779463" algn="l"/>
                <a:tab pos="1228725" algn="l"/>
                <a:tab pos="1677988" algn="l"/>
                <a:tab pos="2127250" algn="l"/>
                <a:tab pos="2576513" algn="l"/>
                <a:tab pos="3025775" algn="l"/>
                <a:tab pos="3475038" algn="l"/>
                <a:tab pos="3924300" algn="l"/>
                <a:tab pos="4373563" algn="l"/>
                <a:tab pos="4822825" algn="l"/>
                <a:tab pos="5272088" algn="l"/>
                <a:tab pos="5721350" algn="l"/>
                <a:tab pos="6170613" algn="l"/>
                <a:tab pos="6619875" algn="l"/>
                <a:tab pos="7069138" algn="l"/>
                <a:tab pos="7518400" algn="l"/>
                <a:tab pos="7967663" algn="l"/>
                <a:tab pos="8416925" algn="l"/>
                <a:tab pos="8866188" algn="l"/>
                <a:tab pos="9315450"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331788" algn="l"/>
                <a:tab pos="779463" algn="l"/>
                <a:tab pos="1228725" algn="l"/>
                <a:tab pos="1677988" algn="l"/>
                <a:tab pos="2127250" algn="l"/>
                <a:tab pos="2576513" algn="l"/>
                <a:tab pos="3025775" algn="l"/>
                <a:tab pos="3475038" algn="l"/>
                <a:tab pos="3924300" algn="l"/>
                <a:tab pos="4373563" algn="l"/>
                <a:tab pos="4822825" algn="l"/>
                <a:tab pos="5272088" algn="l"/>
                <a:tab pos="5721350" algn="l"/>
                <a:tab pos="6170613" algn="l"/>
                <a:tab pos="6619875" algn="l"/>
                <a:tab pos="7069138" algn="l"/>
                <a:tab pos="7518400" algn="l"/>
                <a:tab pos="7967663" algn="l"/>
                <a:tab pos="8416925" algn="l"/>
                <a:tab pos="8866188" algn="l"/>
                <a:tab pos="9315450"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331788" algn="l"/>
                <a:tab pos="779463" algn="l"/>
                <a:tab pos="1228725" algn="l"/>
                <a:tab pos="1677988" algn="l"/>
                <a:tab pos="2127250" algn="l"/>
                <a:tab pos="2576513" algn="l"/>
                <a:tab pos="3025775" algn="l"/>
                <a:tab pos="3475038" algn="l"/>
                <a:tab pos="3924300" algn="l"/>
                <a:tab pos="4373563" algn="l"/>
                <a:tab pos="4822825" algn="l"/>
                <a:tab pos="5272088" algn="l"/>
                <a:tab pos="5721350" algn="l"/>
                <a:tab pos="6170613" algn="l"/>
                <a:tab pos="6619875" algn="l"/>
                <a:tab pos="7069138" algn="l"/>
                <a:tab pos="7518400" algn="l"/>
                <a:tab pos="7967663" algn="l"/>
                <a:tab pos="8416925" algn="l"/>
                <a:tab pos="8866188" algn="l"/>
                <a:tab pos="9315450"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331788" algn="l"/>
                <a:tab pos="779463" algn="l"/>
                <a:tab pos="1228725" algn="l"/>
                <a:tab pos="1677988" algn="l"/>
                <a:tab pos="2127250" algn="l"/>
                <a:tab pos="2576513" algn="l"/>
                <a:tab pos="3025775" algn="l"/>
                <a:tab pos="3475038" algn="l"/>
                <a:tab pos="3924300" algn="l"/>
                <a:tab pos="4373563" algn="l"/>
                <a:tab pos="4822825" algn="l"/>
                <a:tab pos="5272088" algn="l"/>
                <a:tab pos="5721350" algn="l"/>
                <a:tab pos="6170613" algn="l"/>
                <a:tab pos="6619875" algn="l"/>
                <a:tab pos="7069138" algn="l"/>
                <a:tab pos="7518400" algn="l"/>
                <a:tab pos="7967663" algn="l"/>
                <a:tab pos="8416925" algn="l"/>
                <a:tab pos="8866188" algn="l"/>
                <a:tab pos="9315450"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331788" algn="l"/>
                <a:tab pos="779463" algn="l"/>
                <a:tab pos="1228725" algn="l"/>
                <a:tab pos="1677988" algn="l"/>
                <a:tab pos="2127250" algn="l"/>
                <a:tab pos="2576513" algn="l"/>
                <a:tab pos="3025775" algn="l"/>
                <a:tab pos="3475038" algn="l"/>
                <a:tab pos="3924300" algn="l"/>
                <a:tab pos="4373563" algn="l"/>
                <a:tab pos="4822825" algn="l"/>
                <a:tab pos="5272088" algn="l"/>
                <a:tab pos="5721350" algn="l"/>
                <a:tab pos="6170613" algn="l"/>
                <a:tab pos="6619875" algn="l"/>
                <a:tab pos="7069138" algn="l"/>
                <a:tab pos="7518400" algn="l"/>
                <a:tab pos="7967663" algn="l"/>
                <a:tab pos="8416925" algn="l"/>
                <a:tab pos="8866188" algn="l"/>
                <a:tab pos="9315450"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331788" algn="l"/>
                <a:tab pos="779463" algn="l"/>
                <a:tab pos="1228725" algn="l"/>
                <a:tab pos="1677988" algn="l"/>
                <a:tab pos="2127250" algn="l"/>
                <a:tab pos="2576513" algn="l"/>
                <a:tab pos="3025775" algn="l"/>
                <a:tab pos="3475038" algn="l"/>
                <a:tab pos="3924300" algn="l"/>
                <a:tab pos="4373563" algn="l"/>
                <a:tab pos="4822825" algn="l"/>
                <a:tab pos="5272088" algn="l"/>
                <a:tab pos="5721350" algn="l"/>
                <a:tab pos="6170613" algn="l"/>
                <a:tab pos="6619875" algn="l"/>
                <a:tab pos="7069138" algn="l"/>
                <a:tab pos="7518400" algn="l"/>
                <a:tab pos="7967663" algn="l"/>
                <a:tab pos="8416925" algn="l"/>
                <a:tab pos="8866188" algn="l"/>
                <a:tab pos="9315450" algn="l"/>
              </a:tabLst>
              <a:defRPr sz="2200">
                <a:solidFill>
                  <a:srgbClr val="000000"/>
                </a:solidFill>
                <a:latin typeface="Arial" panose="020B0604020202020204" pitchFamily="34" charset="0"/>
                <a:ea typeface="ヒラギノ角ゴ Pro W3"/>
                <a:cs typeface="ヒラギノ角ゴ Pro W3"/>
              </a:defRPr>
            </a:lvl9pPr>
          </a:lstStyle>
          <a:p>
            <a:pPr lvl="1" eaLnBrk="1" hangingPunct="1">
              <a:spcBef>
                <a:spcPts val="1200"/>
              </a:spcBef>
              <a:buFont typeface="Times New Roman" panose="02020603050405020304" pitchFamily="18" charset="0"/>
              <a:buBlip>
                <a:blip r:embed="rId3"/>
              </a:buBlip>
            </a:pPr>
            <a:r>
              <a:rPr lang="en-US" altLang="en-US" sz="2400">
                <a:solidFill>
                  <a:schemeClr val="tx1"/>
                </a:solidFill>
                <a:cs typeface="Arial" panose="020B0604020202020204" pitchFamily="34" charset="0"/>
              </a:rPr>
              <a:t>Online filing by local agents of industrial design, patent and trademark applications and subsequent requests</a:t>
            </a:r>
          </a:p>
        </p:txBody>
      </p:sp>
      <p:sp>
        <p:nvSpPr>
          <p:cNvPr id="4099" name="Text Box 2">
            <a:extLst>
              <a:ext uri="{FF2B5EF4-FFF2-40B4-BE49-F238E27FC236}">
                <a16:creationId xmlns:a16="http://schemas.microsoft.com/office/drawing/2014/main" id="{3EDEED22-E1BA-4BAC-8660-A0968988CDA8}"/>
              </a:ext>
            </a:extLst>
          </p:cNvPr>
          <p:cNvSpPr txBox="1">
            <a:spLocks noChangeArrowheads="1"/>
          </p:cNvSpPr>
          <p:nvPr/>
        </p:nvSpPr>
        <p:spPr bwMode="auto">
          <a:xfrm>
            <a:off x="457200" y="274638"/>
            <a:ext cx="8534400" cy="792162"/>
          </a:xfrm>
          <a:prstGeom prst="rect">
            <a:avLst/>
          </a:prstGeom>
          <a:noFill/>
          <a:ln>
            <a:noFill/>
          </a:ln>
          <a:effectLst/>
        </p:spPr>
        <p:txBody>
          <a:bodyPr lIns="90000" tIns="46800" rIns="90000" bIns="46800" anchor="ct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charset="0"/>
                <a:ea typeface="ヒラギノ角ゴ Pro W3" pitchFamily="1" charset="-128"/>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charset="0"/>
                <a:ea typeface="ヒラギノ角ゴ Pro W3" pitchFamily="1" charset="-128"/>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charset="0"/>
                <a:ea typeface="ヒラギノ角ゴ Pro W3" pitchFamily="1" charset="-128"/>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charset="0"/>
                <a:ea typeface="ヒラギノ角ゴ Pro W3" pitchFamily="1" charset="-128"/>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charset="0"/>
                <a:ea typeface="ヒラギノ角ゴ Pro W3" pitchFamily="1" charset="-128"/>
              </a:defRPr>
            </a:lvl5pPr>
            <a:lvl6pPr marL="2514600" indent="-228600" defTabSz="449263" eaLnBrk="0" fontAlgn="base" hangingPunct="0">
              <a:spcBef>
                <a:spcPts val="55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charset="0"/>
                <a:ea typeface="ヒラギノ角ゴ Pro W3" pitchFamily="1" charset="-128"/>
              </a:defRPr>
            </a:lvl6pPr>
            <a:lvl7pPr marL="2971800" indent="-228600" defTabSz="449263" eaLnBrk="0" fontAlgn="base" hangingPunct="0">
              <a:spcBef>
                <a:spcPts val="55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charset="0"/>
                <a:ea typeface="ヒラギノ角ゴ Pro W3" pitchFamily="1" charset="-128"/>
              </a:defRPr>
            </a:lvl7pPr>
            <a:lvl8pPr marL="3429000" indent="-228600" defTabSz="449263" eaLnBrk="0" fontAlgn="base" hangingPunct="0">
              <a:spcBef>
                <a:spcPts val="55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charset="0"/>
                <a:ea typeface="ヒラギノ角ゴ Pro W3" pitchFamily="1" charset="-128"/>
              </a:defRPr>
            </a:lvl8pPr>
            <a:lvl9pPr marL="3886200" indent="-228600" defTabSz="449263" eaLnBrk="0" fontAlgn="base" hangingPunct="0">
              <a:spcBef>
                <a:spcPts val="550"/>
              </a:spcBef>
              <a:spcAft>
                <a:spcPct val="0"/>
              </a:spcAft>
              <a:buClr>
                <a:srgbClr val="000000"/>
              </a:buClr>
              <a:buSzPct val="100000"/>
              <a:buFont typeface="Times New Roman"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charset="0"/>
                <a:ea typeface="ヒラギノ角ゴ Pro W3" pitchFamily="1" charset="-128"/>
              </a:defRPr>
            </a:lvl9pPr>
          </a:lstStyle>
          <a:p>
            <a:pPr algn="ctr">
              <a:buSzPct val="100000"/>
              <a:defRPr/>
            </a:pPr>
            <a:r>
              <a:rPr lang="en-US" sz="3600" dirty="0">
                <a:solidFill>
                  <a:srgbClr val="00408C"/>
                </a:solidFill>
                <a:latin typeface="+mj-lt"/>
                <a:cs typeface="Arial" charset="0"/>
              </a:rPr>
              <a:t>WIPO File</a:t>
            </a:r>
            <a:endParaRPr lang="en-US" altLang="en-US" sz="3600" dirty="0">
              <a:solidFill>
                <a:srgbClr val="00408C"/>
              </a:solidFill>
              <a:latin typeface="+mj-lt"/>
              <a:cs typeface="Arial" charset="0"/>
            </a:endParaRPr>
          </a:p>
        </p:txBody>
      </p:sp>
      <p:pic>
        <p:nvPicPr>
          <p:cNvPr id="48132" name="Picture 3">
            <a:extLst>
              <a:ext uri="{FF2B5EF4-FFF2-40B4-BE49-F238E27FC236}">
                <a16:creationId xmlns:a16="http://schemas.microsoft.com/office/drawing/2014/main" id="{1D09C752-19F0-4605-821E-02D3A46CA69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2190750"/>
            <a:ext cx="6818313" cy="382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ext Box 1">
            <a:extLst>
              <a:ext uri="{FF2B5EF4-FFF2-40B4-BE49-F238E27FC236}">
                <a16:creationId xmlns:a16="http://schemas.microsoft.com/office/drawing/2014/main" id="{C59359DA-3918-4116-95D6-8430F14EE641}"/>
              </a:ext>
            </a:extLst>
          </p:cNvPr>
          <p:cNvSpPr txBox="1">
            <a:spLocks noChangeArrowheads="1"/>
          </p:cNvSpPr>
          <p:nvPr/>
        </p:nvSpPr>
        <p:spPr bwMode="auto">
          <a:xfrm>
            <a:off x="468313" y="333375"/>
            <a:ext cx="8205787" cy="9350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9pPr>
          </a:lstStyle>
          <a:p>
            <a:pPr eaLnBrk="1" hangingPunct="1">
              <a:spcBef>
                <a:spcPct val="0"/>
              </a:spcBef>
              <a:buClrTx/>
              <a:buSzTx/>
              <a:buFontTx/>
              <a:buNone/>
            </a:pPr>
            <a:r>
              <a:rPr lang="en-US" altLang="en-US" sz="3200">
                <a:solidFill>
                  <a:srgbClr val="00408C"/>
                </a:solidFill>
                <a:ea typeface="Arial Unicode MS" pitchFamily="34" charset="-128"/>
              </a:rPr>
              <a:t>Online Filing Services for Local Agents</a:t>
            </a:r>
          </a:p>
        </p:txBody>
      </p:sp>
      <p:sp>
        <p:nvSpPr>
          <p:cNvPr id="50179" name="Text Box 2">
            <a:extLst>
              <a:ext uri="{FF2B5EF4-FFF2-40B4-BE49-F238E27FC236}">
                <a16:creationId xmlns:a16="http://schemas.microsoft.com/office/drawing/2014/main" id="{5CBFE598-BD1A-457E-BCE1-181C5DEC1668}"/>
              </a:ext>
            </a:extLst>
          </p:cNvPr>
          <p:cNvSpPr txBox="1">
            <a:spLocks noChangeArrowheads="1"/>
          </p:cNvSpPr>
          <p:nvPr/>
        </p:nvSpPr>
        <p:spPr bwMode="auto">
          <a:xfrm>
            <a:off x="468313" y="1295400"/>
            <a:ext cx="8351837" cy="48244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marL="341313" indent="-341313">
              <a:spcBef>
                <a:spcPts val="550"/>
              </a:spcBef>
              <a:buClr>
                <a:srgbClr val="000000"/>
              </a:buClr>
              <a:buSzPct val="100000"/>
              <a:buFont typeface="Times New Roman" panose="02020603050405020304" pitchFamily="18" charset="0"/>
              <a:tabLst>
                <a:tab pos="911225" algn="l"/>
                <a:tab pos="1825625" algn="l"/>
                <a:tab pos="2740025" algn="l"/>
                <a:tab pos="3654425" algn="l"/>
                <a:tab pos="4568825" algn="l"/>
                <a:tab pos="5483225" algn="l"/>
                <a:tab pos="6397625" algn="l"/>
                <a:tab pos="7312025" algn="l"/>
                <a:tab pos="8226425" algn="l"/>
                <a:tab pos="9140825" algn="l"/>
                <a:tab pos="10055225"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911225" algn="l"/>
                <a:tab pos="1825625" algn="l"/>
                <a:tab pos="2740025" algn="l"/>
                <a:tab pos="3654425" algn="l"/>
                <a:tab pos="4568825" algn="l"/>
                <a:tab pos="5483225" algn="l"/>
                <a:tab pos="6397625" algn="l"/>
                <a:tab pos="7312025" algn="l"/>
                <a:tab pos="8226425" algn="l"/>
                <a:tab pos="9140825" algn="l"/>
                <a:tab pos="10055225"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911225" algn="l"/>
                <a:tab pos="1825625" algn="l"/>
                <a:tab pos="2740025" algn="l"/>
                <a:tab pos="3654425" algn="l"/>
                <a:tab pos="4568825" algn="l"/>
                <a:tab pos="5483225" algn="l"/>
                <a:tab pos="6397625" algn="l"/>
                <a:tab pos="7312025" algn="l"/>
                <a:tab pos="8226425" algn="l"/>
                <a:tab pos="9140825" algn="l"/>
                <a:tab pos="10055225"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911225" algn="l"/>
                <a:tab pos="1825625" algn="l"/>
                <a:tab pos="2740025" algn="l"/>
                <a:tab pos="3654425" algn="l"/>
                <a:tab pos="4568825" algn="l"/>
                <a:tab pos="5483225" algn="l"/>
                <a:tab pos="6397625" algn="l"/>
                <a:tab pos="7312025" algn="l"/>
                <a:tab pos="8226425" algn="l"/>
                <a:tab pos="9140825" algn="l"/>
                <a:tab pos="10055225"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911225" algn="l"/>
                <a:tab pos="1825625" algn="l"/>
                <a:tab pos="2740025" algn="l"/>
                <a:tab pos="3654425" algn="l"/>
                <a:tab pos="4568825" algn="l"/>
                <a:tab pos="5483225" algn="l"/>
                <a:tab pos="6397625" algn="l"/>
                <a:tab pos="7312025" algn="l"/>
                <a:tab pos="8226425" algn="l"/>
                <a:tab pos="9140825" algn="l"/>
                <a:tab pos="10055225"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911225" algn="l"/>
                <a:tab pos="1825625" algn="l"/>
                <a:tab pos="2740025" algn="l"/>
                <a:tab pos="3654425" algn="l"/>
                <a:tab pos="4568825" algn="l"/>
                <a:tab pos="5483225" algn="l"/>
                <a:tab pos="6397625" algn="l"/>
                <a:tab pos="7312025" algn="l"/>
                <a:tab pos="8226425" algn="l"/>
                <a:tab pos="9140825" algn="l"/>
                <a:tab pos="10055225"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911225" algn="l"/>
                <a:tab pos="1825625" algn="l"/>
                <a:tab pos="2740025" algn="l"/>
                <a:tab pos="3654425" algn="l"/>
                <a:tab pos="4568825" algn="l"/>
                <a:tab pos="5483225" algn="l"/>
                <a:tab pos="6397625" algn="l"/>
                <a:tab pos="7312025" algn="l"/>
                <a:tab pos="8226425" algn="l"/>
                <a:tab pos="9140825" algn="l"/>
                <a:tab pos="10055225"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911225" algn="l"/>
                <a:tab pos="1825625" algn="l"/>
                <a:tab pos="2740025" algn="l"/>
                <a:tab pos="3654425" algn="l"/>
                <a:tab pos="4568825" algn="l"/>
                <a:tab pos="5483225" algn="l"/>
                <a:tab pos="6397625" algn="l"/>
                <a:tab pos="7312025" algn="l"/>
                <a:tab pos="8226425" algn="l"/>
                <a:tab pos="9140825" algn="l"/>
                <a:tab pos="10055225"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911225" algn="l"/>
                <a:tab pos="1825625" algn="l"/>
                <a:tab pos="2740025" algn="l"/>
                <a:tab pos="3654425" algn="l"/>
                <a:tab pos="4568825" algn="l"/>
                <a:tab pos="5483225" algn="l"/>
                <a:tab pos="6397625" algn="l"/>
                <a:tab pos="7312025" algn="l"/>
                <a:tab pos="8226425" algn="l"/>
                <a:tab pos="9140825" algn="l"/>
                <a:tab pos="10055225" algn="l"/>
              </a:tabLst>
              <a:defRPr sz="2200">
                <a:solidFill>
                  <a:srgbClr val="000000"/>
                </a:solidFill>
                <a:latin typeface="Arial" panose="020B0604020202020204" pitchFamily="34" charset="0"/>
                <a:ea typeface="ヒラギノ角ゴ Pro W3"/>
                <a:cs typeface="ヒラギノ角ゴ Pro W3"/>
              </a:defRPr>
            </a:lvl9pPr>
          </a:lstStyle>
          <a:p>
            <a:pPr eaLnBrk="1" hangingPunct="1">
              <a:lnSpc>
                <a:spcPct val="90000"/>
              </a:lnSpc>
              <a:spcBef>
                <a:spcPts val="1200"/>
              </a:spcBef>
              <a:buClrTx/>
              <a:buSzPct val="79000"/>
              <a:buFont typeface="Times New Roman" panose="02020603050405020304" pitchFamily="18" charset="0"/>
              <a:buBlip>
                <a:blip r:embed="rId3"/>
              </a:buBlip>
            </a:pPr>
            <a:r>
              <a:rPr lang="en-US" altLang="en-US" sz="2400">
                <a:solidFill>
                  <a:schemeClr val="tx1"/>
                </a:solidFill>
                <a:cs typeface="Arial" panose="020B0604020202020204" pitchFamily="34" charset="0"/>
              </a:rPr>
              <a:t>Drafting and submission of new application of industrial designs, patents and trademarks, with required supporting documents</a:t>
            </a:r>
          </a:p>
          <a:p>
            <a:pPr eaLnBrk="1" hangingPunct="1">
              <a:spcBef>
                <a:spcPts val="1200"/>
              </a:spcBef>
              <a:buClrTx/>
              <a:buSzPct val="79000"/>
              <a:buFont typeface="Times New Roman" panose="02020603050405020304" pitchFamily="18" charset="0"/>
              <a:buBlip>
                <a:blip r:embed="rId3"/>
              </a:buBlip>
            </a:pPr>
            <a:r>
              <a:rPr lang="en-US" altLang="en-US" sz="2400">
                <a:solidFill>
                  <a:schemeClr val="tx1"/>
                </a:solidFill>
                <a:cs typeface="Arial" panose="020B0604020202020204" pitchFamily="34" charset="0"/>
              </a:rPr>
              <a:t>Post-filing requests including renewal, payment of annuities, change of owner, change of representatives, </a:t>
            </a:r>
            <a:r>
              <a:rPr lang="en-US" altLang="en-US" sz="2400">
                <a:cs typeface="Arial" panose="020B0604020202020204" pitchFamily="34" charset="0"/>
              </a:rPr>
              <a:t>amended claims, description, etc.</a:t>
            </a:r>
            <a:r>
              <a:rPr lang="en-US" altLang="en-US" sz="2400">
                <a:solidFill>
                  <a:schemeClr val="tx1"/>
                </a:solidFill>
                <a:cs typeface="Arial" panose="020B0604020202020204" pitchFamily="34" charset="0"/>
              </a:rPr>
              <a:t> </a:t>
            </a:r>
            <a:endParaRPr lang="en-US" altLang="en-US" sz="2000">
              <a:solidFill>
                <a:schemeClr val="tx1"/>
              </a:solidFill>
              <a:cs typeface="Arial" panose="020B0604020202020204" pitchFamily="34" charset="0"/>
            </a:endParaRPr>
          </a:p>
          <a:p>
            <a:pPr eaLnBrk="1" hangingPunct="1">
              <a:spcBef>
                <a:spcPts val="1200"/>
              </a:spcBef>
              <a:buClrTx/>
              <a:buSzPct val="79000"/>
              <a:buFont typeface="Times New Roman" panose="02020603050405020304" pitchFamily="18" charset="0"/>
              <a:buBlip>
                <a:blip r:embed="rId3"/>
              </a:buBlip>
            </a:pPr>
            <a:r>
              <a:rPr lang="en-US" altLang="en-US" sz="2400">
                <a:solidFill>
                  <a:schemeClr val="tx1"/>
                </a:solidFill>
                <a:cs typeface="Arial" panose="020B0604020202020204" pitchFamily="34" charset="0"/>
              </a:rPr>
              <a:t>Viewing, filtering, management of e-filing requests in portfolios and workbench</a:t>
            </a:r>
          </a:p>
          <a:p>
            <a:pPr eaLnBrk="1" hangingPunct="1">
              <a:spcBef>
                <a:spcPts val="1200"/>
              </a:spcBef>
              <a:buClrTx/>
              <a:buSzPct val="79000"/>
              <a:buFont typeface="Times New Roman" panose="02020603050405020304" pitchFamily="18" charset="0"/>
              <a:buBlip>
                <a:blip r:embed="rId3"/>
              </a:buBlip>
            </a:pPr>
            <a:r>
              <a:rPr lang="en-US" altLang="en-US" sz="2400">
                <a:solidFill>
                  <a:schemeClr val="tx1"/>
                </a:solidFill>
                <a:cs typeface="Arial" panose="020B0604020202020204" pitchFamily="34" charset="0"/>
              </a:rPr>
              <a:t>Possibility to receive online Office correspondences in response to e-filing requests.</a:t>
            </a: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6" name="Picture 2">
            <a:extLst>
              <a:ext uri="{FF2B5EF4-FFF2-40B4-BE49-F238E27FC236}">
                <a16:creationId xmlns:a16="http://schemas.microsoft.com/office/drawing/2014/main" id="{1E8E7DBF-0EB3-4B39-AC7B-B97E8D047B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775" y="1417638"/>
            <a:ext cx="8963025" cy="4179887"/>
          </a:xfrm>
          <a:prstGeom prst="rect">
            <a:avLst/>
          </a:prstGeom>
          <a:noFill/>
          <a:ln>
            <a:noFill/>
          </a:ln>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Content Placeholder 9">
            <a:extLst>
              <a:ext uri="{FF2B5EF4-FFF2-40B4-BE49-F238E27FC236}">
                <a16:creationId xmlns:a16="http://schemas.microsoft.com/office/drawing/2014/main" id="{B2904749-1A50-44CB-832D-D38D09E6231B}"/>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54025" y="2027238"/>
            <a:ext cx="4038600" cy="3687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Content Placeholder 10">
            <a:extLst>
              <a:ext uri="{FF2B5EF4-FFF2-40B4-BE49-F238E27FC236}">
                <a16:creationId xmlns:a16="http://schemas.microsoft.com/office/drawing/2014/main" id="{96BA778A-658C-4410-84C6-A814E1F7D5B1}"/>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648200" y="2011363"/>
            <a:ext cx="4038600" cy="3703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229" name="Text Box 2">
            <a:extLst>
              <a:ext uri="{FF2B5EF4-FFF2-40B4-BE49-F238E27FC236}">
                <a16:creationId xmlns:a16="http://schemas.microsoft.com/office/drawing/2014/main" id="{9D084F0F-9B84-4180-B2EF-8C0E85D1B094}"/>
              </a:ext>
            </a:extLst>
          </p:cNvPr>
          <p:cNvSpPr txBox="1">
            <a:spLocks noChangeArrowheads="1"/>
          </p:cNvSpPr>
          <p:nvPr/>
        </p:nvSpPr>
        <p:spPr bwMode="auto">
          <a:xfrm>
            <a:off x="304800" y="274638"/>
            <a:ext cx="8229600" cy="1143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nchor="ctr"/>
          <a:lstStyle>
            <a:lvl1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9pPr>
          </a:lstStyle>
          <a:p>
            <a:pPr algn="ctr" eaLnBrk="1" hangingPunct="1">
              <a:spcBef>
                <a:spcPct val="0"/>
              </a:spcBef>
              <a:buClrTx/>
              <a:buSzTx/>
              <a:buFontTx/>
              <a:buNone/>
            </a:pPr>
            <a:r>
              <a:rPr lang="en-US" altLang="en-US" sz="3600">
                <a:solidFill>
                  <a:srgbClr val="00408C"/>
                </a:solidFill>
                <a:cs typeface="Arial" panose="020B0604020202020204" pitchFamily="34" charset="0"/>
              </a:rPr>
              <a:t>New Patent Application Form </a:t>
            </a:r>
          </a:p>
        </p:txBody>
      </p:sp>
      <p:pic>
        <p:nvPicPr>
          <p:cNvPr id="8" name="Content Placeholder 6">
            <a:extLst>
              <a:ext uri="{FF2B5EF4-FFF2-40B4-BE49-F238E27FC236}">
                <a16:creationId xmlns:a16="http://schemas.microsoft.com/office/drawing/2014/main" id="{335F6817-2BE7-4BE5-8D81-F135B0667F16}"/>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09600" y="4400550"/>
            <a:ext cx="4038600" cy="188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a:extLst>
              <a:ext uri="{FF2B5EF4-FFF2-40B4-BE49-F238E27FC236}">
                <a16:creationId xmlns:a16="http://schemas.microsoft.com/office/drawing/2014/main" id="{7787456C-CCA7-4F29-81DF-7E434B7B6CAE}"/>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876800" y="4265613"/>
            <a:ext cx="4038600" cy="215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0"/>
                                        <p:tgtEl>
                                          <p:spTgt spid="6"/>
                                        </p:tgtEl>
                                      </p:cBhvr>
                                    </p:animEffect>
                                  </p:childTnLst>
                                  <p:subTnLst>
                                    <p:set>
                                      <p:cBhvr override="childStyle">
                                        <p:cTn dur="1" fill="hold" display="0" masterRel="sameClick" afterEffect="1">
                                          <p:stCondLst>
                                            <p:cond evt="end" delay="0">
                                              <p:tn val="5"/>
                                            </p:cond>
                                          </p:stCondLst>
                                        </p:cTn>
                                        <p:tgtEl>
                                          <p:spTgt spid="6"/>
                                        </p:tgtEl>
                                        <p:attrNameLst>
                                          <p:attrName>style.visibility</p:attrName>
                                        </p:attrNameLst>
                                      </p:cBhvr>
                                      <p:to>
                                        <p:strVal val="hidden"/>
                                      </p:to>
                                    </p:set>
                                  </p:sub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0"/>
                                        <p:tgtEl>
                                          <p:spTgt spid="7"/>
                                        </p:tgtEl>
                                      </p:cBhvr>
                                    </p:animEffect>
                                  </p:childTnLst>
                                  <p:subTnLst>
                                    <p:set>
                                      <p:cBhvr override="childStyle">
                                        <p:cTn dur="1" fill="hold" display="0" masterRel="sameClick" afterEffect="1">
                                          <p:stCondLst>
                                            <p:cond evt="end" delay="0">
                                              <p:tn val="10"/>
                                            </p:cond>
                                          </p:stCondLst>
                                        </p:cTn>
                                        <p:tgtEl>
                                          <p:spTgt spid="7"/>
                                        </p:tgtEl>
                                        <p:attrNameLst>
                                          <p:attrName>style.visibility</p:attrName>
                                        </p:attrNameLst>
                                      </p:cBhvr>
                                      <p:to>
                                        <p:strVal val="hidden"/>
                                      </p:to>
                                    </p:set>
                                  </p:sub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3000"/>
                                        <p:tgtEl>
                                          <p:spTgt spid="8"/>
                                        </p:tgtEl>
                                      </p:cBhvr>
                                    </p:animEffect>
                                  </p:childTnLst>
                                  <p:subTnLst>
                                    <p:set>
                                      <p:cBhvr override="childStyle">
                                        <p:cTn dur="1" fill="hold" display="0" masterRel="sameClick" afterEffect="1">
                                          <p:stCondLst>
                                            <p:cond evt="end" delay="0">
                                              <p:tn val="15"/>
                                            </p:cond>
                                          </p:stCondLst>
                                        </p:cTn>
                                        <p:tgtEl>
                                          <p:spTgt spid="8"/>
                                        </p:tgtEl>
                                        <p:attrNameLst>
                                          <p:attrName>style.visibility</p:attrName>
                                        </p:attrNameLst>
                                      </p:cBhvr>
                                      <p:to>
                                        <p:strVal val="hidden"/>
                                      </p:to>
                                    </p:set>
                                  </p:sub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0"/>
                                        <p:tgtEl>
                                          <p:spTgt spid="9"/>
                                        </p:tgtEl>
                                      </p:cBhvr>
                                    </p:animEffect>
                                  </p:childTnLst>
                                  <p:subTnLst>
                                    <p:set>
                                      <p:cBhvr override="childStyle">
                                        <p:cTn dur="1" fill="hold" display="0" masterRel="sameClick" afterEffect="1">
                                          <p:stCondLst>
                                            <p:cond evt="end" delay="0">
                                              <p:tn val="20"/>
                                            </p:cond>
                                          </p:stCondLst>
                                        </p:cTn>
                                        <p:tgtEl>
                                          <p:spTgt spid="9"/>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ext Box 1">
            <a:extLst>
              <a:ext uri="{FF2B5EF4-FFF2-40B4-BE49-F238E27FC236}">
                <a16:creationId xmlns:a16="http://schemas.microsoft.com/office/drawing/2014/main" id="{8646B927-F0AA-40F3-A283-97BCD191CE5B}"/>
              </a:ext>
            </a:extLst>
          </p:cNvPr>
          <p:cNvSpPr txBox="1">
            <a:spLocks noChangeArrowheads="1"/>
          </p:cNvSpPr>
          <p:nvPr/>
        </p:nvSpPr>
        <p:spPr bwMode="auto">
          <a:xfrm>
            <a:off x="438150" y="1295400"/>
            <a:ext cx="8470900" cy="4017963"/>
          </a:xfrm>
          <a:prstGeom prst="rect">
            <a:avLst/>
          </a:prstGeom>
          <a:noFill/>
          <a:ln>
            <a:noFill/>
          </a:ln>
          <a:effectLst/>
        </p:spPr>
        <p:txBody>
          <a:bodyPr lIns="90000" tIns="46800" rIns="90000" bIns="46800"/>
          <a:lstStyle>
            <a:lvl1pPr marL="334963" indent="-334963" eaLnBrk="0" hangingPunct="0">
              <a:tabLst>
                <a:tab pos="334963" algn="l"/>
                <a:tab pos="782638" algn="l"/>
                <a:tab pos="1231900" algn="l"/>
                <a:tab pos="1681163" algn="l"/>
                <a:tab pos="2130425" algn="l"/>
                <a:tab pos="2579688" algn="l"/>
                <a:tab pos="3028950" algn="l"/>
                <a:tab pos="3478213" algn="l"/>
                <a:tab pos="3927475" algn="l"/>
                <a:tab pos="4376738" algn="l"/>
                <a:tab pos="4826000" algn="l"/>
                <a:tab pos="5275263" algn="l"/>
                <a:tab pos="5724525" algn="l"/>
                <a:tab pos="6173788" algn="l"/>
                <a:tab pos="6623050" algn="l"/>
                <a:tab pos="7072313" algn="l"/>
                <a:tab pos="7521575" algn="l"/>
                <a:tab pos="7970838" algn="l"/>
                <a:tab pos="8420100" algn="l"/>
                <a:tab pos="8869363" algn="l"/>
                <a:tab pos="9318625" algn="l"/>
              </a:tabLst>
              <a:defRPr sz="2400">
                <a:solidFill>
                  <a:schemeClr val="bg1"/>
                </a:solidFill>
                <a:latin typeface="Arial" pitchFamily="34" charset="0"/>
                <a:cs typeface="Arial" pitchFamily="34" charset="0"/>
              </a:defRPr>
            </a:lvl1pPr>
            <a:lvl2pPr eaLnBrk="0" hangingPunct="0">
              <a:tabLst>
                <a:tab pos="334963" algn="l"/>
                <a:tab pos="782638" algn="l"/>
                <a:tab pos="1231900" algn="l"/>
                <a:tab pos="1681163" algn="l"/>
                <a:tab pos="2130425" algn="l"/>
                <a:tab pos="2579688" algn="l"/>
                <a:tab pos="3028950" algn="l"/>
                <a:tab pos="3478213" algn="l"/>
                <a:tab pos="3927475" algn="l"/>
                <a:tab pos="4376738" algn="l"/>
                <a:tab pos="4826000" algn="l"/>
                <a:tab pos="5275263" algn="l"/>
                <a:tab pos="5724525" algn="l"/>
                <a:tab pos="6173788" algn="l"/>
                <a:tab pos="6623050" algn="l"/>
                <a:tab pos="7072313" algn="l"/>
                <a:tab pos="7521575" algn="l"/>
                <a:tab pos="7970838" algn="l"/>
                <a:tab pos="8420100" algn="l"/>
                <a:tab pos="8869363" algn="l"/>
                <a:tab pos="9318625" algn="l"/>
              </a:tabLst>
              <a:defRPr sz="2400">
                <a:solidFill>
                  <a:schemeClr val="bg1"/>
                </a:solidFill>
                <a:latin typeface="Arial" pitchFamily="34" charset="0"/>
                <a:cs typeface="Arial" pitchFamily="34" charset="0"/>
              </a:defRPr>
            </a:lvl2pPr>
            <a:lvl3pPr eaLnBrk="0" hangingPunct="0">
              <a:tabLst>
                <a:tab pos="334963" algn="l"/>
                <a:tab pos="782638" algn="l"/>
                <a:tab pos="1231900" algn="l"/>
                <a:tab pos="1681163" algn="l"/>
                <a:tab pos="2130425" algn="l"/>
                <a:tab pos="2579688" algn="l"/>
                <a:tab pos="3028950" algn="l"/>
                <a:tab pos="3478213" algn="l"/>
                <a:tab pos="3927475" algn="l"/>
                <a:tab pos="4376738" algn="l"/>
                <a:tab pos="4826000" algn="l"/>
                <a:tab pos="5275263" algn="l"/>
                <a:tab pos="5724525" algn="l"/>
                <a:tab pos="6173788" algn="l"/>
                <a:tab pos="6623050" algn="l"/>
                <a:tab pos="7072313" algn="l"/>
                <a:tab pos="7521575" algn="l"/>
                <a:tab pos="7970838" algn="l"/>
                <a:tab pos="8420100" algn="l"/>
                <a:tab pos="8869363" algn="l"/>
                <a:tab pos="9318625" algn="l"/>
              </a:tabLst>
              <a:defRPr sz="2400">
                <a:solidFill>
                  <a:schemeClr val="bg1"/>
                </a:solidFill>
                <a:latin typeface="Arial" pitchFamily="34" charset="0"/>
                <a:cs typeface="Arial" pitchFamily="34" charset="0"/>
              </a:defRPr>
            </a:lvl3pPr>
            <a:lvl4pPr eaLnBrk="0" hangingPunct="0">
              <a:tabLst>
                <a:tab pos="334963" algn="l"/>
                <a:tab pos="782638" algn="l"/>
                <a:tab pos="1231900" algn="l"/>
                <a:tab pos="1681163" algn="l"/>
                <a:tab pos="2130425" algn="l"/>
                <a:tab pos="2579688" algn="l"/>
                <a:tab pos="3028950" algn="l"/>
                <a:tab pos="3478213" algn="l"/>
                <a:tab pos="3927475" algn="l"/>
                <a:tab pos="4376738" algn="l"/>
                <a:tab pos="4826000" algn="l"/>
                <a:tab pos="5275263" algn="l"/>
                <a:tab pos="5724525" algn="l"/>
                <a:tab pos="6173788" algn="l"/>
                <a:tab pos="6623050" algn="l"/>
                <a:tab pos="7072313" algn="l"/>
                <a:tab pos="7521575" algn="l"/>
                <a:tab pos="7970838" algn="l"/>
                <a:tab pos="8420100" algn="l"/>
                <a:tab pos="8869363" algn="l"/>
                <a:tab pos="9318625" algn="l"/>
              </a:tabLst>
              <a:defRPr sz="2400">
                <a:solidFill>
                  <a:schemeClr val="bg1"/>
                </a:solidFill>
                <a:latin typeface="Arial" pitchFamily="34" charset="0"/>
                <a:cs typeface="Arial" pitchFamily="34" charset="0"/>
              </a:defRPr>
            </a:lvl4pPr>
            <a:lvl5pPr eaLnBrk="0" hangingPunct="0">
              <a:tabLst>
                <a:tab pos="334963" algn="l"/>
                <a:tab pos="782638" algn="l"/>
                <a:tab pos="1231900" algn="l"/>
                <a:tab pos="1681163" algn="l"/>
                <a:tab pos="2130425" algn="l"/>
                <a:tab pos="2579688" algn="l"/>
                <a:tab pos="3028950" algn="l"/>
                <a:tab pos="3478213" algn="l"/>
                <a:tab pos="3927475" algn="l"/>
                <a:tab pos="4376738" algn="l"/>
                <a:tab pos="4826000" algn="l"/>
                <a:tab pos="5275263" algn="l"/>
                <a:tab pos="5724525" algn="l"/>
                <a:tab pos="6173788" algn="l"/>
                <a:tab pos="6623050" algn="l"/>
                <a:tab pos="7072313" algn="l"/>
                <a:tab pos="7521575" algn="l"/>
                <a:tab pos="7970838" algn="l"/>
                <a:tab pos="8420100" algn="l"/>
                <a:tab pos="8869363" algn="l"/>
                <a:tab pos="9318625" algn="l"/>
              </a:tabLst>
              <a:defRPr sz="2400">
                <a:solidFill>
                  <a:schemeClr val="bg1"/>
                </a:solidFill>
                <a:latin typeface="Arial" pitchFamily="34" charset="0"/>
                <a:cs typeface="Arial" pitchFamily="34" charset="0"/>
              </a:defRPr>
            </a:lvl5pPr>
            <a:lvl6pPr marL="2514600" indent="-228600" defTabSz="449263" eaLnBrk="0" fontAlgn="base" hangingPunct="0">
              <a:spcBef>
                <a:spcPts val="1500"/>
              </a:spcBef>
              <a:spcAft>
                <a:spcPct val="0"/>
              </a:spcAft>
              <a:buClr>
                <a:srgbClr val="000000"/>
              </a:buClr>
              <a:buSzPct val="100000"/>
              <a:buFont typeface="Times New Roman" pitchFamily="18" charset="0"/>
              <a:tabLst>
                <a:tab pos="334963" algn="l"/>
                <a:tab pos="782638" algn="l"/>
                <a:tab pos="1231900" algn="l"/>
                <a:tab pos="1681163" algn="l"/>
                <a:tab pos="2130425" algn="l"/>
                <a:tab pos="2579688" algn="l"/>
                <a:tab pos="3028950" algn="l"/>
                <a:tab pos="3478213" algn="l"/>
                <a:tab pos="3927475" algn="l"/>
                <a:tab pos="4376738" algn="l"/>
                <a:tab pos="4826000" algn="l"/>
                <a:tab pos="5275263" algn="l"/>
                <a:tab pos="5724525" algn="l"/>
                <a:tab pos="6173788" algn="l"/>
                <a:tab pos="6623050" algn="l"/>
                <a:tab pos="7072313" algn="l"/>
                <a:tab pos="7521575" algn="l"/>
                <a:tab pos="7970838" algn="l"/>
                <a:tab pos="8420100" algn="l"/>
                <a:tab pos="8869363" algn="l"/>
                <a:tab pos="9318625" algn="l"/>
              </a:tabLst>
              <a:defRPr sz="2400">
                <a:solidFill>
                  <a:schemeClr val="bg1"/>
                </a:solidFill>
                <a:latin typeface="Arial" pitchFamily="34" charset="0"/>
                <a:cs typeface="Arial" pitchFamily="34" charset="0"/>
              </a:defRPr>
            </a:lvl6pPr>
            <a:lvl7pPr marL="2971800" indent="-228600" defTabSz="449263" eaLnBrk="0" fontAlgn="base" hangingPunct="0">
              <a:spcBef>
                <a:spcPts val="1500"/>
              </a:spcBef>
              <a:spcAft>
                <a:spcPct val="0"/>
              </a:spcAft>
              <a:buClr>
                <a:srgbClr val="000000"/>
              </a:buClr>
              <a:buSzPct val="100000"/>
              <a:buFont typeface="Times New Roman" pitchFamily="18" charset="0"/>
              <a:tabLst>
                <a:tab pos="334963" algn="l"/>
                <a:tab pos="782638" algn="l"/>
                <a:tab pos="1231900" algn="l"/>
                <a:tab pos="1681163" algn="l"/>
                <a:tab pos="2130425" algn="l"/>
                <a:tab pos="2579688" algn="l"/>
                <a:tab pos="3028950" algn="l"/>
                <a:tab pos="3478213" algn="l"/>
                <a:tab pos="3927475" algn="l"/>
                <a:tab pos="4376738" algn="l"/>
                <a:tab pos="4826000" algn="l"/>
                <a:tab pos="5275263" algn="l"/>
                <a:tab pos="5724525" algn="l"/>
                <a:tab pos="6173788" algn="l"/>
                <a:tab pos="6623050" algn="l"/>
                <a:tab pos="7072313" algn="l"/>
                <a:tab pos="7521575" algn="l"/>
                <a:tab pos="7970838" algn="l"/>
                <a:tab pos="8420100" algn="l"/>
                <a:tab pos="8869363" algn="l"/>
                <a:tab pos="9318625" algn="l"/>
              </a:tabLst>
              <a:defRPr sz="2400">
                <a:solidFill>
                  <a:schemeClr val="bg1"/>
                </a:solidFill>
                <a:latin typeface="Arial" pitchFamily="34" charset="0"/>
                <a:cs typeface="Arial" pitchFamily="34" charset="0"/>
              </a:defRPr>
            </a:lvl7pPr>
            <a:lvl8pPr marL="3429000" indent="-228600" defTabSz="449263" eaLnBrk="0" fontAlgn="base" hangingPunct="0">
              <a:spcBef>
                <a:spcPts val="1500"/>
              </a:spcBef>
              <a:spcAft>
                <a:spcPct val="0"/>
              </a:spcAft>
              <a:buClr>
                <a:srgbClr val="000000"/>
              </a:buClr>
              <a:buSzPct val="100000"/>
              <a:buFont typeface="Times New Roman" pitchFamily="18" charset="0"/>
              <a:tabLst>
                <a:tab pos="334963" algn="l"/>
                <a:tab pos="782638" algn="l"/>
                <a:tab pos="1231900" algn="l"/>
                <a:tab pos="1681163" algn="l"/>
                <a:tab pos="2130425" algn="l"/>
                <a:tab pos="2579688" algn="l"/>
                <a:tab pos="3028950" algn="l"/>
                <a:tab pos="3478213" algn="l"/>
                <a:tab pos="3927475" algn="l"/>
                <a:tab pos="4376738" algn="l"/>
                <a:tab pos="4826000" algn="l"/>
                <a:tab pos="5275263" algn="l"/>
                <a:tab pos="5724525" algn="l"/>
                <a:tab pos="6173788" algn="l"/>
                <a:tab pos="6623050" algn="l"/>
                <a:tab pos="7072313" algn="l"/>
                <a:tab pos="7521575" algn="l"/>
                <a:tab pos="7970838" algn="l"/>
                <a:tab pos="8420100" algn="l"/>
                <a:tab pos="8869363" algn="l"/>
                <a:tab pos="9318625" algn="l"/>
              </a:tabLst>
              <a:defRPr sz="2400">
                <a:solidFill>
                  <a:schemeClr val="bg1"/>
                </a:solidFill>
                <a:latin typeface="Arial" pitchFamily="34" charset="0"/>
                <a:cs typeface="Arial" pitchFamily="34" charset="0"/>
              </a:defRPr>
            </a:lvl8pPr>
            <a:lvl9pPr marL="3886200" indent="-228600" defTabSz="449263" eaLnBrk="0" fontAlgn="base" hangingPunct="0">
              <a:spcBef>
                <a:spcPts val="1500"/>
              </a:spcBef>
              <a:spcAft>
                <a:spcPct val="0"/>
              </a:spcAft>
              <a:buClr>
                <a:srgbClr val="000000"/>
              </a:buClr>
              <a:buSzPct val="100000"/>
              <a:buFont typeface="Times New Roman" pitchFamily="18" charset="0"/>
              <a:tabLst>
                <a:tab pos="334963" algn="l"/>
                <a:tab pos="782638" algn="l"/>
                <a:tab pos="1231900" algn="l"/>
                <a:tab pos="1681163" algn="l"/>
                <a:tab pos="2130425" algn="l"/>
                <a:tab pos="2579688" algn="l"/>
                <a:tab pos="3028950" algn="l"/>
                <a:tab pos="3478213" algn="l"/>
                <a:tab pos="3927475" algn="l"/>
                <a:tab pos="4376738" algn="l"/>
                <a:tab pos="4826000" algn="l"/>
                <a:tab pos="5275263" algn="l"/>
                <a:tab pos="5724525" algn="l"/>
                <a:tab pos="6173788" algn="l"/>
                <a:tab pos="6623050" algn="l"/>
                <a:tab pos="7072313" algn="l"/>
                <a:tab pos="7521575" algn="l"/>
                <a:tab pos="7970838" algn="l"/>
                <a:tab pos="8420100" algn="l"/>
                <a:tab pos="8869363" algn="l"/>
                <a:tab pos="9318625" algn="l"/>
              </a:tabLst>
              <a:defRPr sz="2400">
                <a:solidFill>
                  <a:schemeClr val="bg1"/>
                </a:solidFill>
                <a:latin typeface="Arial" pitchFamily="34" charset="0"/>
                <a:cs typeface="Arial" pitchFamily="34" charset="0"/>
              </a:defRPr>
            </a:lvl9pPr>
          </a:lstStyle>
          <a:p>
            <a:pPr eaLnBrk="1" hangingPunct="1">
              <a:spcBef>
                <a:spcPts val="1200"/>
              </a:spcBef>
              <a:buFont typeface="Times New Roman" pitchFamily="18" charset="0"/>
              <a:buBlip>
                <a:blip r:embed="rId3"/>
              </a:buBlip>
              <a:defRPr/>
            </a:pPr>
            <a:r>
              <a:rPr lang="en-GB" altLang="en-US" dirty="0">
                <a:solidFill>
                  <a:srgbClr val="000000"/>
                </a:solidFill>
                <a:ea typeface="ヒラギノ角ゴ Pro W3" pitchFamily="1" charset="-128"/>
              </a:rPr>
              <a:t>Submissions and follow-up (submitted, </a:t>
            </a:r>
            <a:r>
              <a:rPr lang="en-GB" altLang="en-US" u="sng" dirty="0">
                <a:solidFill>
                  <a:srgbClr val="000000"/>
                </a:solidFill>
                <a:ea typeface="ヒラギノ角ゴ Pro W3" pitchFamily="1" charset="-128"/>
              </a:rPr>
              <a:t>accepted/rejected</a:t>
            </a:r>
            <a:r>
              <a:rPr lang="en-GB" altLang="en-US" dirty="0">
                <a:solidFill>
                  <a:srgbClr val="000000"/>
                </a:solidFill>
                <a:ea typeface="ヒラギノ角ゴ Pro W3" pitchFamily="1" charset="-128"/>
              </a:rPr>
              <a:t>, pending payment, ready for reception, received)</a:t>
            </a:r>
          </a:p>
          <a:p>
            <a:pPr eaLnBrk="1" hangingPunct="1">
              <a:spcBef>
                <a:spcPts val="1200"/>
              </a:spcBef>
              <a:buFont typeface="Times New Roman" pitchFamily="18" charset="0"/>
              <a:buBlip>
                <a:blip r:embed="rId3"/>
              </a:buBlip>
              <a:defRPr/>
            </a:pPr>
            <a:endParaRPr lang="en-GB" altLang="en-US" dirty="0">
              <a:solidFill>
                <a:srgbClr val="000000"/>
              </a:solidFill>
              <a:ea typeface="ヒラギノ角ゴ Pro W3" pitchFamily="1" charset="-128"/>
            </a:endParaRPr>
          </a:p>
          <a:p>
            <a:pPr marL="0" indent="0" eaLnBrk="1" hangingPunct="1">
              <a:spcBef>
                <a:spcPts val="1200"/>
              </a:spcBef>
              <a:defRPr/>
            </a:pPr>
            <a:br>
              <a:rPr lang="en-GB" altLang="en-US" dirty="0">
                <a:solidFill>
                  <a:srgbClr val="000000"/>
                </a:solidFill>
                <a:ea typeface="ヒラギノ角ゴ Pro W3" pitchFamily="1" charset="-128"/>
              </a:rPr>
            </a:br>
            <a:endParaRPr lang="en-GB" altLang="en-US" dirty="0">
              <a:solidFill>
                <a:srgbClr val="000000"/>
              </a:solidFill>
              <a:ea typeface="ヒラギノ角ゴ Pro W3" pitchFamily="1" charset="-128"/>
            </a:endParaRPr>
          </a:p>
        </p:txBody>
      </p:sp>
      <p:sp>
        <p:nvSpPr>
          <p:cNvPr id="54275" name="Text Box 2">
            <a:extLst>
              <a:ext uri="{FF2B5EF4-FFF2-40B4-BE49-F238E27FC236}">
                <a16:creationId xmlns:a16="http://schemas.microsoft.com/office/drawing/2014/main" id="{6A66A7CB-DB06-4AE9-AE3B-1EEA243EFE26}"/>
              </a:ext>
            </a:extLst>
          </p:cNvPr>
          <p:cNvSpPr txBox="1">
            <a:spLocks noChangeArrowheads="1"/>
          </p:cNvSpPr>
          <p:nvPr/>
        </p:nvSpPr>
        <p:spPr bwMode="auto">
          <a:xfrm>
            <a:off x="304800" y="274638"/>
            <a:ext cx="8229600" cy="1143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nchor="ctr"/>
          <a:lstStyle>
            <a:lvl1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200">
                <a:solidFill>
                  <a:srgbClr val="000000"/>
                </a:solidFill>
                <a:latin typeface="Arial" panose="020B0604020202020204" pitchFamily="34" charset="0"/>
                <a:ea typeface="ヒラギノ角ゴ Pro W3"/>
                <a:cs typeface="ヒラギノ角ゴ Pro W3"/>
              </a:defRPr>
            </a:lvl9pPr>
          </a:lstStyle>
          <a:p>
            <a:pPr algn="ctr" eaLnBrk="1" hangingPunct="1">
              <a:spcBef>
                <a:spcPct val="0"/>
              </a:spcBef>
              <a:buClrTx/>
              <a:buSzTx/>
              <a:buFontTx/>
              <a:buNone/>
            </a:pPr>
            <a:r>
              <a:rPr lang="en-US" altLang="en-US" sz="3600">
                <a:solidFill>
                  <a:srgbClr val="00408C"/>
                </a:solidFill>
                <a:cs typeface="Arial" panose="020B0604020202020204" pitchFamily="34" charset="0"/>
              </a:rPr>
              <a:t>Fee Calculation and Offline Payment</a:t>
            </a:r>
          </a:p>
        </p:txBody>
      </p:sp>
      <p:pic>
        <p:nvPicPr>
          <p:cNvPr id="54276" name="Picture 3">
            <a:extLst>
              <a:ext uri="{FF2B5EF4-FFF2-40B4-BE49-F238E27FC236}">
                <a16:creationId xmlns:a16="http://schemas.microsoft.com/office/drawing/2014/main" id="{02CE925F-43F1-4008-90BE-6CEF670F2B5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52400" y="2419350"/>
            <a:ext cx="8839200" cy="321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Picture 1">
            <a:extLst>
              <a:ext uri="{FF2B5EF4-FFF2-40B4-BE49-F238E27FC236}">
                <a16:creationId xmlns:a16="http://schemas.microsoft.com/office/drawing/2014/main" id="{817571A8-B17F-485C-933C-036673DFFA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990600"/>
            <a:ext cx="89154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323" name="Text Box 1">
            <a:extLst>
              <a:ext uri="{FF2B5EF4-FFF2-40B4-BE49-F238E27FC236}">
                <a16:creationId xmlns:a16="http://schemas.microsoft.com/office/drawing/2014/main" id="{AAA5A82E-8B94-4870-B46C-63DA224CA32E}"/>
              </a:ext>
            </a:extLst>
          </p:cNvPr>
          <p:cNvSpPr txBox="1">
            <a:spLocks noChangeArrowheads="1"/>
          </p:cNvSpPr>
          <p:nvPr/>
        </p:nvSpPr>
        <p:spPr bwMode="auto">
          <a:xfrm>
            <a:off x="76200" y="0"/>
            <a:ext cx="8991600" cy="9350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9pPr>
          </a:lstStyle>
          <a:p>
            <a:pPr eaLnBrk="1" hangingPunct="1">
              <a:spcBef>
                <a:spcPct val="0"/>
              </a:spcBef>
              <a:buClrTx/>
              <a:buSzTx/>
              <a:buFontTx/>
              <a:buNone/>
            </a:pPr>
            <a:r>
              <a:rPr lang="en-US" altLang="en-US" sz="2800">
                <a:solidFill>
                  <a:srgbClr val="00408C"/>
                </a:solidFill>
                <a:ea typeface="Arial Unicode MS" pitchFamily="34" charset="-128"/>
              </a:rPr>
              <a:t>Namibia – WIPO File Implementation for Trademarks </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6" name="Picture 1">
            <a:extLst>
              <a:ext uri="{FF2B5EF4-FFF2-40B4-BE49-F238E27FC236}">
                <a16:creationId xmlns:a16="http://schemas.microsoft.com/office/drawing/2014/main" id="{6039A720-8B69-4794-8BAF-060EC25A713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838200"/>
            <a:ext cx="8915400" cy="594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47" name="Text Box 1">
            <a:extLst>
              <a:ext uri="{FF2B5EF4-FFF2-40B4-BE49-F238E27FC236}">
                <a16:creationId xmlns:a16="http://schemas.microsoft.com/office/drawing/2014/main" id="{1AA59A6E-516D-43CD-90D3-C40036B0651B}"/>
              </a:ext>
            </a:extLst>
          </p:cNvPr>
          <p:cNvSpPr txBox="1">
            <a:spLocks noChangeArrowheads="1"/>
          </p:cNvSpPr>
          <p:nvPr/>
        </p:nvSpPr>
        <p:spPr bwMode="auto">
          <a:xfrm>
            <a:off x="76200" y="0"/>
            <a:ext cx="8915400" cy="9350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9pPr>
          </a:lstStyle>
          <a:p>
            <a:pPr eaLnBrk="1" hangingPunct="1">
              <a:spcBef>
                <a:spcPct val="0"/>
              </a:spcBef>
              <a:buClrTx/>
              <a:buSzTx/>
              <a:buFontTx/>
              <a:buNone/>
            </a:pPr>
            <a:r>
              <a:rPr lang="en-US" altLang="en-US" sz="3200">
                <a:solidFill>
                  <a:srgbClr val="00408C"/>
                </a:solidFill>
                <a:ea typeface="Arial Unicode MS" pitchFamily="34" charset="-128"/>
              </a:rPr>
              <a:t>Kenya – WIPO File Implementation for Patents </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ounded Rectangle 12">
            <a:extLst>
              <a:ext uri="{FF2B5EF4-FFF2-40B4-BE49-F238E27FC236}">
                <a16:creationId xmlns:a16="http://schemas.microsoft.com/office/drawing/2014/main" id="{7D17752B-BBBA-4313-B27A-CFCF8F1D6F95}"/>
              </a:ext>
            </a:extLst>
          </p:cNvPr>
          <p:cNvSpPr>
            <a:spLocks noChangeArrowheads="1"/>
          </p:cNvSpPr>
          <p:nvPr/>
        </p:nvSpPr>
        <p:spPr bwMode="auto">
          <a:xfrm>
            <a:off x="2987675" y="1125538"/>
            <a:ext cx="2879725" cy="3382962"/>
          </a:xfrm>
          <a:prstGeom prst="roundRect">
            <a:avLst>
              <a:gd name="adj" fmla="val 16667"/>
            </a:avLst>
          </a:prstGeom>
          <a:solidFill>
            <a:schemeClr val="accent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SG" altLang="en-US" u="sng"/>
          </a:p>
        </p:txBody>
      </p:sp>
      <p:sp>
        <p:nvSpPr>
          <p:cNvPr id="11267" name="Rounded Rectangle 11">
            <a:extLst>
              <a:ext uri="{FF2B5EF4-FFF2-40B4-BE49-F238E27FC236}">
                <a16:creationId xmlns:a16="http://schemas.microsoft.com/office/drawing/2014/main" id="{8F60A795-93DC-43B0-8650-967B4C8A9A18}"/>
              </a:ext>
            </a:extLst>
          </p:cNvPr>
          <p:cNvSpPr>
            <a:spLocks noChangeArrowheads="1"/>
          </p:cNvSpPr>
          <p:nvPr/>
        </p:nvSpPr>
        <p:spPr bwMode="auto">
          <a:xfrm>
            <a:off x="395288" y="3860800"/>
            <a:ext cx="8424862" cy="2663825"/>
          </a:xfrm>
          <a:prstGeom prst="roundRect">
            <a:avLst>
              <a:gd name="adj" fmla="val 16667"/>
            </a:avLst>
          </a:prstGeom>
          <a:solidFill>
            <a:schemeClr val="accent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SG" altLang="en-US"/>
          </a:p>
        </p:txBody>
      </p:sp>
      <p:grpSp>
        <p:nvGrpSpPr>
          <p:cNvPr id="11268" name="Group 3">
            <a:extLst>
              <a:ext uri="{FF2B5EF4-FFF2-40B4-BE49-F238E27FC236}">
                <a16:creationId xmlns:a16="http://schemas.microsoft.com/office/drawing/2014/main" id="{87F5C89A-C08B-496A-93C7-F3C0A91CDE67}"/>
              </a:ext>
            </a:extLst>
          </p:cNvPr>
          <p:cNvGrpSpPr>
            <a:grpSpLocks/>
          </p:cNvGrpSpPr>
          <p:nvPr/>
        </p:nvGrpSpPr>
        <p:grpSpPr bwMode="auto">
          <a:xfrm>
            <a:off x="176213" y="1703388"/>
            <a:ext cx="8369300" cy="1139825"/>
            <a:chOff x="175943" y="1702690"/>
            <a:chExt cx="8369332" cy="1140994"/>
          </a:xfrm>
        </p:grpSpPr>
        <p:sp>
          <p:nvSpPr>
            <p:cNvPr id="5" name="Freeform 4">
              <a:extLst>
                <a:ext uri="{FF2B5EF4-FFF2-40B4-BE49-F238E27FC236}">
                  <a16:creationId xmlns:a16="http://schemas.microsoft.com/office/drawing/2014/main" id="{249A990F-B43C-47FF-8B1B-AD3A8059541C}"/>
                </a:ext>
              </a:extLst>
            </p:cNvPr>
            <p:cNvSpPr/>
            <p:nvPr/>
          </p:nvSpPr>
          <p:spPr>
            <a:xfrm>
              <a:off x="175943" y="1702690"/>
              <a:ext cx="1986657" cy="1140994"/>
            </a:xfrm>
            <a:custGeom>
              <a:avLst/>
              <a:gdLst>
                <a:gd name="connsiteX0" fmla="*/ 0 w 1986657"/>
                <a:gd name="connsiteY0" fmla="*/ 114099 h 1140994"/>
                <a:gd name="connsiteX1" fmla="*/ 114099 w 1986657"/>
                <a:gd name="connsiteY1" fmla="*/ 0 h 1140994"/>
                <a:gd name="connsiteX2" fmla="*/ 1872558 w 1986657"/>
                <a:gd name="connsiteY2" fmla="*/ 0 h 1140994"/>
                <a:gd name="connsiteX3" fmla="*/ 1986657 w 1986657"/>
                <a:gd name="connsiteY3" fmla="*/ 114099 h 1140994"/>
                <a:gd name="connsiteX4" fmla="*/ 1986657 w 1986657"/>
                <a:gd name="connsiteY4" fmla="*/ 1026895 h 1140994"/>
                <a:gd name="connsiteX5" fmla="*/ 1872558 w 1986657"/>
                <a:gd name="connsiteY5" fmla="*/ 1140994 h 1140994"/>
                <a:gd name="connsiteX6" fmla="*/ 114099 w 1986657"/>
                <a:gd name="connsiteY6" fmla="*/ 1140994 h 1140994"/>
                <a:gd name="connsiteX7" fmla="*/ 0 w 1986657"/>
                <a:gd name="connsiteY7" fmla="*/ 1026895 h 1140994"/>
                <a:gd name="connsiteX8" fmla="*/ 0 w 1986657"/>
                <a:gd name="connsiteY8" fmla="*/ 114099 h 1140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6657" h="1140994">
                  <a:moveTo>
                    <a:pt x="0" y="114099"/>
                  </a:moveTo>
                  <a:cubicBezTo>
                    <a:pt x="0" y="51084"/>
                    <a:pt x="51084" y="0"/>
                    <a:pt x="114099" y="0"/>
                  </a:cubicBezTo>
                  <a:lnTo>
                    <a:pt x="1872558" y="0"/>
                  </a:lnTo>
                  <a:cubicBezTo>
                    <a:pt x="1935573" y="0"/>
                    <a:pt x="1986657" y="51084"/>
                    <a:pt x="1986657" y="114099"/>
                  </a:cubicBezTo>
                  <a:lnTo>
                    <a:pt x="1986657" y="1026895"/>
                  </a:lnTo>
                  <a:cubicBezTo>
                    <a:pt x="1986657" y="1089910"/>
                    <a:pt x="1935573" y="1140994"/>
                    <a:pt x="1872558" y="1140994"/>
                  </a:cubicBezTo>
                  <a:lnTo>
                    <a:pt x="114099" y="1140994"/>
                  </a:lnTo>
                  <a:cubicBezTo>
                    <a:pt x="51084" y="1140994"/>
                    <a:pt x="0" y="1089910"/>
                    <a:pt x="0" y="1026895"/>
                  </a:cubicBezTo>
                  <a:lnTo>
                    <a:pt x="0" y="114099"/>
                  </a:lnTo>
                  <a:close/>
                </a:path>
              </a:pathLst>
            </a:custGeom>
            <a:scene3d>
              <a:camera prst="orthographicFront"/>
              <a:lightRig rig="flat" dir="t"/>
            </a:scene3d>
            <a:sp3d prstMaterial="dkEdge">
              <a:bevelT w="8200" h="38100"/>
            </a:sp3d>
          </p:spPr>
          <p:style>
            <a:lnRef idx="0">
              <a:schemeClr val="accent6">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lIns="106680" tIns="106680" rIns="106680" bIns="437481" spcCol="1270"/>
            <a:lstStyle/>
            <a:p>
              <a:pPr defTabSz="666750">
                <a:lnSpc>
                  <a:spcPct val="90000"/>
                </a:lnSpc>
                <a:spcAft>
                  <a:spcPct val="35000"/>
                </a:spcAft>
                <a:defRPr/>
              </a:pPr>
              <a:r>
                <a:rPr lang="en-SG" sz="1500" dirty="0"/>
                <a:t>Filing/Reception</a:t>
              </a:r>
            </a:p>
          </p:txBody>
        </p:sp>
        <p:sp>
          <p:nvSpPr>
            <p:cNvPr id="7" name="Freeform 6">
              <a:extLst>
                <a:ext uri="{FF2B5EF4-FFF2-40B4-BE49-F238E27FC236}">
                  <a16:creationId xmlns:a16="http://schemas.microsoft.com/office/drawing/2014/main" id="{21EE1B9F-CD3C-4418-9665-95BF048BC0A1}"/>
                </a:ext>
              </a:extLst>
            </p:cNvPr>
            <p:cNvSpPr/>
            <p:nvPr/>
          </p:nvSpPr>
          <p:spPr>
            <a:xfrm>
              <a:off x="2463539" y="1836177"/>
              <a:ext cx="638177" cy="494218"/>
            </a:xfrm>
            <a:custGeom>
              <a:avLst/>
              <a:gdLst>
                <a:gd name="connsiteX0" fmla="*/ 0 w 638480"/>
                <a:gd name="connsiteY0" fmla="*/ 98924 h 494620"/>
                <a:gd name="connsiteX1" fmla="*/ 391170 w 638480"/>
                <a:gd name="connsiteY1" fmla="*/ 98924 h 494620"/>
                <a:gd name="connsiteX2" fmla="*/ 391170 w 638480"/>
                <a:gd name="connsiteY2" fmla="*/ 0 h 494620"/>
                <a:gd name="connsiteX3" fmla="*/ 638480 w 638480"/>
                <a:gd name="connsiteY3" fmla="*/ 247310 h 494620"/>
                <a:gd name="connsiteX4" fmla="*/ 391170 w 638480"/>
                <a:gd name="connsiteY4" fmla="*/ 494620 h 494620"/>
                <a:gd name="connsiteX5" fmla="*/ 391170 w 638480"/>
                <a:gd name="connsiteY5" fmla="*/ 395696 h 494620"/>
                <a:gd name="connsiteX6" fmla="*/ 0 w 638480"/>
                <a:gd name="connsiteY6" fmla="*/ 395696 h 494620"/>
                <a:gd name="connsiteX7" fmla="*/ 0 w 638480"/>
                <a:gd name="connsiteY7" fmla="*/ 98924 h 49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8480" h="494620">
                  <a:moveTo>
                    <a:pt x="0" y="98924"/>
                  </a:moveTo>
                  <a:lnTo>
                    <a:pt x="391170" y="98924"/>
                  </a:lnTo>
                  <a:lnTo>
                    <a:pt x="391170" y="0"/>
                  </a:lnTo>
                  <a:lnTo>
                    <a:pt x="638480" y="247310"/>
                  </a:lnTo>
                  <a:lnTo>
                    <a:pt x="391170" y="494620"/>
                  </a:lnTo>
                  <a:lnTo>
                    <a:pt x="391170" y="395696"/>
                  </a:lnTo>
                  <a:lnTo>
                    <a:pt x="0" y="395696"/>
                  </a:lnTo>
                  <a:lnTo>
                    <a:pt x="0" y="98924"/>
                  </a:lnTo>
                  <a:close/>
                </a:path>
              </a:pathLst>
            </a:custGeom>
          </p:spPr>
          <p:style>
            <a:lnRef idx="0">
              <a:schemeClr val="accent6">
                <a:tint val="60000"/>
                <a:hueOff val="0"/>
                <a:satOff val="0"/>
                <a:lumOff val="0"/>
                <a:alphaOff val="0"/>
              </a:schemeClr>
            </a:lnRef>
            <a:fillRef idx="2">
              <a:schemeClr val="accent6">
                <a:tint val="60000"/>
                <a:hueOff val="0"/>
                <a:satOff val="0"/>
                <a:lumOff val="0"/>
                <a:alphaOff val="0"/>
              </a:schemeClr>
            </a:fillRef>
            <a:effectRef idx="1">
              <a:schemeClr val="accent6">
                <a:tint val="60000"/>
                <a:hueOff val="0"/>
                <a:satOff val="0"/>
                <a:lumOff val="0"/>
                <a:alphaOff val="0"/>
              </a:schemeClr>
            </a:effectRef>
            <a:fontRef idx="minor">
              <a:schemeClr val="dk1">
                <a:hueOff val="0"/>
                <a:satOff val="0"/>
                <a:lumOff val="0"/>
                <a:alphaOff val="0"/>
              </a:schemeClr>
            </a:fontRef>
          </p:style>
          <p:txBody>
            <a:bodyPr lIns="0" tIns="98924" rIns="148386" bIns="98924" spcCol="1270" anchor="ctr"/>
            <a:lstStyle/>
            <a:p>
              <a:pPr algn="ctr" defTabSz="533400">
                <a:lnSpc>
                  <a:spcPct val="90000"/>
                </a:lnSpc>
                <a:spcAft>
                  <a:spcPct val="35000"/>
                </a:spcAft>
                <a:defRPr/>
              </a:pPr>
              <a:endParaRPr lang="en-SG" sz="1200"/>
            </a:p>
          </p:txBody>
        </p:sp>
        <p:sp>
          <p:nvSpPr>
            <p:cNvPr id="8" name="Freeform 7">
              <a:extLst>
                <a:ext uri="{FF2B5EF4-FFF2-40B4-BE49-F238E27FC236}">
                  <a16:creationId xmlns:a16="http://schemas.microsoft.com/office/drawing/2014/main" id="{EC0A9159-BA9C-4C3B-AC18-682EDC9C76DF}"/>
                </a:ext>
              </a:extLst>
            </p:cNvPr>
            <p:cNvSpPr/>
            <p:nvPr/>
          </p:nvSpPr>
          <p:spPr>
            <a:xfrm>
              <a:off x="3367280" y="1702690"/>
              <a:ext cx="1986657" cy="1140994"/>
            </a:xfrm>
            <a:custGeom>
              <a:avLst/>
              <a:gdLst>
                <a:gd name="connsiteX0" fmla="*/ 0 w 1986657"/>
                <a:gd name="connsiteY0" fmla="*/ 114099 h 1140994"/>
                <a:gd name="connsiteX1" fmla="*/ 114099 w 1986657"/>
                <a:gd name="connsiteY1" fmla="*/ 0 h 1140994"/>
                <a:gd name="connsiteX2" fmla="*/ 1872558 w 1986657"/>
                <a:gd name="connsiteY2" fmla="*/ 0 h 1140994"/>
                <a:gd name="connsiteX3" fmla="*/ 1986657 w 1986657"/>
                <a:gd name="connsiteY3" fmla="*/ 114099 h 1140994"/>
                <a:gd name="connsiteX4" fmla="*/ 1986657 w 1986657"/>
                <a:gd name="connsiteY4" fmla="*/ 1026895 h 1140994"/>
                <a:gd name="connsiteX5" fmla="*/ 1872558 w 1986657"/>
                <a:gd name="connsiteY5" fmla="*/ 1140994 h 1140994"/>
                <a:gd name="connsiteX6" fmla="*/ 114099 w 1986657"/>
                <a:gd name="connsiteY6" fmla="*/ 1140994 h 1140994"/>
                <a:gd name="connsiteX7" fmla="*/ 0 w 1986657"/>
                <a:gd name="connsiteY7" fmla="*/ 1026895 h 1140994"/>
                <a:gd name="connsiteX8" fmla="*/ 0 w 1986657"/>
                <a:gd name="connsiteY8" fmla="*/ 114099 h 1140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6657" h="1140994">
                  <a:moveTo>
                    <a:pt x="0" y="114099"/>
                  </a:moveTo>
                  <a:cubicBezTo>
                    <a:pt x="0" y="51084"/>
                    <a:pt x="51084" y="0"/>
                    <a:pt x="114099" y="0"/>
                  </a:cubicBezTo>
                  <a:lnTo>
                    <a:pt x="1872558" y="0"/>
                  </a:lnTo>
                  <a:cubicBezTo>
                    <a:pt x="1935573" y="0"/>
                    <a:pt x="1986657" y="51084"/>
                    <a:pt x="1986657" y="114099"/>
                  </a:cubicBezTo>
                  <a:lnTo>
                    <a:pt x="1986657" y="1026895"/>
                  </a:lnTo>
                  <a:cubicBezTo>
                    <a:pt x="1986657" y="1089910"/>
                    <a:pt x="1935573" y="1140994"/>
                    <a:pt x="1872558" y="1140994"/>
                  </a:cubicBezTo>
                  <a:lnTo>
                    <a:pt x="114099" y="1140994"/>
                  </a:lnTo>
                  <a:cubicBezTo>
                    <a:pt x="51084" y="1140994"/>
                    <a:pt x="0" y="1089910"/>
                    <a:pt x="0" y="1026895"/>
                  </a:cubicBezTo>
                  <a:lnTo>
                    <a:pt x="0" y="114099"/>
                  </a:lnTo>
                  <a:close/>
                </a:path>
              </a:pathLst>
            </a:custGeom>
            <a:scene3d>
              <a:camera prst="orthographicFront"/>
              <a:lightRig rig="flat" dir="t"/>
            </a:scene3d>
            <a:sp3d prstMaterial="dkEdge">
              <a:bevelT w="8200" h="38100"/>
            </a:sp3d>
          </p:spPr>
          <p:style>
            <a:lnRef idx="0">
              <a:schemeClr val="accent6">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lIns="106680" tIns="106680" rIns="106680" bIns="437481" spcCol="1270"/>
            <a:lstStyle/>
            <a:p>
              <a:pPr defTabSz="666750">
                <a:lnSpc>
                  <a:spcPct val="90000"/>
                </a:lnSpc>
                <a:spcAft>
                  <a:spcPct val="35000"/>
                </a:spcAft>
                <a:defRPr/>
              </a:pPr>
              <a:r>
                <a:rPr lang="en-SG" sz="1500" dirty="0"/>
                <a:t>Administration</a:t>
              </a:r>
            </a:p>
          </p:txBody>
        </p:sp>
        <p:sp>
          <p:nvSpPr>
            <p:cNvPr id="10" name="Freeform 9">
              <a:extLst>
                <a:ext uri="{FF2B5EF4-FFF2-40B4-BE49-F238E27FC236}">
                  <a16:creationId xmlns:a16="http://schemas.microsoft.com/office/drawing/2014/main" id="{CA3BE51C-9A93-40C9-BD91-CF6284068C11}"/>
                </a:ext>
              </a:extLst>
            </p:cNvPr>
            <p:cNvSpPr/>
            <p:nvPr/>
          </p:nvSpPr>
          <p:spPr>
            <a:xfrm>
              <a:off x="5654426" y="1836177"/>
              <a:ext cx="639765" cy="494218"/>
            </a:xfrm>
            <a:custGeom>
              <a:avLst/>
              <a:gdLst>
                <a:gd name="connsiteX0" fmla="*/ 0 w 638480"/>
                <a:gd name="connsiteY0" fmla="*/ 98924 h 494620"/>
                <a:gd name="connsiteX1" fmla="*/ 391170 w 638480"/>
                <a:gd name="connsiteY1" fmla="*/ 98924 h 494620"/>
                <a:gd name="connsiteX2" fmla="*/ 391170 w 638480"/>
                <a:gd name="connsiteY2" fmla="*/ 0 h 494620"/>
                <a:gd name="connsiteX3" fmla="*/ 638480 w 638480"/>
                <a:gd name="connsiteY3" fmla="*/ 247310 h 494620"/>
                <a:gd name="connsiteX4" fmla="*/ 391170 w 638480"/>
                <a:gd name="connsiteY4" fmla="*/ 494620 h 494620"/>
                <a:gd name="connsiteX5" fmla="*/ 391170 w 638480"/>
                <a:gd name="connsiteY5" fmla="*/ 395696 h 494620"/>
                <a:gd name="connsiteX6" fmla="*/ 0 w 638480"/>
                <a:gd name="connsiteY6" fmla="*/ 395696 h 494620"/>
                <a:gd name="connsiteX7" fmla="*/ 0 w 638480"/>
                <a:gd name="connsiteY7" fmla="*/ 98924 h 49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8480" h="494620">
                  <a:moveTo>
                    <a:pt x="0" y="98924"/>
                  </a:moveTo>
                  <a:lnTo>
                    <a:pt x="391170" y="98924"/>
                  </a:lnTo>
                  <a:lnTo>
                    <a:pt x="391170" y="0"/>
                  </a:lnTo>
                  <a:lnTo>
                    <a:pt x="638480" y="247310"/>
                  </a:lnTo>
                  <a:lnTo>
                    <a:pt x="391170" y="494620"/>
                  </a:lnTo>
                  <a:lnTo>
                    <a:pt x="391170" y="395696"/>
                  </a:lnTo>
                  <a:lnTo>
                    <a:pt x="0" y="395696"/>
                  </a:lnTo>
                  <a:lnTo>
                    <a:pt x="0" y="98924"/>
                  </a:lnTo>
                  <a:close/>
                </a:path>
              </a:pathLst>
            </a:custGeom>
          </p:spPr>
          <p:style>
            <a:lnRef idx="0">
              <a:schemeClr val="accent6">
                <a:tint val="60000"/>
                <a:hueOff val="0"/>
                <a:satOff val="0"/>
                <a:lumOff val="0"/>
                <a:alphaOff val="0"/>
              </a:schemeClr>
            </a:lnRef>
            <a:fillRef idx="2">
              <a:schemeClr val="accent6">
                <a:tint val="60000"/>
                <a:hueOff val="0"/>
                <a:satOff val="0"/>
                <a:lumOff val="0"/>
                <a:alphaOff val="0"/>
              </a:schemeClr>
            </a:fillRef>
            <a:effectRef idx="1">
              <a:schemeClr val="accent6">
                <a:tint val="60000"/>
                <a:hueOff val="0"/>
                <a:satOff val="0"/>
                <a:lumOff val="0"/>
                <a:alphaOff val="0"/>
              </a:schemeClr>
            </a:effectRef>
            <a:fontRef idx="minor">
              <a:schemeClr val="dk1">
                <a:hueOff val="0"/>
                <a:satOff val="0"/>
                <a:lumOff val="0"/>
                <a:alphaOff val="0"/>
              </a:schemeClr>
            </a:fontRef>
          </p:style>
          <p:txBody>
            <a:bodyPr lIns="0" tIns="98924" rIns="148386" bIns="98924" spcCol="1270" anchor="ctr"/>
            <a:lstStyle/>
            <a:p>
              <a:pPr algn="ctr" defTabSz="533400">
                <a:lnSpc>
                  <a:spcPct val="90000"/>
                </a:lnSpc>
                <a:spcAft>
                  <a:spcPct val="35000"/>
                </a:spcAft>
                <a:defRPr/>
              </a:pPr>
              <a:endParaRPr lang="en-SG" sz="1200"/>
            </a:p>
          </p:txBody>
        </p:sp>
        <p:sp>
          <p:nvSpPr>
            <p:cNvPr id="11" name="Freeform 10">
              <a:extLst>
                <a:ext uri="{FF2B5EF4-FFF2-40B4-BE49-F238E27FC236}">
                  <a16:creationId xmlns:a16="http://schemas.microsoft.com/office/drawing/2014/main" id="{4C99A384-CF86-448A-A72A-CF699C54A8F8}"/>
                </a:ext>
              </a:extLst>
            </p:cNvPr>
            <p:cNvSpPr/>
            <p:nvPr/>
          </p:nvSpPr>
          <p:spPr>
            <a:xfrm>
              <a:off x="6558618" y="1702690"/>
              <a:ext cx="1986657" cy="1140994"/>
            </a:xfrm>
            <a:custGeom>
              <a:avLst/>
              <a:gdLst>
                <a:gd name="connsiteX0" fmla="*/ 0 w 1986657"/>
                <a:gd name="connsiteY0" fmla="*/ 114099 h 1140994"/>
                <a:gd name="connsiteX1" fmla="*/ 114099 w 1986657"/>
                <a:gd name="connsiteY1" fmla="*/ 0 h 1140994"/>
                <a:gd name="connsiteX2" fmla="*/ 1872558 w 1986657"/>
                <a:gd name="connsiteY2" fmla="*/ 0 h 1140994"/>
                <a:gd name="connsiteX3" fmla="*/ 1986657 w 1986657"/>
                <a:gd name="connsiteY3" fmla="*/ 114099 h 1140994"/>
                <a:gd name="connsiteX4" fmla="*/ 1986657 w 1986657"/>
                <a:gd name="connsiteY4" fmla="*/ 1026895 h 1140994"/>
                <a:gd name="connsiteX5" fmla="*/ 1872558 w 1986657"/>
                <a:gd name="connsiteY5" fmla="*/ 1140994 h 1140994"/>
                <a:gd name="connsiteX6" fmla="*/ 114099 w 1986657"/>
                <a:gd name="connsiteY6" fmla="*/ 1140994 h 1140994"/>
                <a:gd name="connsiteX7" fmla="*/ 0 w 1986657"/>
                <a:gd name="connsiteY7" fmla="*/ 1026895 h 1140994"/>
                <a:gd name="connsiteX8" fmla="*/ 0 w 1986657"/>
                <a:gd name="connsiteY8" fmla="*/ 114099 h 1140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6657" h="1140994">
                  <a:moveTo>
                    <a:pt x="0" y="114099"/>
                  </a:moveTo>
                  <a:cubicBezTo>
                    <a:pt x="0" y="51084"/>
                    <a:pt x="51084" y="0"/>
                    <a:pt x="114099" y="0"/>
                  </a:cubicBezTo>
                  <a:lnTo>
                    <a:pt x="1872558" y="0"/>
                  </a:lnTo>
                  <a:cubicBezTo>
                    <a:pt x="1935573" y="0"/>
                    <a:pt x="1986657" y="51084"/>
                    <a:pt x="1986657" y="114099"/>
                  </a:cubicBezTo>
                  <a:lnTo>
                    <a:pt x="1986657" y="1026895"/>
                  </a:lnTo>
                  <a:cubicBezTo>
                    <a:pt x="1986657" y="1089910"/>
                    <a:pt x="1935573" y="1140994"/>
                    <a:pt x="1872558" y="1140994"/>
                  </a:cubicBezTo>
                  <a:lnTo>
                    <a:pt x="114099" y="1140994"/>
                  </a:lnTo>
                  <a:cubicBezTo>
                    <a:pt x="51084" y="1140994"/>
                    <a:pt x="0" y="1089910"/>
                    <a:pt x="0" y="1026895"/>
                  </a:cubicBezTo>
                  <a:lnTo>
                    <a:pt x="0" y="114099"/>
                  </a:lnTo>
                  <a:close/>
                </a:path>
              </a:pathLst>
            </a:custGeom>
            <a:scene3d>
              <a:camera prst="orthographicFront"/>
              <a:lightRig rig="flat" dir="t"/>
            </a:scene3d>
            <a:sp3d prstMaterial="dkEdge">
              <a:bevelT w="8200" h="38100"/>
            </a:sp3d>
          </p:spPr>
          <p:style>
            <a:lnRef idx="0">
              <a:schemeClr val="accent6">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lIns="106680" tIns="106680" rIns="106680" bIns="437481" spcCol="1270"/>
            <a:lstStyle/>
            <a:p>
              <a:pPr defTabSz="666750">
                <a:lnSpc>
                  <a:spcPct val="90000"/>
                </a:lnSpc>
                <a:spcAft>
                  <a:spcPct val="35000"/>
                </a:spcAft>
                <a:defRPr/>
              </a:pPr>
              <a:r>
                <a:rPr lang="en-SG" sz="1500" dirty="0"/>
                <a:t>Publication &amp; Dissemination of Info.</a:t>
              </a:r>
            </a:p>
          </p:txBody>
        </p:sp>
      </p:grpSp>
      <p:grpSp>
        <p:nvGrpSpPr>
          <p:cNvPr id="11269" name="Group 12">
            <a:extLst>
              <a:ext uri="{FF2B5EF4-FFF2-40B4-BE49-F238E27FC236}">
                <a16:creationId xmlns:a16="http://schemas.microsoft.com/office/drawing/2014/main" id="{8F86E281-D798-4508-8DD4-821D4F1B8BE7}"/>
              </a:ext>
            </a:extLst>
          </p:cNvPr>
          <p:cNvGrpSpPr>
            <a:grpSpLocks/>
          </p:cNvGrpSpPr>
          <p:nvPr/>
        </p:nvGrpSpPr>
        <p:grpSpPr bwMode="auto">
          <a:xfrm>
            <a:off x="676275" y="4183063"/>
            <a:ext cx="7515225" cy="1339850"/>
            <a:chOff x="676379" y="4183617"/>
            <a:chExt cx="7515728" cy="1339199"/>
          </a:xfrm>
        </p:grpSpPr>
        <p:sp>
          <p:nvSpPr>
            <p:cNvPr id="14" name="Freeform 13">
              <a:extLst>
                <a:ext uri="{FF2B5EF4-FFF2-40B4-BE49-F238E27FC236}">
                  <a16:creationId xmlns:a16="http://schemas.microsoft.com/office/drawing/2014/main" id="{115CB13D-88EA-42C5-ACAF-CD0A06DB21C4}"/>
                </a:ext>
              </a:extLst>
            </p:cNvPr>
            <p:cNvSpPr/>
            <p:nvPr/>
          </p:nvSpPr>
          <p:spPr>
            <a:xfrm>
              <a:off x="676379" y="4183617"/>
              <a:ext cx="1784034" cy="1339199"/>
            </a:xfrm>
            <a:custGeom>
              <a:avLst/>
              <a:gdLst>
                <a:gd name="connsiteX0" fmla="*/ 0 w 1784034"/>
                <a:gd name="connsiteY0" fmla="*/ 133920 h 1339199"/>
                <a:gd name="connsiteX1" fmla="*/ 133920 w 1784034"/>
                <a:gd name="connsiteY1" fmla="*/ 0 h 1339199"/>
                <a:gd name="connsiteX2" fmla="*/ 1650114 w 1784034"/>
                <a:gd name="connsiteY2" fmla="*/ 0 h 1339199"/>
                <a:gd name="connsiteX3" fmla="*/ 1784034 w 1784034"/>
                <a:gd name="connsiteY3" fmla="*/ 133920 h 1339199"/>
                <a:gd name="connsiteX4" fmla="*/ 1784034 w 1784034"/>
                <a:gd name="connsiteY4" fmla="*/ 1205279 h 1339199"/>
                <a:gd name="connsiteX5" fmla="*/ 1650114 w 1784034"/>
                <a:gd name="connsiteY5" fmla="*/ 1339199 h 1339199"/>
                <a:gd name="connsiteX6" fmla="*/ 133920 w 1784034"/>
                <a:gd name="connsiteY6" fmla="*/ 1339199 h 1339199"/>
                <a:gd name="connsiteX7" fmla="*/ 0 w 1784034"/>
                <a:gd name="connsiteY7" fmla="*/ 1205279 h 1339199"/>
                <a:gd name="connsiteX8" fmla="*/ 0 w 1784034"/>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4034" h="1339199">
                  <a:moveTo>
                    <a:pt x="0" y="133920"/>
                  </a:moveTo>
                  <a:cubicBezTo>
                    <a:pt x="0" y="59958"/>
                    <a:pt x="59958" y="0"/>
                    <a:pt x="133920" y="0"/>
                  </a:cubicBezTo>
                  <a:lnTo>
                    <a:pt x="1650114" y="0"/>
                  </a:lnTo>
                  <a:cubicBezTo>
                    <a:pt x="1724076" y="0"/>
                    <a:pt x="1784034" y="59958"/>
                    <a:pt x="1784034" y="133920"/>
                  </a:cubicBezTo>
                  <a:lnTo>
                    <a:pt x="1784034" y="1205279"/>
                  </a:lnTo>
                  <a:cubicBezTo>
                    <a:pt x="1784034" y="1279241"/>
                    <a:pt x="1724076" y="1339199"/>
                    <a:pt x="1650114" y="1339199"/>
                  </a:cubicBezTo>
                  <a:lnTo>
                    <a:pt x="133920" y="1339199"/>
                  </a:lnTo>
                  <a:cubicBezTo>
                    <a:pt x="59958" y="1339199"/>
                    <a:pt x="0" y="1279241"/>
                    <a:pt x="0" y="1205279"/>
                  </a:cubicBezTo>
                  <a:lnTo>
                    <a:pt x="0" y="133920"/>
                  </a:lnTo>
                  <a:close/>
                </a:path>
              </a:pathLst>
            </a:custGeom>
            <a:scene3d>
              <a:camera prst="orthographicFront"/>
              <a:lightRig rig="flat" dir="t"/>
            </a:scene3d>
            <a:sp3d prstMaterial="dkEdge">
              <a:bevelT w="8200" h="38100"/>
            </a:sp3d>
          </p:spPr>
          <p:style>
            <a:lnRef idx="0">
              <a:schemeClr val="accent6">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lIns="92456" tIns="92456" rIns="92456" bIns="675116" spcCol="1270"/>
            <a:lstStyle/>
            <a:p>
              <a:pPr defTabSz="577850">
                <a:lnSpc>
                  <a:spcPct val="90000"/>
                </a:lnSpc>
                <a:spcAft>
                  <a:spcPct val="35000"/>
                </a:spcAft>
                <a:defRPr/>
              </a:pPr>
              <a:r>
                <a:rPr lang="en-SG" sz="1300" dirty="0"/>
                <a:t>Archive &amp; File Management</a:t>
              </a:r>
            </a:p>
          </p:txBody>
        </p:sp>
        <p:sp>
          <p:nvSpPr>
            <p:cNvPr id="16" name="Freeform 15">
              <a:extLst>
                <a:ext uri="{FF2B5EF4-FFF2-40B4-BE49-F238E27FC236}">
                  <a16:creationId xmlns:a16="http://schemas.microsoft.com/office/drawing/2014/main" id="{2571E515-6CA8-47F6-8DA3-2ED6321DBF03}"/>
                </a:ext>
              </a:extLst>
            </p:cNvPr>
            <p:cNvSpPr/>
            <p:nvPr/>
          </p:nvSpPr>
          <p:spPr>
            <a:xfrm>
              <a:off x="2730741" y="4318488"/>
              <a:ext cx="573126" cy="444284"/>
            </a:xfrm>
            <a:custGeom>
              <a:avLst/>
              <a:gdLst>
                <a:gd name="connsiteX0" fmla="*/ 0 w 573360"/>
                <a:gd name="connsiteY0" fmla="*/ 88834 h 444172"/>
                <a:gd name="connsiteX1" fmla="*/ 351274 w 573360"/>
                <a:gd name="connsiteY1" fmla="*/ 88834 h 444172"/>
                <a:gd name="connsiteX2" fmla="*/ 351274 w 573360"/>
                <a:gd name="connsiteY2" fmla="*/ 0 h 444172"/>
                <a:gd name="connsiteX3" fmla="*/ 573360 w 573360"/>
                <a:gd name="connsiteY3" fmla="*/ 222086 h 444172"/>
                <a:gd name="connsiteX4" fmla="*/ 351274 w 573360"/>
                <a:gd name="connsiteY4" fmla="*/ 444172 h 444172"/>
                <a:gd name="connsiteX5" fmla="*/ 351274 w 573360"/>
                <a:gd name="connsiteY5" fmla="*/ 355338 h 444172"/>
                <a:gd name="connsiteX6" fmla="*/ 0 w 573360"/>
                <a:gd name="connsiteY6" fmla="*/ 355338 h 444172"/>
                <a:gd name="connsiteX7" fmla="*/ 0 w 573360"/>
                <a:gd name="connsiteY7" fmla="*/ 88834 h 444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360" h="444172">
                  <a:moveTo>
                    <a:pt x="0" y="88834"/>
                  </a:moveTo>
                  <a:lnTo>
                    <a:pt x="351274" y="88834"/>
                  </a:lnTo>
                  <a:lnTo>
                    <a:pt x="351274" y="0"/>
                  </a:lnTo>
                  <a:lnTo>
                    <a:pt x="573360" y="222086"/>
                  </a:lnTo>
                  <a:lnTo>
                    <a:pt x="351274" y="444172"/>
                  </a:lnTo>
                  <a:lnTo>
                    <a:pt x="351274" y="355338"/>
                  </a:lnTo>
                  <a:lnTo>
                    <a:pt x="0" y="355338"/>
                  </a:lnTo>
                  <a:lnTo>
                    <a:pt x="0" y="88834"/>
                  </a:lnTo>
                  <a:close/>
                </a:path>
              </a:pathLst>
            </a:custGeom>
            <a:noFill/>
          </p:spPr>
          <p:style>
            <a:lnRef idx="0">
              <a:schemeClr val="accent6">
                <a:tint val="60000"/>
                <a:hueOff val="0"/>
                <a:satOff val="0"/>
                <a:lumOff val="0"/>
                <a:alphaOff val="0"/>
              </a:schemeClr>
            </a:lnRef>
            <a:fillRef idx="2">
              <a:scrgbClr r="0" g="0" b="0"/>
            </a:fillRef>
            <a:effectRef idx="1">
              <a:schemeClr val="accent6">
                <a:tint val="60000"/>
                <a:hueOff val="0"/>
                <a:satOff val="0"/>
                <a:lumOff val="0"/>
                <a:alphaOff val="0"/>
              </a:schemeClr>
            </a:effectRef>
            <a:fontRef idx="minor">
              <a:schemeClr val="dk1">
                <a:hueOff val="0"/>
                <a:satOff val="0"/>
                <a:lumOff val="0"/>
                <a:alphaOff val="0"/>
              </a:schemeClr>
            </a:fontRef>
          </p:style>
          <p:txBody>
            <a:bodyPr lIns="0" tIns="88834" rIns="133252" bIns="88834" spcCol="1270" anchor="ctr"/>
            <a:lstStyle/>
            <a:p>
              <a:pPr algn="ctr" defTabSz="577850">
                <a:lnSpc>
                  <a:spcPct val="90000"/>
                </a:lnSpc>
                <a:spcAft>
                  <a:spcPct val="35000"/>
                </a:spcAft>
                <a:defRPr/>
              </a:pPr>
              <a:endParaRPr lang="en-SG" sz="1300"/>
            </a:p>
          </p:txBody>
        </p:sp>
        <p:sp>
          <p:nvSpPr>
            <p:cNvPr id="17" name="Freeform 16">
              <a:extLst>
                <a:ext uri="{FF2B5EF4-FFF2-40B4-BE49-F238E27FC236}">
                  <a16:creationId xmlns:a16="http://schemas.microsoft.com/office/drawing/2014/main" id="{357E0574-2413-4701-B25A-B941B73CDA53}"/>
                </a:ext>
              </a:extLst>
            </p:cNvPr>
            <p:cNvSpPr/>
            <p:nvPr/>
          </p:nvSpPr>
          <p:spPr>
            <a:xfrm>
              <a:off x="3542226" y="4183617"/>
              <a:ext cx="1784034" cy="1339199"/>
            </a:xfrm>
            <a:custGeom>
              <a:avLst/>
              <a:gdLst>
                <a:gd name="connsiteX0" fmla="*/ 0 w 1784034"/>
                <a:gd name="connsiteY0" fmla="*/ 133920 h 1339199"/>
                <a:gd name="connsiteX1" fmla="*/ 133920 w 1784034"/>
                <a:gd name="connsiteY1" fmla="*/ 0 h 1339199"/>
                <a:gd name="connsiteX2" fmla="*/ 1650114 w 1784034"/>
                <a:gd name="connsiteY2" fmla="*/ 0 h 1339199"/>
                <a:gd name="connsiteX3" fmla="*/ 1784034 w 1784034"/>
                <a:gd name="connsiteY3" fmla="*/ 133920 h 1339199"/>
                <a:gd name="connsiteX4" fmla="*/ 1784034 w 1784034"/>
                <a:gd name="connsiteY4" fmla="*/ 1205279 h 1339199"/>
                <a:gd name="connsiteX5" fmla="*/ 1650114 w 1784034"/>
                <a:gd name="connsiteY5" fmla="*/ 1339199 h 1339199"/>
                <a:gd name="connsiteX6" fmla="*/ 133920 w 1784034"/>
                <a:gd name="connsiteY6" fmla="*/ 1339199 h 1339199"/>
                <a:gd name="connsiteX7" fmla="*/ 0 w 1784034"/>
                <a:gd name="connsiteY7" fmla="*/ 1205279 h 1339199"/>
                <a:gd name="connsiteX8" fmla="*/ 0 w 1784034"/>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4034" h="1339199">
                  <a:moveTo>
                    <a:pt x="0" y="133920"/>
                  </a:moveTo>
                  <a:cubicBezTo>
                    <a:pt x="0" y="59958"/>
                    <a:pt x="59958" y="0"/>
                    <a:pt x="133920" y="0"/>
                  </a:cubicBezTo>
                  <a:lnTo>
                    <a:pt x="1650114" y="0"/>
                  </a:lnTo>
                  <a:cubicBezTo>
                    <a:pt x="1724076" y="0"/>
                    <a:pt x="1784034" y="59958"/>
                    <a:pt x="1784034" y="133920"/>
                  </a:cubicBezTo>
                  <a:lnTo>
                    <a:pt x="1784034" y="1205279"/>
                  </a:lnTo>
                  <a:cubicBezTo>
                    <a:pt x="1784034" y="1279241"/>
                    <a:pt x="1724076" y="1339199"/>
                    <a:pt x="1650114" y="1339199"/>
                  </a:cubicBezTo>
                  <a:lnTo>
                    <a:pt x="133920" y="1339199"/>
                  </a:lnTo>
                  <a:cubicBezTo>
                    <a:pt x="59958" y="1339199"/>
                    <a:pt x="0" y="1279241"/>
                    <a:pt x="0" y="1205279"/>
                  </a:cubicBezTo>
                  <a:lnTo>
                    <a:pt x="0" y="133920"/>
                  </a:lnTo>
                  <a:close/>
                </a:path>
              </a:pathLst>
            </a:custGeom>
            <a:scene3d>
              <a:camera prst="orthographicFront"/>
              <a:lightRig rig="flat" dir="t"/>
            </a:scene3d>
            <a:sp3d prstMaterial="dkEdge">
              <a:bevelT w="8200" h="38100"/>
            </a:sp3d>
          </p:spPr>
          <p:style>
            <a:lnRef idx="0">
              <a:schemeClr val="accent6">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lIns="92456" tIns="92456" rIns="92456" bIns="675116" spcCol="1270"/>
            <a:lstStyle/>
            <a:p>
              <a:pPr defTabSz="577850">
                <a:lnSpc>
                  <a:spcPct val="90000"/>
                </a:lnSpc>
                <a:spcAft>
                  <a:spcPct val="35000"/>
                </a:spcAft>
                <a:defRPr/>
              </a:pPr>
              <a:r>
                <a:rPr lang="en-SG" sz="1300" dirty="0"/>
                <a:t>Examination</a:t>
              </a:r>
            </a:p>
          </p:txBody>
        </p:sp>
        <p:sp>
          <p:nvSpPr>
            <p:cNvPr id="19" name="Freeform 18">
              <a:extLst>
                <a:ext uri="{FF2B5EF4-FFF2-40B4-BE49-F238E27FC236}">
                  <a16:creationId xmlns:a16="http://schemas.microsoft.com/office/drawing/2014/main" id="{24656737-874E-4A73-B9EA-B8FE90B859E6}"/>
                </a:ext>
              </a:extLst>
            </p:cNvPr>
            <p:cNvSpPr/>
            <p:nvPr/>
          </p:nvSpPr>
          <p:spPr>
            <a:xfrm>
              <a:off x="5596371" y="4318488"/>
              <a:ext cx="573125" cy="444284"/>
            </a:xfrm>
            <a:custGeom>
              <a:avLst/>
              <a:gdLst>
                <a:gd name="connsiteX0" fmla="*/ 0 w 573360"/>
                <a:gd name="connsiteY0" fmla="*/ 88834 h 444172"/>
                <a:gd name="connsiteX1" fmla="*/ 351274 w 573360"/>
                <a:gd name="connsiteY1" fmla="*/ 88834 h 444172"/>
                <a:gd name="connsiteX2" fmla="*/ 351274 w 573360"/>
                <a:gd name="connsiteY2" fmla="*/ 0 h 444172"/>
                <a:gd name="connsiteX3" fmla="*/ 573360 w 573360"/>
                <a:gd name="connsiteY3" fmla="*/ 222086 h 444172"/>
                <a:gd name="connsiteX4" fmla="*/ 351274 w 573360"/>
                <a:gd name="connsiteY4" fmla="*/ 444172 h 444172"/>
                <a:gd name="connsiteX5" fmla="*/ 351274 w 573360"/>
                <a:gd name="connsiteY5" fmla="*/ 355338 h 444172"/>
                <a:gd name="connsiteX6" fmla="*/ 0 w 573360"/>
                <a:gd name="connsiteY6" fmla="*/ 355338 h 444172"/>
                <a:gd name="connsiteX7" fmla="*/ 0 w 573360"/>
                <a:gd name="connsiteY7" fmla="*/ 88834 h 444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360" h="444172">
                  <a:moveTo>
                    <a:pt x="0" y="88834"/>
                  </a:moveTo>
                  <a:lnTo>
                    <a:pt x="351274" y="88834"/>
                  </a:lnTo>
                  <a:lnTo>
                    <a:pt x="351274" y="0"/>
                  </a:lnTo>
                  <a:lnTo>
                    <a:pt x="573360" y="222086"/>
                  </a:lnTo>
                  <a:lnTo>
                    <a:pt x="351274" y="444172"/>
                  </a:lnTo>
                  <a:lnTo>
                    <a:pt x="351274" y="355338"/>
                  </a:lnTo>
                  <a:lnTo>
                    <a:pt x="0" y="355338"/>
                  </a:lnTo>
                  <a:lnTo>
                    <a:pt x="0" y="88834"/>
                  </a:lnTo>
                  <a:close/>
                </a:path>
              </a:pathLst>
            </a:custGeom>
            <a:noFill/>
          </p:spPr>
          <p:style>
            <a:lnRef idx="0">
              <a:schemeClr val="accent6">
                <a:tint val="60000"/>
                <a:hueOff val="0"/>
                <a:satOff val="0"/>
                <a:lumOff val="0"/>
                <a:alphaOff val="0"/>
              </a:schemeClr>
            </a:lnRef>
            <a:fillRef idx="2">
              <a:scrgbClr r="0" g="0" b="0"/>
            </a:fillRef>
            <a:effectRef idx="1">
              <a:schemeClr val="accent6">
                <a:tint val="60000"/>
                <a:hueOff val="0"/>
                <a:satOff val="0"/>
                <a:lumOff val="0"/>
                <a:alphaOff val="0"/>
              </a:schemeClr>
            </a:effectRef>
            <a:fontRef idx="minor">
              <a:schemeClr val="dk1">
                <a:hueOff val="0"/>
                <a:satOff val="0"/>
                <a:lumOff val="0"/>
                <a:alphaOff val="0"/>
              </a:schemeClr>
            </a:fontRef>
          </p:style>
          <p:txBody>
            <a:bodyPr lIns="0" tIns="88834" rIns="133252" bIns="88834" spcCol="1270" anchor="ctr"/>
            <a:lstStyle/>
            <a:p>
              <a:pPr algn="ctr" defTabSz="577850">
                <a:lnSpc>
                  <a:spcPct val="90000"/>
                </a:lnSpc>
                <a:spcAft>
                  <a:spcPct val="35000"/>
                </a:spcAft>
                <a:defRPr/>
              </a:pPr>
              <a:endParaRPr lang="en-SG" sz="1300"/>
            </a:p>
          </p:txBody>
        </p:sp>
        <p:sp>
          <p:nvSpPr>
            <p:cNvPr id="20" name="Freeform 19">
              <a:extLst>
                <a:ext uri="{FF2B5EF4-FFF2-40B4-BE49-F238E27FC236}">
                  <a16:creationId xmlns:a16="http://schemas.microsoft.com/office/drawing/2014/main" id="{89C474D6-54E1-4674-8935-6B0AB7EEBFD1}"/>
                </a:ext>
              </a:extLst>
            </p:cNvPr>
            <p:cNvSpPr/>
            <p:nvPr/>
          </p:nvSpPr>
          <p:spPr>
            <a:xfrm>
              <a:off x="6408073" y="4183617"/>
              <a:ext cx="1784034" cy="1339199"/>
            </a:xfrm>
            <a:custGeom>
              <a:avLst/>
              <a:gdLst>
                <a:gd name="connsiteX0" fmla="*/ 0 w 1784034"/>
                <a:gd name="connsiteY0" fmla="*/ 133920 h 1339199"/>
                <a:gd name="connsiteX1" fmla="*/ 133920 w 1784034"/>
                <a:gd name="connsiteY1" fmla="*/ 0 h 1339199"/>
                <a:gd name="connsiteX2" fmla="*/ 1650114 w 1784034"/>
                <a:gd name="connsiteY2" fmla="*/ 0 h 1339199"/>
                <a:gd name="connsiteX3" fmla="*/ 1784034 w 1784034"/>
                <a:gd name="connsiteY3" fmla="*/ 133920 h 1339199"/>
                <a:gd name="connsiteX4" fmla="*/ 1784034 w 1784034"/>
                <a:gd name="connsiteY4" fmla="*/ 1205279 h 1339199"/>
                <a:gd name="connsiteX5" fmla="*/ 1650114 w 1784034"/>
                <a:gd name="connsiteY5" fmla="*/ 1339199 h 1339199"/>
                <a:gd name="connsiteX6" fmla="*/ 133920 w 1784034"/>
                <a:gd name="connsiteY6" fmla="*/ 1339199 h 1339199"/>
                <a:gd name="connsiteX7" fmla="*/ 0 w 1784034"/>
                <a:gd name="connsiteY7" fmla="*/ 1205279 h 1339199"/>
                <a:gd name="connsiteX8" fmla="*/ 0 w 1784034"/>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4034" h="1339199">
                  <a:moveTo>
                    <a:pt x="0" y="133920"/>
                  </a:moveTo>
                  <a:cubicBezTo>
                    <a:pt x="0" y="59958"/>
                    <a:pt x="59958" y="0"/>
                    <a:pt x="133920" y="0"/>
                  </a:cubicBezTo>
                  <a:lnTo>
                    <a:pt x="1650114" y="0"/>
                  </a:lnTo>
                  <a:cubicBezTo>
                    <a:pt x="1724076" y="0"/>
                    <a:pt x="1784034" y="59958"/>
                    <a:pt x="1784034" y="133920"/>
                  </a:cubicBezTo>
                  <a:lnTo>
                    <a:pt x="1784034" y="1205279"/>
                  </a:lnTo>
                  <a:cubicBezTo>
                    <a:pt x="1784034" y="1279241"/>
                    <a:pt x="1724076" y="1339199"/>
                    <a:pt x="1650114" y="1339199"/>
                  </a:cubicBezTo>
                  <a:lnTo>
                    <a:pt x="133920" y="1339199"/>
                  </a:lnTo>
                  <a:cubicBezTo>
                    <a:pt x="59958" y="1339199"/>
                    <a:pt x="0" y="1279241"/>
                    <a:pt x="0" y="1205279"/>
                  </a:cubicBezTo>
                  <a:lnTo>
                    <a:pt x="0" y="133920"/>
                  </a:lnTo>
                  <a:close/>
                </a:path>
              </a:pathLst>
            </a:custGeom>
            <a:scene3d>
              <a:camera prst="orthographicFront"/>
              <a:lightRig rig="flat" dir="t"/>
            </a:scene3d>
            <a:sp3d prstMaterial="dkEdge">
              <a:bevelT w="8200" h="38100"/>
            </a:sp3d>
          </p:spPr>
          <p:style>
            <a:lnRef idx="0">
              <a:schemeClr val="accent6">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lIns="92456" tIns="92456" rIns="92456" bIns="675116" spcCol="1270"/>
            <a:lstStyle/>
            <a:p>
              <a:pPr defTabSz="577850">
                <a:lnSpc>
                  <a:spcPct val="90000"/>
                </a:lnSpc>
                <a:spcAft>
                  <a:spcPct val="35000"/>
                </a:spcAft>
                <a:defRPr/>
              </a:pPr>
              <a:r>
                <a:rPr lang="en-SG" sz="1300" dirty="0"/>
                <a:t>Registration</a:t>
              </a:r>
            </a:p>
          </p:txBody>
        </p:sp>
      </p:grpSp>
      <p:sp>
        <p:nvSpPr>
          <p:cNvPr id="11270" name="Slide Number Placeholder 6">
            <a:extLst>
              <a:ext uri="{FF2B5EF4-FFF2-40B4-BE49-F238E27FC236}">
                <a16:creationId xmlns:a16="http://schemas.microsoft.com/office/drawing/2014/main" id="{7F1CB5B3-58D6-4827-AD31-5120A26B319B}"/>
              </a:ext>
            </a:extLst>
          </p:cNvPr>
          <p:cNvSpPr txBox="1">
            <a:spLocks noGrp="1"/>
          </p:cNvSpPr>
          <p:nvPr/>
        </p:nvSpPr>
        <p:spPr bwMode="auto">
          <a:xfrm>
            <a:off x="7239000" y="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r"/>
            <a:fld id="{69C325D8-1E49-4BD1-90C1-BDC9C6839E77}" type="slidenum">
              <a:rPr lang="fr-FR" altLang="en-US" sz="1400"/>
              <a:pPr algn="r"/>
              <a:t>4</a:t>
            </a:fld>
            <a:endParaRPr lang="fr-FR" altLang="en-US" sz="1400"/>
          </a:p>
        </p:txBody>
      </p:sp>
      <p:sp>
        <p:nvSpPr>
          <p:cNvPr id="6151" name="Title 1">
            <a:extLst>
              <a:ext uri="{FF2B5EF4-FFF2-40B4-BE49-F238E27FC236}">
                <a16:creationId xmlns:a16="http://schemas.microsoft.com/office/drawing/2014/main" id="{6EA45337-AE98-4D22-A0FA-DF1AE6E122C9}"/>
              </a:ext>
            </a:extLst>
          </p:cNvPr>
          <p:cNvSpPr txBox="1">
            <a:spLocks/>
          </p:cNvSpPr>
          <p:nvPr/>
        </p:nvSpPr>
        <p:spPr bwMode="auto">
          <a:xfrm>
            <a:off x="28575" y="268288"/>
            <a:ext cx="8963025" cy="692150"/>
          </a:xfrm>
          <a:prstGeom prst="rect">
            <a:avLst/>
          </a:prstGeom>
          <a:noFill/>
          <a:ln>
            <a:noFill/>
          </a:ln>
        </p:spPr>
        <p:txBody>
          <a:bodyPr/>
          <a:lstStyle/>
          <a:p>
            <a:pPr algn="ctr">
              <a:defRPr/>
            </a:pPr>
            <a:r>
              <a:rPr lang="en-US" altLang="en-US" sz="3200" dirty="0">
                <a:solidFill>
                  <a:srgbClr val="00408C"/>
                </a:solidFill>
                <a:latin typeface="+mn-lt"/>
              </a:rPr>
              <a:t>General IP Office Core Functions</a:t>
            </a:r>
            <a:endParaRPr lang="en-SG" altLang="en-US" sz="3200" dirty="0">
              <a:solidFill>
                <a:srgbClr val="00408C"/>
              </a:solidFill>
              <a:latin typeface="+mn-lt"/>
            </a:endParaRPr>
          </a:p>
        </p:txBody>
      </p:sp>
      <p:sp>
        <p:nvSpPr>
          <p:cNvPr id="11272" name="Up-Down Arrow 21">
            <a:extLst>
              <a:ext uri="{FF2B5EF4-FFF2-40B4-BE49-F238E27FC236}">
                <a16:creationId xmlns:a16="http://schemas.microsoft.com/office/drawing/2014/main" id="{65FC82B5-8445-4801-8CAA-5CE9C3559F35}"/>
              </a:ext>
            </a:extLst>
          </p:cNvPr>
          <p:cNvSpPr>
            <a:spLocks noChangeArrowheads="1"/>
          </p:cNvSpPr>
          <p:nvPr/>
        </p:nvSpPr>
        <p:spPr bwMode="auto">
          <a:xfrm>
            <a:off x="4067175" y="3068638"/>
            <a:ext cx="792163" cy="792162"/>
          </a:xfrm>
          <a:prstGeom prst="upDownArrow">
            <a:avLst>
              <a:gd name="adj1" fmla="val 50000"/>
              <a:gd name="adj2" fmla="val 5000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200">
                <a:solidFill>
                  <a:schemeClr val="bg1"/>
                </a:solidFill>
                <a:latin typeface="Arial" panose="020B0604020202020204" pitchFamily="34" charset="0"/>
                <a:ea typeface="ヒラギノ角ゴ Pro W3"/>
                <a:cs typeface="ヒラギノ角ゴ Pro W3"/>
              </a:defRPr>
            </a:lvl1pPr>
            <a:lvl2pPr>
              <a:defRPr sz="2200">
                <a:solidFill>
                  <a:schemeClr val="bg1"/>
                </a:solidFill>
                <a:latin typeface="Arial" panose="020B0604020202020204" pitchFamily="34" charset="0"/>
                <a:ea typeface="ヒラギノ角ゴ Pro W3"/>
                <a:cs typeface="ヒラギノ角ゴ Pro W3"/>
              </a:defRPr>
            </a:lvl2pPr>
            <a:lvl3pPr>
              <a:defRPr sz="2200">
                <a:solidFill>
                  <a:schemeClr val="bg1"/>
                </a:solidFill>
                <a:latin typeface="Arial" panose="020B0604020202020204" pitchFamily="34" charset="0"/>
                <a:ea typeface="ヒラギノ角ゴ Pro W3"/>
                <a:cs typeface="ヒラギノ角ゴ Pro W3"/>
              </a:defRPr>
            </a:lvl3pPr>
            <a:lvl4pPr>
              <a:defRPr sz="2200">
                <a:solidFill>
                  <a:schemeClr val="bg1"/>
                </a:solidFill>
                <a:latin typeface="Arial" panose="020B0604020202020204" pitchFamily="34" charset="0"/>
                <a:ea typeface="ヒラギノ角ゴ Pro W3"/>
                <a:cs typeface="ヒラギノ角ゴ Pro W3"/>
              </a:defRPr>
            </a:lvl4pPr>
            <a:lvl5pPr>
              <a:defRPr sz="2200">
                <a:solidFill>
                  <a:schemeClr val="bg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9pPr>
          </a:lstStyle>
          <a:p>
            <a:pPr defTabSz="914400" eaLnBrk="1" hangingPunct="1">
              <a:spcBef>
                <a:spcPct val="50000"/>
              </a:spcBef>
            </a:pPr>
            <a:endParaRPr lang="en-US" altLang="en-US" sz="2400">
              <a:solidFill>
                <a:schemeClr val="tx1"/>
              </a:solidFill>
              <a:cs typeface="Arial" panose="020B0604020202020204" pitchFamily="34" charset="0"/>
            </a:endParaRPr>
          </a:p>
        </p:txBody>
      </p:sp>
      <p:sp>
        <p:nvSpPr>
          <p:cNvPr id="23" name="Up-Down Arrow 22">
            <a:extLst>
              <a:ext uri="{FF2B5EF4-FFF2-40B4-BE49-F238E27FC236}">
                <a16:creationId xmlns:a16="http://schemas.microsoft.com/office/drawing/2014/main" id="{1D4B3481-5E44-4FB4-8438-CF90DCD44875}"/>
              </a:ext>
            </a:extLst>
          </p:cNvPr>
          <p:cNvSpPr/>
          <p:nvPr/>
        </p:nvSpPr>
        <p:spPr bwMode="auto">
          <a:xfrm>
            <a:off x="4076700" y="2908300"/>
            <a:ext cx="568325" cy="1114425"/>
          </a:xfrm>
          <a:prstGeom prst="upDownArrow">
            <a:avLst/>
          </a:prstGeom>
        </p:spPr>
        <p:style>
          <a:lnRef idx="0">
            <a:schemeClr val="accent6">
              <a:tint val="60000"/>
              <a:hueOff val="0"/>
              <a:satOff val="0"/>
              <a:lumOff val="0"/>
              <a:alphaOff val="0"/>
            </a:schemeClr>
          </a:lnRef>
          <a:fillRef idx="2">
            <a:schemeClr val="accent6">
              <a:tint val="60000"/>
              <a:hueOff val="0"/>
              <a:satOff val="0"/>
              <a:lumOff val="0"/>
              <a:alphaOff val="0"/>
            </a:schemeClr>
          </a:fillRef>
          <a:effectRef idx="1">
            <a:schemeClr val="accent6">
              <a:tint val="60000"/>
              <a:hueOff val="0"/>
              <a:satOff val="0"/>
              <a:lumOff val="0"/>
              <a:alphaOff val="0"/>
            </a:schemeClr>
          </a:effectRef>
          <a:fontRef idx="minor">
            <a:schemeClr val="dk1">
              <a:hueOff val="0"/>
              <a:satOff val="0"/>
              <a:lumOff val="0"/>
              <a:alphaOff val="0"/>
            </a:schemeClr>
          </a:fontRef>
        </p:style>
        <p:txBody>
          <a:bodyPr lIns="0" tIns="98924" rIns="148386" bIns="98924" spcCol="1270" anchor="ctr"/>
          <a:lstStyle/>
          <a:p>
            <a:pPr algn="ctr" defTabSz="533400">
              <a:lnSpc>
                <a:spcPct val="90000"/>
              </a:lnSpc>
              <a:spcAft>
                <a:spcPct val="35000"/>
              </a:spcAft>
              <a:defRPr/>
            </a:pPr>
            <a:endParaRPr lang="en-GB" sz="1200"/>
          </a:p>
        </p:txBody>
      </p:sp>
      <p:sp>
        <p:nvSpPr>
          <p:cNvPr id="29" name="Up-Down Arrow 28">
            <a:extLst>
              <a:ext uri="{FF2B5EF4-FFF2-40B4-BE49-F238E27FC236}">
                <a16:creationId xmlns:a16="http://schemas.microsoft.com/office/drawing/2014/main" id="{4FFB6169-1527-45CF-89D2-8B11D1AC64B0}"/>
              </a:ext>
            </a:extLst>
          </p:cNvPr>
          <p:cNvSpPr/>
          <p:nvPr/>
        </p:nvSpPr>
        <p:spPr bwMode="auto">
          <a:xfrm rot="16200000">
            <a:off x="5566569" y="4247356"/>
            <a:ext cx="568325" cy="1116013"/>
          </a:xfrm>
          <a:prstGeom prst="upDownArrow">
            <a:avLst/>
          </a:prstGeom>
        </p:spPr>
        <p:style>
          <a:lnRef idx="0">
            <a:schemeClr val="accent6">
              <a:tint val="60000"/>
              <a:hueOff val="0"/>
              <a:satOff val="0"/>
              <a:lumOff val="0"/>
              <a:alphaOff val="0"/>
            </a:schemeClr>
          </a:lnRef>
          <a:fillRef idx="2">
            <a:schemeClr val="accent6">
              <a:tint val="60000"/>
              <a:hueOff val="0"/>
              <a:satOff val="0"/>
              <a:lumOff val="0"/>
              <a:alphaOff val="0"/>
            </a:schemeClr>
          </a:fillRef>
          <a:effectRef idx="1">
            <a:schemeClr val="accent6">
              <a:tint val="60000"/>
              <a:hueOff val="0"/>
              <a:satOff val="0"/>
              <a:lumOff val="0"/>
              <a:alphaOff val="0"/>
            </a:schemeClr>
          </a:effectRef>
          <a:fontRef idx="minor">
            <a:schemeClr val="dk1">
              <a:hueOff val="0"/>
              <a:satOff val="0"/>
              <a:lumOff val="0"/>
              <a:alphaOff val="0"/>
            </a:schemeClr>
          </a:fontRef>
        </p:style>
        <p:txBody>
          <a:bodyPr lIns="0" tIns="98924" rIns="148386" bIns="98924" spcCol="1270" anchor="ctr"/>
          <a:lstStyle/>
          <a:p>
            <a:pPr algn="ctr" defTabSz="533400">
              <a:lnSpc>
                <a:spcPct val="90000"/>
              </a:lnSpc>
              <a:spcAft>
                <a:spcPct val="35000"/>
              </a:spcAft>
              <a:defRPr/>
            </a:pPr>
            <a:endParaRPr lang="en-GB" sz="1200"/>
          </a:p>
        </p:txBody>
      </p:sp>
      <p:sp>
        <p:nvSpPr>
          <p:cNvPr id="30" name="Up-Down Arrow 29">
            <a:extLst>
              <a:ext uri="{FF2B5EF4-FFF2-40B4-BE49-F238E27FC236}">
                <a16:creationId xmlns:a16="http://schemas.microsoft.com/office/drawing/2014/main" id="{90ED91E4-BF87-4F60-8DC5-3A5C7757838C}"/>
              </a:ext>
            </a:extLst>
          </p:cNvPr>
          <p:cNvSpPr/>
          <p:nvPr/>
        </p:nvSpPr>
        <p:spPr bwMode="auto">
          <a:xfrm rot="16200000">
            <a:off x="2736850" y="4305300"/>
            <a:ext cx="568325" cy="1114425"/>
          </a:xfrm>
          <a:prstGeom prst="upDownArrow">
            <a:avLst/>
          </a:prstGeom>
        </p:spPr>
        <p:style>
          <a:lnRef idx="0">
            <a:schemeClr val="accent6">
              <a:tint val="60000"/>
              <a:hueOff val="0"/>
              <a:satOff val="0"/>
              <a:lumOff val="0"/>
              <a:alphaOff val="0"/>
            </a:schemeClr>
          </a:lnRef>
          <a:fillRef idx="2">
            <a:schemeClr val="accent6">
              <a:tint val="60000"/>
              <a:hueOff val="0"/>
              <a:satOff val="0"/>
              <a:lumOff val="0"/>
              <a:alphaOff val="0"/>
            </a:schemeClr>
          </a:fillRef>
          <a:effectRef idx="1">
            <a:schemeClr val="accent6">
              <a:tint val="60000"/>
              <a:hueOff val="0"/>
              <a:satOff val="0"/>
              <a:lumOff val="0"/>
              <a:alphaOff val="0"/>
            </a:schemeClr>
          </a:effectRef>
          <a:fontRef idx="minor">
            <a:schemeClr val="dk1">
              <a:hueOff val="0"/>
              <a:satOff val="0"/>
              <a:lumOff val="0"/>
              <a:alphaOff val="0"/>
            </a:schemeClr>
          </a:fontRef>
        </p:style>
        <p:txBody>
          <a:bodyPr lIns="0" tIns="98924" rIns="148386" bIns="98924" spcCol="1270" anchor="ctr"/>
          <a:lstStyle/>
          <a:p>
            <a:pPr algn="ctr" defTabSz="533400">
              <a:lnSpc>
                <a:spcPct val="90000"/>
              </a:lnSpc>
              <a:spcAft>
                <a:spcPct val="35000"/>
              </a:spcAft>
              <a:defRPr/>
            </a:pPr>
            <a:endParaRPr lang="en-GB" sz="120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370" name="Picture 1">
            <a:extLst>
              <a:ext uri="{FF2B5EF4-FFF2-40B4-BE49-F238E27FC236}">
                <a16:creationId xmlns:a16="http://schemas.microsoft.com/office/drawing/2014/main" id="{9C16EAD4-3F53-4795-914E-ADB9C1BB947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1066800"/>
            <a:ext cx="89154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371" name="Text Box 1">
            <a:extLst>
              <a:ext uri="{FF2B5EF4-FFF2-40B4-BE49-F238E27FC236}">
                <a16:creationId xmlns:a16="http://schemas.microsoft.com/office/drawing/2014/main" id="{17DC0C7D-3C2E-4218-AFAB-BA8CC8463F97}"/>
              </a:ext>
            </a:extLst>
          </p:cNvPr>
          <p:cNvSpPr txBox="1">
            <a:spLocks noChangeArrowheads="1"/>
          </p:cNvSpPr>
          <p:nvPr/>
        </p:nvSpPr>
        <p:spPr bwMode="auto">
          <a:xfrm>
            <a:off x="76200" y="0"/>
            <a:ext cx="8915400" cy="9350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9pPr>
          </a:lstStyle>
          <a:p>
            <a:pPr eaLnBrk="1" hangingPunct="1">
              <a:spcBef>
                <a:spcPct val="0"/>
              </a:spcBef>
              <a:buClrTx/>
              <a:buSzTx/>
              <a:buFontTx/>
              <a:buNone/>
            </a:pPr>
            <a:r>
              <a:rPr lang="en-US" altLang="en-US" sz="3200">
                <a:solidFill>
                  <a:srgbClr val="00408C"/>
                </a:solidFill>
                <a:ea typeface="Arial Unicode MS" pitchFamily="34" charset="-128"/>
              </a:rPr>
              <a:t>Kenya – WIPO File Implementation for Patents </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4" name="Picture 1">
            <a:extLst>
              <a:ext uri="{FF2B5EF4-FFF2-40B4-BE49-F238E27FC236}">
                <a16:creationId xmlns:a16="http://schemas.microsoft.com/office/drawing/2014/main" id="{F0E5D341-340C-4184-BCDD-B2E31B937A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1143000"/>
            <a:ext cx="8915400" cy="563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395" name="Text Box 1">
            <a:extLst>
              <a:ext uri="{FF2B5EF4-FFF2-40B4-BE49-F238E27FC236}">
                <a16:creationId xmlns:a16="http://schemas.microsoft.com/office/drawing/2014/main" id="{30D263CB-08A9-4136-A842-5A19A9B0F75F}"/>
              </a:ext>
            </a:extLst>
          </p:cNvPr>
          <p:cNvSpPr txBox="1">
            <a:spLocks noChangeArrowheads="1"/>
          </p:cNvSpPr>
          <p:nvPr/>
        </p:nvSpPr>
        <p:spPr bwMode="auto">
          <a:xfrm>
            <a:off x="76200" y="0"/>
            <a:ext cx="8915400" cy="9350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9pPr>
          </a:lstStyle>
          <a:p>
            <a:pPr eaLnBrk="1" hangingPunct="1">
              <a:spcBef>
                <a:spcPct val="0"/>
              </a:spcBef>
              <a:buClrTx/>
              <a:buSzTx/>
              <a:buFontTx/>
              <a:buNone/>
            </a:pPr>
            <a:r>
              <a:rPr lang="en-US" altLang="en-US" sz="2800">
                <a:solidFill>
                  <a:srgbClr val="00408C"/>
                </a:solidFill>
                <a:ea typeface="Arial Unicode MS" pitchFamily="34" charset="-128"/>
              </a:rPr>
              <a:t>Kenya – WIPO File with Online Payment Integration</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18" name="Picture 1">
            <a:extLst>
              <a:ext uri="{FF2B5EF4-FFF2-40B4-BE49-F238E27FC236}">
                <a16:creationId xmlns:a16="http://schemas.microsoft.com/office/drawing/2014/main" id="{8274B1A3-91C7-418F-A207-7B23FCF6B5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066800"/>
            <a:ext cx="9067800" cy="579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419" name="Text Box 1">
            <a:extLst>
              <a:ext uri="{FF2B5EF4-FFF2-40B4-BE49-F238E27FC236}">
                <a16:creationId xmlns:a16="http://schemas.microsoft.com/office/drawing/2014/main" id="{66BCD265-5BE5-4371-B41F-15943ADC1B1E}"/>
              </a:ext>
            </a:extLst>
          </p:cNvPr>
          <p:cNvSpPr txBox="1">
            <a:spLocks noChangeArrowheads="1"/>
          </p:cNvSpPr>
          <p:nvPr/>
        </p:nvSpPr>
        <p:spPr bwMode="auto">
          <a:xfrm>
            <a:off x="76200" y="0"/>
            <a:ext cx="8915400" cy="9350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9pPr>
          </a:lstStyle>
          <a:p>
            <a:pPr eaLnBrk="1" hangingPunct="1">
              <a:spcBef>
                <a:spcPct val="0"/>
              </a:spcBef>
              <a:buClrTx/>
              <a:buSzTx/>
              <a:buFontTx/>
              <a:buNone/>
            </a:pPr>
            <a:r>
              <a:rPr lang="en-US" altLang="en-US" sz="2800">
                <a:solidFill>
                  <a:srgbClr val="00408C"/>
                </a:solidFill>
                <a:ea typeface="Arial Unicode MS" pitchFamily="34" charset="-128"/>
              </a:rPr>
              <a:t>Kenya – WIPO File with Online Payment Integration</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2" name="Picture 1">
            <a:extLst>
              <a:ext uri="{FF2B5EF4-FFF2-40B4-BE49-F238E27FC236}">
                <a16:creationId xmlns:a16="http://schemas.microsoft.com/office/drawing/2014/main" id="{A9E3D913-AAB6-48A3-A296-C3611C1E630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1066800"/>
            <a:ext cx="8686800" cy="564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43" name="Text Box 1">
            <a:extLst>
              <a:ext uri="{FF2B5EF4-FFF2-40B4-BE49-F238E27FC236}">
                <a16:creationId xmlns:a16="http://schemas.microsoft.com/office/drawing/2014/main" id="{68D92926-FF5E-4221-B116-E0308F24D542}"/>
              </a:ext>
            </a:extLst>
          </p:cNvPr>
          <p:cNvSpPr txBox="1">
            <a:spLocks noChangeArrowheads="1"/>
          </p:cNvSpPr>
          <p:nvPr/>
        </p:nvSpPr>
        <p:spPr bwMode="auto">
          <a:xfrm>
            <a:off x="76200" y="0"/>
            <a:ext cx="8915400" cy="9350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000000"/>
                </a:solidFill>
                <a:latin typeface="Arial" panose="020B0604020202020204" pitchFamily="34" charset="0"/>
                <a:ea typeface="ヒラギノ角ゴ Pro W3"/>
                <a:cs typeface="ヒラギノ角ゴ Pro W3"/>
              </a:defRPr>
            </a:lvl9pPr>
          </a:lstStyle>
          <a:p>
            <a:pPr eaLnBrk="1" hangingPunct="1">
              <a:spcBef>
                <a:spcPct val="0"/>
              </a:spcBef>
              <a:buClrTx/>
              <a:buSzTx/>
              <a:buFontTx/>
              <a:buNone/>
            </a:pPr>
            <a:r>
              <a:rPr lang="en-US" altLang="en-US" sz="2800">
                <a:solidFill>
                  <a:srgbClr val="00408C"/>
                </a:solidFill>
                <a:ea typeface="Arial Unicode MS" pitchFamily="34" charset="-128"/>
              </a:rPr>
              <a:t>Kenya – WIPO File with Online Payment Integration</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1">
            <a:extLst>
              <a:ext uri="{FF2B5EF4-FFF2-40B4-BE49-F238E27FC236}">
                <a16:creationId xmlns:a16="http://schemas.microsoft.com/office/drawing/2014/main" id="{EA39C0A3-6C81-46CD-B4E4-963CABC81D6E}"/>
              </a:ext>
            </a:extLst>
          </p:cNvPr>
          <p:cNvSpPr>
            <a:spLocks noGrp="1" noChangeArrowheads="1"/>
          </p:cNvSpPr>
          <p:nvPr>
            <p:ph type="title"/>
          </p:nvPr>
        </p:nvSpPr>
        <p:spPr/>
        <p:txBody>
          <a:bodyPr/>
          <a:lstStyle/>
          <a:p>
            <a:r>
              <a:rPr lang="en-GB" altLang="en-US"/>
              <a:t>WIPO File Considerations</a:t>
            </a:r>
          </a:p>
        </p:txBody>
      </p:sp>
      <p:sp>
        <p:nvSpPr>
          <p:cNvPr id="62467" name="Content Placeholder 2">
            <a:extLst>
              <a:ext uri="{FF2B5EF4-FFF2-40B4-BE49-F238E27FC236}">
                <a16:creationId xmlns:a16="http://schemas.microsoft.com/office/drawing/2014/main" id="{EBF47791-6FD0-4CB7-9F79-DECEEBB7F4E4}"/>
              </a:ext>
            </a:extLst>
          </p:cNvPr>
          <p:cNvSpPr>
            <a:spLocks noGrp="1" noChangeArrowheads="1"/>
          </p:cNvSpPr>
          <p:nvPr>
            <p:ph idx="1"/>
          </p:nvPr>
        </p:nvSpPr>
        <p:spPr/>
        <p:txBody>
          <a:bodyPr/>
          <a:lstStyle/>
          <a:p>
            <a:pPr marL="457200" indent="-457200">
              <a:buFont typeface="Arial" panose="020B0604020202020204" pitchFamily="34" charset="0"/>
              <a:buAutoNum type="arabicPeriod"/>
            </a:pPr>
            <a:r>
              <a:rPr lang="en-GB" altLang="en-US"/>
              <a:t>Legal Framework</a:t>
            </a:r>
          </a:p>
          <a:p>
            <a:pPr marL="457200" lvl="1" indent="0"/>
            <a:r>
              <a:rPr lang="en-GB" altLang="en-US" sz="2000" i="1"/>
              <a:t>Electronic transactions law, electronic payment, signature, IP regulations…</a:t>
            </a:r>
          </a:p>
          <a:p>
            <a:pPr marL="457200" indent="-457200">
              <a:buFont typeface="Arial" panose="020B0604020202020204" pitchFamily="34" charset="0"/>
              <a:buAutoNum type="arabicPeriod"/>
            </a:pPr>
            <a:r>
              <a:rPr lang="en-GB" altLang="en-US"/>
              <a:t>Payment and Reception Model</a:t>
            </a:r>
          </a:p>
          <a:p>
            <a:pPr marL="400050" lvl="2" indent="0"/>
            <a:r>
              <a:rPr lang="en-GB" altLang="en-US" sz="2000" i="1"/>
              <a:t>Online data capture, or legally valid filings?  Service for registered agents, or for any user?</a:t>
            </a:r>
            <a:endParaRPr lang="en-GB" altLang="en-US"/>
          </a:p>
          <a:p>
            <a:pPr marL="457200" indent="-457200">
              <a:buFont typeface="Arial" panose="020B0604020202020204" pitchFamily="34" charset="0"/>
              <a:buAutoNum type="arabicPeriod"/>
            </a:pPr>
            <a:r>
              <a:rPr lang="en-GB" altLang="en-US"/>
              <a:t>Office pre-requisites</a:t>
            </a:r>
          </a:p>
          <a:p>
            <a:pPr marL="400050" lvl="2" indent="0"/>
            <a:r>
              <a:rPr lang="en-GB" altLang="en-US" sz="2000" i="1"/>
              <a:t>Secure web site, robust infrastructure, support staff, …</a:t>
            </a:r>
            <a:endParaRPr lang="en-GB" altLang="en-US"/>
          </a:p>
          <a:p>
            <a:pPr marL="457200" indent="-457200">
              <a:buFont typeface="Arial" panose="020B0604020202020204" pitchFamily="34" charset="0"/>
              <a:buAutoNum type="arabicPeriod"/>
            </a:pPr>
            <a:r>
              <a:rPr lang="en-GB" altLang="en-US"/>
              <a:t>Deployment and Testing</a:t>
            </a:r>
          </a:p>
          <a:p>
            <a:pPr marL="400050" lvl="2" indent="0"/>
            <a:r>
              <a:rPr lang="en-GB" altLang="en-US" sz="2000" i="1"/>
              <a:t>Customize system, fee calculation, payment integration, register users, outreach events, testing,…</a:t>
            </a:r>
          </a:p>
          <a:p>
            <a:pPr marL="457200" indent="-457200">
              <a:buFont typeface="Arial" panose="020B0604020202020204" pitchFamily="34" charset="0"/>
              <a:buAutoNum type="arabicPeriod"/>
            </a:pPr>
            <a:endParaRPr lang="en-GB" altLang="en-US"/>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a:extLst>
              <a:ext uri="{FF2B5EF4-FFF2-40B4-BE49-F238E27FC236}">
                <a16:creationId xmlns:a16="http://schemas.microsoft.com/office/drawing/2014/main" id="{2EF660B8-A896-42BA-9D67-2840320BF450}"/>
              </a:ext>
            </a:extLst>
          </p:cNvPr>
          <p:cNvSpPr>
            <a:spLocks noGrp="1" noChangeArrowheads="1"/>
          </p:cNvSpPr>
          <p:nvPr>
            <p:ph type="title"/>
          </p:nvPr>
        </p:nvSpPr>
        <p:spPr/>
        <p:txBody>
          <a:bodyPr/>
          <a:lstStyle/>
          <a:p>
            <a:r>
              <a:rPr lang="en-GB" altLang="en-US"/>
              <a:t>What is WIPO Publish?</a:t>
            </a:r>
          </a:p>
        </p:txBody>
      </p:sp>
      <p:sp>
        <p:nvSpPr>
          <p:cNvPr id="4" name="Rounded Rectangle 3">
            <a:extLst>
              <a:ext uri="{FF2B5EF4-FFF2-40B4-BE49-F238E27FC236}">
                <a16:creationId xmlns:a16="http://schemas.microsoft.com/office/drawing/2014/main" id="{5EC5A066-77E8-4870-A023-A6A71EA2A1CD}"/>
              </a:ext>
            </a:extLst>
          </p:cNvPr>
          <p:cNvSpPr/>
          <p:nvPr/>
        </p:nvSpPr>
        <p:spPr bwMode="auto">
          <a:xfrm>
            <a:off x="738188" y="5849938"/>
            <a:ext cx="5832475" cy="511175"/>
          </a:xfrm>
          <a:prstGeom prst="roundRect">
            <a:avLst/>
          </a:prstGeom>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spAutoFit/>
          </a:bodyPr>
          <a:lstStyle/>
          <a:p>
            <a:pPr algn="ctr" defTabSz="914400" eaLnBrk="1" hangingPunct="1">
              <a:spcBef>
                <a:spcPct val="50000"/>
              </a:spcBef>
              <a:defRPr/>
            </a:pPr>
            <a:r>
              <a:rPr lang="en-GB" sz="2400" dirty="0">
                <a:solidFill>
                  <a:schemeClr val="tx1"/>
                </a:solidFill>
                <a:cs typeface="Arial" charset="0"/>
              </a:rPr>
              <a:t>IP Administration System e.g. IPAS</a:t>
            </a:r>
          </a:p>
        </p:txBody>
      </p:sp>
      <p:sp>
        <p:nvSpPr>
          <p:cNvPr id="5" name="Rounded Rectangle 4">
            <a:extLst>
              <a:ext uri="{FF2B5EF4-FFF2-40B4-BE49-F238E27FC236}">
                <a16:creationId xmlns:a16="http://schemas.microsoft.com/office/drawing/2014/main" id="{935D7FE7-8DD2-4727-AC55-45255A9D637E}"/>
              </a:ext>
            </a:extLst>
          </p:cNvPr>
          <p:cNvSpPr/>
          <p:nvPr/>
        </p:nvSpPr>
        <p:spPr bwMode="auto">
          <a:xfrm>
            <a:off x="738188" y="4914900"/>
            <a:ext cx="5832475" cy="511175"/>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a:spAutoFit/>
          </a:bodyPr>
          <a:lstStyle/>
          <a:p>
            <a:pPr algn="ctr" defTabSz="914400" eaLnBrk="1" hangingPunct="1">
              <a:spcBef>
                <a:spcPct val="50000"/>
              </a:spcBef>
              <a:defRPr/>
            </a:pPr>
            <a:r>
              <a:rPr lang="en-GB" sz="2400" dirty="0">
                <a:solidFill>
                  <a:schemeClr val="tx1"/>
                </a:solidFill>
                <a:cs typeface="Arial" charset="0"/>
              </a:rPr>
              <a:t>Data Extraction and Formatting</a:t>
            </a:r>
          </a:p>
        </p:txBody>
      </p:sp>
      <p:sp>
        <p:nvSpPr>
          <p:cNvPr id="6" name="Rounded Rectangle 5">
            <a:extLst>
              <a:ext uri="{FF2B5EF4-FFF2-40B4-BE49-F238E27FC236}">
                <a16:creationId xmlns:a16="http://schemas.microsoft.com/office/drawing/2014/main" id="{A556B6E2-5845-4897-95F9-05D345050E3A}"/>
              </a:ext>
            </a:extLst>
          </p:cNvPr>
          <p:cNvSpPr/>
          <p:nvPr/>
        </p:nvSpPr>
        <p:spPr bwMode="auto">
          <a:xfrm>
            <a:off x="738188" y="4403725"/>
            <a:ext cx="5832475" cy="511175"/>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a:spAutoFit/>
          </a:bodyPr>
          <a:lstStyle/>
          <a:p>
            <a:pPr algn="ctr" defTabSz="914400" eaLnBrk="1" hangingPunct="1">
              <a:spcBef>
                <a:spcPct val="50000"/>
              </a:spcBef>
              <a:defRPr/>
            </a:pPr>
            <a:r>
              <a:rPr lang="en-GB" sz="2400" dirty="0">
                <a:solidFill>
                  <a:schemeClr val="tx1"/>
                </a:solidFill>
                <a:cs typeface="Arial" charset="0"/>
              </a:rPr>
              <a:t>Data and Document Storage</a:t>
            </a:r>
          </a:p>
        </p:txBody>
      </p:sp>
      <p:sp>
        <p:nvSpPr>
          <p:cNvPr id="7" name="Rounded Rectangle 6">
            <a:extLst>
              <a:ext uri="{FF2B5EF4-FFF2-40B4-BE49-F238E27FC236}">
                <a16:creationId xmlns:a16="http://schemas.microsoft.com/office/drawing/2014/main" id="{787CA9F1-B758-4B23-9C5E-688CA4AB6090}"/>
              </a:ext>
            </a:extLst>
          </p:cNvPr>
          <p:cNvSpPr/>
          <p:nvPr/>
        </p:nvSpPr>
        <p:spPr bwMode="auto">
          <a:xfrm>
            <a:off x="722313" y="2355850"/>
            <a:ext cx="1457325" cy="2047875"/>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a:normAutofit/>
          </a:bodyPr>
          <a:lstStyle/>
          <a:p>
            <a:pPr algn="ctr" defTabSz="914400" eaLnBrk="1" hangingPunct="1">
              <a:spcBef>
                <a:spcPct val="50000"/>
              </a:spcBef>
              <a:defRPr/>
            </a:pPr>
            <a:r>
              <a:rPr lang="en-GB" sz="2000" dirty="0">
                <a:solidFill>
                  <a:schemeClr val="tx1"/>
                </a:solidFill>
                <a:cs typeface="Arial" charset="0"/>
              </a:rPr>
              <a:t>Online Search</a:t>
            </a:r>
          </a:p>
        </p:txBody>
      </p:sp>
      <p:sp>
        <p:nvSpPr>
          <p:cNvPr id="8" name="Rounded Rectangle 7">
            <a:extLst>
              <a:ext uri="{FF2B5EF4-FFF2-40B4-BE49-F238E27FC236}">
                <a16:creationId xmlns:a16="http://schemas.microsoft.com/office/drawing/2014/main" id="{25EA27BB-2893-4BC1-96BB-7E8903B15F2B}"/>
              </a:ext>
            </a:extLst>
          </p:cNvPr>
          <p:cNvSpPr/>
          <p:nvPr/>
        </p:nvSpPr>
        <p:spPr bwMode="auto">
          <a:xfrm>
            <a:off x="2179638" y="2355850"/>
            <a:ext cx="1455737" cy="2047875"/>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a:normAutofit/>
          </a:bodyPr>
          <a:lstStyle/>
          <a:p>
            <a:pPr algn="ctr" defTabSz="914400" eaLnBrk="1" hangingPunct="1">
              <a:spcBef>
                <a:spcPct val="50000"/>
              </a:spcBef>
              <a:defRPr/>
            </a:pPr>
            <a:r>
              <a:rPr lang="en-GB" sz="1800" dirty="0">
                <a:solidFill>
                  <a:schemeClr val="tx1"/>
                </a:solidFill>
                <a:cs typeface="Arial" charset="0"/>
              </a:rPr>
              <a:t>Legal Publication</a:t>
            </a:r>
          </a:p>
        </p:txBody>
      </p:sp>
      <p:sp>
        <p:nvSpPr>
          <p:cNvPr id="9" name="Rounded Rectangle 8">
            <a:extLst>
              <a:ext uri="{FF2B5EF4-FFF2-40B4-BE49-F238E27FC236}">
                <a16:creationId xmlns:a16="http://schemas.microsoft.com/office/drawing/2014/main" id="{4A9C7769-CC8A-468B-8CED-9D529D526F13}"/>
              </a:ext>
            </a:extLst>
          </p:cNvPr>
          <p:cNvSpPr/>
          <p:nvPr/>
        </p:nvSpPr>
        <p:spPr bwMode="auto">
          <a:xfrm>
            <a:off x="3652838" y="2346325"/>
            <a:ext cx="1457325" cy="2049463"/>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a:normAutofit/>
          </a:bodyPr>
          <a:lstStyle/>
          <a:p>
            <a:pPr algn="ctr" defTabSz="914400" eaLnBrk="1" hangingPunct="1">
              <a:spcBef>
                <a:spcPct val="50000"/>
              </a:spcBef>
              <a:defRPr/>
            </a:pPr>
            <a:r>
              <a:rPr lang="en-GB" sz="1800" dirty="0">
                <a:solidFill>
                  <a:schemeClr val="tx1"/>
                </a:solidFill>
                <a:cs typeface="Arial" charset="0"/>
              </a:rPr>
              <a:t>Data Sharing</a:t>
            </a:r>
          </a:p>
        </p:txBody>
      </p:sp>
      <p:sp>
        <p:nvSpPr>
          <p:cNvPr id="10" name="Rounded Rectangle 9">
            <a:extLst>
              <a:ext uri="{FF2B5EF4-FFF2-40B4-BE49-F238E27FC236}">
                <a16:creationId xmlns:a16="http://schemas.microsoft.com/office/drawing/2014/main" id="{8AB9D04A-BD7C-4389-B69E-D5CE44B1586D}"/>
              </a:ext>
            </a:extLst>
          </p:cNvPr>
          <p:cNvSpPr/>
          <p:nvPr/>
        </p:nvSpPr>
        <p:spPr bwMode="auto">
          <a:xfrm>
            <a:off x="5113338" y="2346325"/>
            <a:ext cx="1457325" cy="2049463"/>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a:normAutofit/>
          </a:bodyPr>
          <a:lstStyle/>
          <a:p>
            <a:pPr algn="ctr" defTabSz="914400" eaLnBrk="1" hangingPunct="1">
              <a:spcBef>
                <a:spcPct val="50000"/>
              </a:spcBef>
              <a:defRPr/>
            </a:pPr>
            <a:r>
              <a:rPr lang="en-GB" sz="1800" dirty="0">
                <a:solidFill>
                  <a:schemeClr val="tx1"/>
                </a:solidFill>
                <a:cs typeface="Arial" charset="0"/>
              </a:rPr>
              <a:t>Document Server</a:t>
            </a:r>
          </a:p>
        </p:txBody>
      </p:sp>
      <p:sp>
        <p:nvSpPr>
          <p:cNvPr id="11" name="Up Arrow 10">
            <a:extLst>
              <a:ext uri="{FF2B5EF4-FFF2-40B4-BE49-F238E27FC236}">
                <a16:creationId xmlns:a16="http://schemas.microsoft.com/office/drawing/2014/main" id="{07A55EFB-4AE9-49E5-A18B-AB1E20762EE5}"/>
              </a:ext>
            </a:extLst>
          </p:cNvPr>
          <p:cNvSpPr/>
          <p:nvPr/>
        </p:nvSpPr>
        <p:spPr bwMode="auto">
          <a:xfrm>
            <a:off x="3382963" y="5426075"/>
            <a:ext cx="360362" cy="419100"/>
          </a:xfrm>
          <a:prstGeom prst="upArrow">
            <a:avLst/>
          </a:prstGeom>
          <a:ln/>
        </p:spPr>
        <p:style>
          <a:lnRef idx="2">
            <a:schemeClr val="accent1">
              <a:shade val="50000"/>
            </a:schemeClr>
          </a:lnRef>
          <a:fillRef idx="1">
            <a:schemeClr val="accent1"/>
          </a:fillRef>
          <a:effectRef idx="0">
            <a:schemeClr val="accent1"/>
          </a:effectRef>
          <a:fontRef idx="minor">
            <a:schemeClr val="lt1"/>
          </a:fontRef>
        </p:style>
        <p:txBody>
          <a:bodyPr>
            <a:spAutoFit/>
          </a:bodyPr>
          <a:lstStyle/>
          <a:p>
            <a:pPr defTabSz="914400" eaLnBrk="1" hangingPunct="1">
              <a:spcBef>
                <a:spcPct val="50000"/>
              </a:spcBef>
              <a:defRPr/>
            </a:pPr>
            <a:endParaRPr lang="en-GB" sz="2400">
              <a:solidFill>
                <a:schemeClr val="tx1"/>
              </a:solidFill>
              <a:cs typeface="Arial" charset="0"/>
            </a:endParaRPr>
          </a:p>
        </p:txBody>
      </p:sp>
      <p:sp>
        <p:nvSpPr>
          <p:cNvPr id="12" name="TextBox 11">
            <a:extLst>
              <a:ext uri="{FF2B5EF4-FFF2-40B4-BE49-F238E27FC236}">
                <a16:creationId xmlns:a16="http://schemas.microsoft.com/office/drawing/2014/main" id="{36DA4A30-656B-48BE-B707-B1F2986874B6}"/>
              </a:ext>
            </a:extLst>
          </p:cNvPr>
          <p:cNvSpPr txBox="1"/>
          <p:nvPr/>
        </p:nvSpPr>
        <p:spPr>
          <a:xfrm>
            <a:off x="6659563" y="4403725"/>
            <a:ext cx="2160587" cy="1022350"/>
          </a:xfrm>
          <a:prstGeom prst="rect">
            <a:avLst/>
          </a:prstGeom>
          <a:noFill/>
          <a:ln>
            <a:solidFill>
              <a:schemeClr val="tx1"/>
            </a:solidFill>
            <a:prstDash val="sysDash"/>
          </a:ln>
        </p:spPr>
        <p:txBody>
          <a:bodyPr>
            <a:normAutofit fontScale="92500" lnSpcReduction="10000"/>
          </a:bodyPr>
          <a:lstStyle/>
          <a:p>
            <a:pPr>
              <a:defRPr/>
            </a:pPr>
            <a:r>
              <a:rPr lang="en-GB" sz="1200" dirty="0">
                <a:solidFill>
                  <a:schemeClr val="tx1"/>
                </a:solidFill>
              </a:rPr>
              <a:t>Trademarks, Patents and Designs</a:t>
            </a:r>
          </a:p>
          <a:p>
            <a:pPr>
              <a:defRPr/>
            </a:pPr>
            <a:r>
              <a:rPr lang="en-GB" sz="1200" dirty="0">
                <a:solidFill>
                  <a:schemeClr val="tx1"/>
                </a:solidFill>
              </a:rPr>
              <a:t>XML, WIPO Standards</a:t>
            </a:r>
          </a:p>
          <a:p>
            <a:pPr>
              <a:defRPr/>
            </a:pPr>
            <a:endParaRPr lang="en-GB" sz="1200" dirty="0">
              <a:solidFill>
                <a:schemeClr val="tx1"/>
              </a:solidFill>
            </a:endParaRPr>
          </a:p>
          <a:p>
            <a:pPr>
              <a:defRPr/>
            </a:pPr>
            <a:r>
              <a:rPr lang="en-GB" sz="1200" dirty="0">
                <a:solidFill>
                  <a:schemeClr val="tx1"/>
                </a:solidFill>
              </a:rPr>
              <a:t>Configurable rules</a:t>
            </a:r>
          </a:p>
          <a:p>
            <a:pPr>
              <a:defRPr/>
            </a:pPr>
            <a:r>
              <a:rPr lang="en-GB" sz="1200" dirty="0">
                <a:solidFill>
                  <a:schemeClr val="tx1"/>
                </a:solidFill>
              </a:rPr>
              <a:t>Automatic Scheduling</a:t>
            </a:r>
          </a:p>
        </p:txBody>
      </p:sp>
      <p:sp>
        <p:nvSpPr>
          <p:cNvPr id="13" name="Up Arrow 12">
            <a:extLst>
              <a:ext uri="{FF2B5EF4-FFF2-40B4-BE49-F238E27FC236}">
                <a16:creationId xmlns:a16="http://schemas.microsoft.com/office/drawing/2014/main" id="{02A2F7AB-E627-4B9D-8387-FD59A6269EE5}"/>
              </a:ext>
            </a:extLst>
          </p:cNvPr>
          <p:cNvSpPr/>
          <p:nvPr/>
        </p:nvSpPr>
        <p:spPr bwMode="auto">
          <a:xfrm>
            <a:off x="1270000" y="1936750"/>
            <a:ext cx="360363" cy="419100"/>
          </a:xfrm>
          <a:prstGeom prst="upArrow">
            <a:avLst/>
          </a:prstGeom>
          <a:ln/>
        </p:spPr>
        <p:style>
          <a:lnRef idx="2">
            <a:schemeClr val="accent1">
              <a:shade val="50000"/>
            </a:schemeClr>
          </a:lnRef>
          <a:fillRef idx="1">
            <a:schemeClr val="accent1"/>
          </a:fillRef>
          <a:effectRef idx="0">
            <a:schemeClr val="accent1"/>
          </a:effectRef>
          <a:fontRef idx="minor">
            <a:schemeClr val="lt1"/>
          </a:fontRef>
        </p:style>
        <p:txBody>
          <a:bodyPr>
            <a:spAutoFit/>
          </a:bodyPr>
          <a:lstStyle/>
          <a:p>
            <a:pPr defTabSz="914400" eaLnBrk="1" hangingPunct="1">
              <a:spcBef>
                <a:spcPct val="50000"/>
              </a:spcBef>
              <a:defRPr/>
            </a:pPr>
            <a:endParaRPr lang="en-GB" sz="2400">
              <a:solidFill>
                <a:schemeClr val="tx1"/>
              </a:solidFill>
              <a:cs typeface="Arial" charset="0"/>
            </a:endParaRPr>
          </a:p>
        </p:txBody>
      </p:sp>
      <p:sp>
        <p:nvSpPr>
          <p:cNvPr id="14" name="Up Arrow 13">
            <a:extLst>
              <a:ext uri="{FF2B5EF4-FFF2-40B4-BE49-F238E27FC236}">
                <a16:creationId xmlns:a16="http://schemas.microsoft.com/office/drawing/2014/main" id="{8C8ED0D5-6DD0-41E1-B27B-6CCEB4F99A50}"/>
              </a:ext>
            </a:extLst>
          </p:cNvPr>
          <p:cNvSpPr/>
          <p:nvPr/>
        </p:nvSpPr>
        <p:spPr bwMode="auto">
          <a:xfrm>
            <a:off x="2727325" y="1936750"/>
            <a:ext cx="360363" cy="419100"/>
          </a:xfrm>
          <a:prstGeom prst="upArrow">
            <a:avLst/>
          </a:prstGeom>
          <a:ln/>
        </p:spPr>
        <p:style>
          <a:lnRef idx="2">
            <a:schemeClr val="accent1">
              <a:shade val="50000"/>
            </a:schemeClr>
          </a:lnRef>
          <a:fillRef idx="1">
            <a:schemeClr val="accent1"/>
          </a:fillRef>
          <a:effectRef idx="0">
            <a:schemeClr val="accent1"/>
          </a:effectRef>
          <a:fontRef idx="minor">
            <a:schemeClr val="lt1"/>
          </a:fontRef>
        </p:style>
        <p:txBody>
          <a:bodyPr>
            <a:spAutoFit/>
          </a:bodyPr>
          <a:lstStyle/>
          <a:p>
            <a:pPr defTabSz="914400" eaLnBrk="1" hangingPunct="1">
              <a:spcBef>
                <a:spcPct val="50000"/>
              </a:spcBef>
              <a:defRPr/>
            </a:pPr>
            <a:endParaRPr lang="en-GB" sz="2400">
              <a:solidFill>
                <a:schemeClr val="tx1"/>
              </a:solidFill>
              <a:cs typeface="Arial" charset="0"/>
            </a:endParaRPr>
          </a:p>
        </p:txBody>
      </p:sp>
      <p:sp>
        <p:nvSpPr>
          <p:cNvPr id="15" name="Up Arrow 14">
            <a:extLst>
              <a:ext uri="{FF2B5EF4-FFF2-40B4-BE49-F238E27FC236}">
                <a16:creationId xmlns:a16="http://schemas.microsoft.com/office/drawing/2014/main" id="{EC171C85-4745-494F-979B-F33EF3D7FF09}"/>
              </a:ext>
            </a:extLst>
          </p:cNvPr>
          <p:cNvSpPr/>
          <p:nvPr/>
        </p:nvSpPr>
        <p:spPr bwMode="auto">
          <a:xfrm>
            <a:off x="4202113" y="1936750"/>
            <a:ext cx="358775" cy="419100"/>
          </a:xfrm>
          <a:prstGeom prst="upArrow">
            <a:avLst/>
          </a:prstGeom>
          <a:ln/>
        </p:spPr>
        <p:style>
          <a:lnRef idx="2">
            <a:schemeClr val="accent1">
              <a:shade val="50000"/>
            </a:schemeClr>
          </a:lnRef>
          <a:fillRef idx="1">
            <a:schemeClr val="accent1"/>
          </a:fillRef>
          <a:effectRef idx="0">
            <a:schemeClr val="accent1"/>
          </a:effectRef>
          <a:fontRef idx="minor">
            <a:schemeClr val="lt1"/>
          </a:fontRef>
        </p:style>
        <p:txBody>
          <a:bodyPr>
            <a:spAutoFit/>
          </a:bodyPr>
          <a:lstStyle/>
          <a:p>
            <a:pPr defTabSz="914400" eaLnBrk="1" hangingPunct="1">
              <a:spcBef>
                <a:spcPct val="50000"/>
              </a:spcBef>
              <a:defRPr/>
            </a:pPr>
            <a:endParaRPr lang="en-GB" sz="2400">
              <a:solidFill>
                <a:schemeClr val="tx1"/>
              </a:solidFill>
              <a:cs typeface="Arial" charset="0"/>
            </a:endParaRPr>
          </a:p>
        </p:txBody>
      </p:sp>
      <p:sp>
        <p:nvSpPr>
          <p:cNvPr id="16" name="Up Arrow 15">
            <a:extLst>
              <a:ext uri="{FF2B5EF4-FFF2-40B4-BE49-F238E27FC236}">
                <a16:creationId xmlns:a16="http://schemas.microsoft.com/office/drawing/2014/main" id="{D35617B0-02CA-4B58-A9C6-916232E3A9EE}"/>
              </a:ext>
            </a:extLst>
          </p:cNvPr>
          <p:cNvSpPr/>
          <p:nvPr/>
        </p:nvSpPr>
        <p:spPr bwMode="auto">
          <a:xfrm>
            <a:off x="5661025" y="1927225"/>
            <a:ext cx="360363" cy="419100"/>
          </a:xfrm>
          <a:prstGeom prst="upArrow">
            <a:avLst/>
          </a:prstGeom>
          <a:ln/>
        </p:spPr>
        <p:style>
          <a:lnRef idx="2">
            <a:schemeClr val="accent1">
              <a:shade val="50000"/>
            </a:schemeClr>
          </a:lnRef>
          <a:fillRef idx="1">
            <a:schemeClr val="accent1"/>
          </a:fillRef>
          <a:effectRef idx="0">
            <a:schemeClr val="accent1"/>
          </a:effectRef>
          <a:fontRef idx="minor">
            <a:schemeClr val="lt1"/>
          </a:fontRef>
        </p:style>
        <p:txBody>
          <a:bodyPr>
            <a:spAutoFit/>
          </a:bodyPr>
          <a:lstStyle/>
          <a:p>
            <a:pPr defTabSz="914400" eaLnBrk="1" hangingPunct="1">
              <a:spcBef>
                <a:spcPct val="50000"/>
              </a:spcBef>
              <a:defRPr/>
            </a:pPr>
            <a:endParaRPr lang="en-GB" sz="2400">
              <a:solidFill>
                <a:schemeClr val="tx1"/>
              </a:solidFill>
              <a:cs typeface="Arial" charset="0"/>
            </a:endParaRPr>
          </a:p>
        </p:txBody>
      </p:sp>
      <p:sp>
        <p:nvSpPr>
          <p:cNvPr id="17" name="TextBox 16">
            <a:extLst>
              <a:ext uri="{FF2B5EF4-FFF2-40B4-BE49-F238E27FC236}">
                <a16:creationId xmlns:a16="http://schemas.microsoft.com/office/drawing/2014/main" id="{B3132EC1-3549-4050-AF42-9B94FF083F2A}"/>
              </a:ext>
            </a:extLst>
          </p:cNvPr>
          <p:cNvSpPr txBox="1"/>
          <p:nvPr/>
        </p:nvSpPr>
        <p:spPr>
          <a:xfrm>
            <a:off x="911225" y="1160463"/>
            <a:ext cx="1079500" cy="776287"/>
          </a:xfrm>
          <a:prstGeom prst="rect">
            <a:avLst/>
          </a:prstGeom>
          <a:noFill/>
          <a:ln>
            <a:solidFill>
              <a:schemeClr val="tx1"/>
            </a:solidFill>
            <a:prstDash val="sysDash"/>
          </a:ln>
        </p:spPr>
        <p:txBody>
          <a:bodyPr>
            <a:normAutofit lnSpcReduction="10000"/>
          </a:bodyPr>
          <a:lstStyle/>
          <a:p>
            <a:pPr>
              <a:defRPr/>
            </a:pPr>
            <a:r>
              <a:rPr lang="en-GB" sz="1200" dirty="0">
                <a:solidFill>
                  <a:schemeClr val="tx1"/>
                </a:solidFill>
              </a:rPr>
              <a:t>Public search,</a:t>
            </a:r>
          </a:p>
          <a:p>
            <a:pPr>
              <a:defRPr/>
            </a:pPr>
            <a:r>
              <a:rPr lang="en-GB" sz="1200" dirty="0">
                <a:solidFill>
                  <a:schemeClr val="tx1"/>
                </a:solidFill>
              </a:rPr>
              <a:t>Fully customizable</a:t>
            </a:r>
          </a:p>
        </p:txBody>
      </p:sp>
      <p:sp>
        <p:nvSpPr>
          <p:cNvPr id="63506" name="TextBox 17">
            <a:extLst>
              <a:ext uri="{FF2B5EF4-FFF2-40B4-BE49-F238E27FC236}">
                <a16:creationId xmlns:a16="http://schemas.microsoft.com/office/drawing/2014/main" id="{D4E32096-AE8E-4EBD-BBE8-FF0653903817}"/>
              </a:ext>
            </a:extLst>
          </p:cNvPr>
          <p:cNvSpPr txBox="1">
            <a:spLocks noChangeArrowheads="1"/>
          </p:cNvSpPr>
          <p:nvPr/>
        </p:nvSpPr>
        <p:spPr bwMode="auto">
          <a:xfrm>
            <a:off x="2366963" y="1160463"/>
            <a:ext cx="1081087" cy="776287"/>
          </a:xfrm>
          <a:prstGeom prst="rect">
            <a:avLst/>
          </a:prstGeom>
          <a:noFill/>
          <a:ln w="9525">
            <a:solidFill>
              <a:schemeClr val="tx1"/>
            </a:solidFill>
            <a:prstDash val="sysDash"/>
            <a:miter lim="800000"/>
            <a:headEnd/>
            <a:tailEnd/>
          </a:ln>
          <a:extLst>
            <a:ext uri="{909E8E84-426E-40DD-AFC4-6F175D3DCCD1}">
              <a14:hiddenFill xmlns:a14="http://schemas.microsoft.com/office/drawing/2010/main">
                <a:solidFill>
                  <a:srgbClr val="FFFFFF"/>
                </a:solidFill>
              </a14:hiddenFill>
            </a:ext>
          </a:extLst>
        </p:spPr>
        <p:txBody>
          <a:bodyPr/>
          <a:lstStyle/>
          <a:p>
            <a:r>
              <a:rPr lang="en-GB" altLang="en-US" sz="1200">
                <a:solidFill>
                  <a:schemeClr val="tx1"/>
                </a:solidFill>
              </a:rPr>
              <a:t>Online Gazette, legal status</a:t>
            </a:r>
          </a:p>
        </p:txBody>
      </p:sp>
      <p:sp>
        <p:nvSpPr>
          <p:cNvPr id="19" name="TextBox 18">
            <a:extLst>
              <a:ext uri="{FF2B5EF4-FFF2-40B4-BE49-F238E27FC236}">
                <a16:creationId xmlns:a16="http://schemas.microsoft.com/office/drawing/2014/main" id="{31961710-E38A-4D2D-BE0F-3D2B0B235025}"/>
              </a:ext>
            </a:extLst>
          </p:cNvPr>
          <p:cNvSpPr txBox="1"/>
          <p:nvPr/>
        </p:nvSpPr>
        <p:spPr>
          <a:xfrm>
            <a:off x="3841750" y="1160463"/>
            <a:ext cx="1079500" cy="776287"/>
          </a:xfrm>
          <a:prstGeom prst="rect">
            <a:avLst/>
          </a:prstGeom>
          <a:noFill/>
          <a:ln>
            <a:solidFill>
              <a:schemeClr val="tx1"/>
            </a:solidFill>
            <a:prstDash val="sysDash"/>
          </a:ln>
        </p:spPr>
        <p:txBody>
          <a:bodyPr>
            <a:normAutofit lnSpcReduction="10000"/>
          </a:bodyPr>
          <a:lstStyle/>
          <a:p>
            <a:pPr>
              <a:defRPr/>
            </a:pPr>
            <a:r>
              <a:rPr lang="en-GB" sz="1200" dirty="0">
                <a:solidFill>
                  <a:schemeClr val="tx1"/>
                </a:solidFill>
              </a:rPr>
              <a:t>WIPO, international and regional databases</a:t>
            </a:r>
          </a:p>
        </p:txBody>
      </p:sp>
      <p:sp>
        <p:nvSpPr>
          <p:cNvPr id="20" name="TextBox 19">
            <a:extLst>
              <a:ext uri="{FF2B5EF4-FFF2-40B4-BE49-F238E27FC236}">
                <a16:creationId xmlns:a16="http://schemas.microsoft.com/office/drawing/2014/main" id="{35F4037F-B559-4E15-9746-5B11E4A1395A}"/>
              </a:ext>
            </a:extLst>
          </p:cNvPr>
          <p:cNvSpPr txBox="1"/>
          <p:nvPr/>
        </p:nvSpPr>
        <p:spPr>
          <a:xfrm>
            <a:off x="5302250" y="1150938"/>
            <a:ext cx="1079500" cy="776287"/>
          </a:xfrm>
          <a:prstGeom prst="rect">
            <a:avLst/>
          </a:prstGeom>
          <a:noFill/>
          <a:ln>
            <a:solidFill>
              <a:schemeClr val="tx1"/>
            </a:solidFill>
            <a:prstDash val="sysDash"/>
          </a:ln>
        </p:spPr>
        <p:txBody>
          <a:bodyPr>
            <a:normAutofit lnSpcReduction="10000"/>
          </a:bodyPr>
          <a:lstStyle/>
          <a:p>
            <a:pPr>
              <a:defRPr/>
            </a:pPr>
            <a:r>
              <a:rPr lang="en-GB" sz="1200" dirty="0">
                <a:solidFill>
                  <a:schemeClr val="tx1"/>
                </a:solidFill>
              </a:rPr>
              <a:t>WIPO, international and regional databases</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4" name="Picture 19" descr="C:\Users\SIDDIK\AppData\Local\Microsoft\Windows\INetCache\IE\VGR5D5M5\MC900197438[1].wmf">
            <a:extLst>
              <a:ext uri="{FF2B5EF4-FFF2-40B4-BE49-F238E27FC236}">
                <a16:creationId xmlns:a16="http://schemas.microsoft.com/office/drawing/2014/main" id="{CB78322B-518B-458A-B7E4-82363D67B32F}"/>
              </a:ext>
            </a:extLst>
          </p:cNvPr>
          <p:cNvPicPr>
            <a:picLocks noChangeAspect="1" noChangeArrowheads="1"/>
          </p:cNvPicPr>
          <p:nvPr/>
        </p:nvPicPr>
        <p:blipFill>
          <a:blip r:embed="rId3">
            <a:grayscl/>
            <a:biLevel thresh="50000"/>
            <a:extLst>
              <a:ext uri="{28A0092B-C50C-407E-A947-70E740481C1C}">
                <a14:useLocalDpi xmlns:a14="http://schemas.microsoft.com/office/drawing/2010/main" val="0"/>
              </a:ext>
            </a:extLst>
          </a:blip>
          <a:srcRect/>
          <a:stretch>
            <a:fillRect/>
          </a:stretch>
        </p:blipFill>
        <p:spPr bwMode="auto">
          <a:xfrm>
            <a:off x="4500563" y="1479550"/>
            <a:ext cx="719137"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4515" name="Shape 57">
            <a:extLst>
              <a:ext uri="{FF2B5EF4-FFF2-40B4-BE49-F238E27FC236}">
                <a16:creationId xmlns:a16="http://schemas.microsoft.com/office/drawing/2014/main" id="{DC0EDB89-F1C9-4C3E-B9E3-48DF2919D8F7}"/>
              </a:ext>
            </a:extLst>
          </p:cNvPr>
          <p:cNvCxnSpPr>
            <a:cxnSpLocks noChangeShapeType="1"/>
            <a:stCxn id="64532" idx="1"/>
            <a:endCxn id="64514" idx="1"/>
          </p:cNvCxnSpPr>
          <p:nvPr/>
        </p:nvCxnSpPr>
        <p:spPr bwMode="auto">
          <a:xfrm flipV="1">
            <a:off x="1163638" y="1844675"/>
            <a:ext cx="3336925" cy="65088"/>
          </a:xfrm>
          <a:prstGeom prst="bentConnector3">
            <a:avLst>
              <a:gd name="adj1" fmla="val 50000"/>
            </a:avLst>
          </a:prstGeom>
          <a:noFill/>
          <a:ln w="9525" algn="ctr">
            <a:solidFill>
              <a:srgbClr val="4A7EBB"/>
            </a:solidFill>
            <a:miter lim="800000"/>
            <a:headEnd/>
            <a:tailEnd type="arrow" w="med" len="med"/>
          </a:ln>
          <a:extLst>
            <a:ext uri="{909E8E84-426E-40DD-AFC4-6F175D3DCCD1}">
              <a14:hiddenFill xmlns:a14="http://schemas.microsoft.com/office/drawing/2010/main">
                <a:noFill/>
              </a14:hiddenFill>
            </a:ext>
          </a:extLst>
        </p:spPr>
      </p:cxnSp>
      <p:sp>
        <p:nvSpPr>
          <p:cNvPr id="64" name="Cloud 63">
            <a:extLst>
              <a:ext uri="{FF2B5EF4-FFF2-40B4-BE49-F238E27FC236}">
                <a16:creationId xmlns:a16="http://schemas.microsoft.com/office/drawing/2014/main" id="{6B77D007-B757-4068-80A0-FDFECB39E9CD}"/>
              </a:ext>
            </a:extLst>
          </p:cNvPr>
          <p:cNvSpPr/>
          <p:nvPr/>
        </p:nvSpPr>
        <p:spPr>
          <a:xfrm>
            <a:off x="1474788" y="1557338"/>
            <a:ext cx="2520950" cy="576262"/>
          </a:xfrm>
          <a:prstGeom prst="cloud">
            <a:avLst/>
          </a:prstGeom>
          <a:ln>
            <a:solidFill>
              <a:schemeClr val="accent5">
                <a:lumMod val="60000"/>
                <a:lumOff val="40000"/>
              </a:schemeClr>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IN" sz="1000" b="1" dirty="0">
                <a:solidFill>
                  <a:srgbClr val="000000"/>
                </a:solidFill>
                <a:latin typeface="Calibri" pitchFamily="34" charset="0"/>
              </a:rPr>
              <a:t>Registration of</a:t>
            </a:r>
          </a:p>
          <a:p>
            <a:pPr algn="ctr">
              <a:defRPr/>
            </a:pPr>
            <a:r>
              <a:rPr lang="en-IN" sz="1000" b="1" dirty="0">
                <a:solidFill>
                  <a:srgbClr val="000000"/>
                </a:solidFill>
                <a:latin typeface="Calibri" pitchFamily="34" charset="0"/>
              </a:rPr>
              <a:t>Trademark, Design and Patent applications</a:t>
            </a:r>
          </a:p>
        </p:txBody>
      </p:sp>
      <p:cxnSp>
        <p:nvCxnSpPr>
          <p:cNvPr id="64517" name="Shape 57">
            <a:extLst>
              <a:ext uri="{FF2B5EF4-FFF2-40B4-BE49-F238E27FC236}">
                <a16:creationId xmlns:a16="http://schemas.microsoft.com/office/drawing/2014/main" id="{58092DB2-4378-423F-8EC2-20191A0A3494}"/>
              </a:ext>
            </a:extLst>
          </p:cNvPr>
          <p:cNvCxnSpPr>
            <a:cxnSpLocks noChangeShapeType="1"/>
          </p:cNvCxnSpPr>
          <p:nvPr/>
        </p:nvCxnSpPr>
        <p:spPr bwMode="auto">
          <a:xfrm rot="16200000" flipH="1">
            <a:off x="3778251" y="3654425"/>
            <a:ext cx="2101850" cy="41275"/>
          </a:xfrm>
          <a:prstGeom prst="bentConnector3">
            <a:avLst>
              <a:gd name="adj1" fmla="val 50000"/>
            </a:avLst>
          </a:prstGeom>
          <a:noFill/>
          <a:ln w="9525" algn="ctr">
            <a:solidFill>
              <a:srgbClr val="4A7EBB"/>
            </a:solidFill>
            <a:miter lim="800000"/>
            <a:headEnd/>
            <a:tailEnd type="arrow" w="med" len="med"/>
          </a:ln>
          <a:extLst>
            <a:ext uri="{909E8E84-426E-40DD-AFC4-6F175D3DCCD1}">
              <a14:hiddenFill xmlns:a14="http://schemas.microsoft.com/office/drawing/2010/main">
                <a:noFill/>
              </a14:hiddenFill>
            </a:ext>
          </a:extLst>
        </p:spPr>
      </p:cxnSp>
      <p:sp>
        <p:nvSpPr>
          <p:cNvPr id="95" name="Cloud 94">
            <a:extLst>
              <a:ext uri="{FF2B5EF4-FFF2-40B4-BE49-F238E27FC236}">
                <a16:creationId xmlns:a16="http://schemas.microsoft.com/office/drawing/2014/main" id="{E137D5F8-69CA-4ABF-A32C-C65E94D1483E}"/>
              </a:ext>
            </a:extLst>
          </p:cNvPr>
          <p:cNvSpPr/>
          <p:nvPr/>
        </p:nvSpPr>
        <p:spPr>
          <a:xfrm>
            <a:off x="4160838" y="3498850"/>
            <a:ext cx="1295400" cy="503238"/>
          </a:xfrm>
          <a:prstGeom prst="cloud">
            <a:avLst/>
          </a:prstGeom>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IN" sz="1100" b="1">
                <a:solidFill>
                  <a:srgbClr val="000000"/>
                </a:solidFill>
                <a:latin typeface="Calibri" pitchFamily="34" charset="0"/>
              </a:rPr>
              <a:t>Data Extraction</a:t>
            </a:r>
          </a:p>
        </p:txBody>
      </p:sp>
      <p:sp>
        <p:nvSpPr>
          <p:cNvPr id="4" name="Cloud 94">
            <a:extLst>
              <a:ext uri="{FF2B5EF4-FFF2-40B4-BE49-F238E27FC236}">
                <a16:creationId xmlns:a16="http://schemas.microsoft.com/office/drawing/2014/main" id="{D5208D7A-D275-4C72-990D-958226921D57}"/>
              </a:ext>
            </a:extLst>
          </p:cNvPr>
          <p:cNvSpPr/>
          <p:nvPr/>
        </p:nvSpPr>
        <p:spPr>
          <a:xfrm>
            <a:off x="6065838" y="4462463"/>
            <a:ext cx="1511300" cy="792162"/>
          </a:xfrm>
          <a:prstGeom prst="cloud">
            <a:avLst/>
          </a:prstGeom>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IN" sz="1100" b="1">
                <a:solidFill>
                  <a:srgbClr val="000000"/>
                </a:solidFill>
                <a:latin typeface="Calibri" pitchFamily="34" charset="0"/>
              </a:rPr>
              <a:t>Data Sharing with WIPO</a:t>
            </a:r>
          </a:p>
        </p:txBody>
      </p:sp>
      <p:sp>
        <p:nvSpPr>
          <p:cNvPr id="64520" name="TextBox 115">
            <a:extLst>
              <a:ext uri="{FF2B5EF4-FFF2-40B4-BE49-F238E27FC236}">
                <a16:creationId xmlns:a16="http://schemas.microsoft.com/office/drawing/2014/main" id="{1018EC85-C4D5-4920-8EE4-D63C3E661FE0}"/>
              </a:ext>
            </a:extLst>
          </p:cNvPr>
          <p:cNvSpPr txBox="1">
            <a:spLocks noChangeArrowheads="1"/>
          </p:cNvSpPr>
          <p:nvPr/>
        </p:nvSpPr>
        <p:spPr bwMode="auto">
          <a:xfrm>
            <a:off x="288925" y="4330700"/>
            <a:ext cx="212407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hangingPunct="1">
              <a:spcBef>
                <a:spcPct val="0"/>
              </a:spcBef>
              <a:buClrTx/>
              <a:buSzTx/>
              <a:buFontTx/>
              <a:buNone/>
            </a:pPr>
            <a:r>
              <a:rPr lang="en-IN" altLang="en-US" sz="1200">
                <a:solidFill>
                  <a:schemeClr val="tx1"/>
                </a:solidFill>
                <a:latin typeface="Calibri" panose="020F0502020204030204" pitchFamily="34" charset="0"/>
                <a:cs typeface="Arial" panose="020B0604020202020204" pitchFamily="34" charset="0"/>
              </a:rPr>
              <a:t>Publication Server Web Search</a:t>
            </a:r>
          </a:p>
        </p:txBody>
      </p:sp>
      <p:pic>
        <p:nvPicPr>
          <p:cNvPr id="64521" name="Picture 5">
            <a:extLst>
              <a:ext uri="{FF2B5EF4-FFF2-40B4-BE49-F238E27FC236}">
                <a16:creationId xmlns:a16="http://schemas.microsoft.com/office/drawing/2014/main" id="{5F31F464-1C8A-498A-B20B-82513481EA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3588" y="4725988"/>
            <a:ext cx="5334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cxnSp>
        <p:nvCxnSpPr>
          <p:cNvPr id="64522" name="Shape 57">
            <a:extLst>
              <a:ext uri="{FF2B5EF4-FFF2-40B4-BE49-F238E27FC236}">
                <a16:creationId xmlns:a16="http://schemas.microsoft.com/office/drawing/2014/main" id="{6D401655-08BE-4E83-885D-3847723D7EA8}"/>
              </a:ext>
            </a:extLst>
          </p:cNvPr>
          <p:cNvCxnSpPr>
            <a:cxnSpLocks noChangeShapeType="1"/>
            <a:endCxn id="64528" idx="3"/>
          </p:cNvCxnSpPr>
          <p:nvPr/>
        </p:nvCxnSpPr>
        <p:spPr bwMode="auto">
          <a:xfrm rot="10800000">
            <a:off x="2374900" y="3763963"/>
            <a:ext cx="2198688" cy="1190625"/>
          </a:xfrm>
          <a:prstGeom prst="bentConnector3">
            <a:avLst>
              <a:gd name="adj1" fmla="val 50000"/>
            </a:avLst>
          </a:prstGeom>
          <a:noFill/>
          <a:ln w="9525" algn="ctr">
            <a:solidFill>
              <a:srgbClr val="4A7EBB"/>
            </a:solidFill>
            <a:miter lim="800000"/>
            <a:headEnd/>
            <a:tailEnd type="arrow" w="med" len="med"/>
          </a:ln>
          <a:extLst>
            <a:ext uri="{909E8E84-426E-40DD-AFC4-6F175D3DCCD1}">
              <a14:hiddenFill xmlns:a14="http://schemas.microsoft.com/office/drawing/2010/main">
                <a:noFill/>
              </a14:hiddenFill>
            </a:ext>
          </a:extLst>
        </p:spPr>
      </p:cxnSp>
      <p:sp>
        <p:nvSpPr>
          <p:cNvPr id="6" name="Cloud 94">
            <a:extLst>
              <a:ext uri="{FF2B5EF4-FFF2-40B4-BE49-F238E27FC236}">
                <a16:creationId xmlns:a16="http://schemas.microsoft.com/office/drawing/2014/main" id="{7E8825BA-5D5A-4C17-966C-C7E3A560B5E7}"/>
              </a:ext>
            </a:extLst>
          </p:cNvPr>
          <p:cNvSpPr/>
          <p:nvPr/>
        </p:nvSpPr>
        <p:spPr>
          <a:xfrm>
            <a:off x="2673350" y="4719638"/>
            <a:ext cx="1322388" cy="503237"/>
          </a:xfrm>
          <a:prstGeom prst="cloud">
            <a:avLst/>
          </a:prstGeom>
          <a:ln>
            <a:solidFill>
              <a:srgbClr val="0070C0"/>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IN" sz="1100" b="1" dirty="0">
                <a:solidFill>
                  <a:srgbClr val="000000"/>
                </a:solidFill>
                <a:latin typeface="Calibri" pitchFamily="34" charset="0"/>
              </a:rPr>
              <a:t>Online</a:t>
            </a:r>
          </a:p>
          <a:p>
            <a:pPr algn="ctr">
              <a:defRPr/>
            </a:pPr>
            <a:r>
              <a:rPr lang="en-IN" sz="1100" b="1" dirty="0">
                <a:solidFill>
                  <a:srgbClr val="000000"/>
                </a:solidFill>
                <a:latin typeface="Calibri" pitchFamily="34" charset="0"/>
              </a:rPr>
              <a:t>Publication</a:t>
            </a:r>
          </a:p>
        </p:txBody>
      </p:sp>
      <p:sp>
        <p:nvSpPr>
          <p:cNvPr id="64524" name="TextBox 115">
            <a:extLst>
              <a:ext uri="{FF2B5EF4-FFF2-40B4-BE49-F238E27FC236}">
                <a16:creationId xmlns:a16="http://schemas.microsoft.com/office/drawing/2014/main" id="{C140A352-3B38-456A-9176-F5304AE7AA12}"/>
              </a:ext>
            </a:extLst>
          </p:cNvPr>
          <p:cNvSpPr txBox="1">
            <a:spLocks noChangeArrowheads="1"/>
          </p:cNvSpPr>
          <p:nvPr/>
        </p:nvSpPr>
        <p:spPr bwMode="auto">
          <a:xfrm>
            <a:off x="250825" y="2312988"/>
            <a:ext cx="12954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hangingPunct="1">
              <a:spcBef>
                <a:spcPct val="0"/>
              </a:spcBef>
              <a:buClrTx/>
              <a:buSzTx/>
              <a:buFontTx/>
              <a:buNone/>
            </a:pPr>
            <a:r>
              <a:rPr lang="en-IN" altLang="en-US" sz="1200">
                <a:solidFill>
                  <a:schemeClr val="tx1"/>
                </a:solidFill>
                <a:latin typeface="Calibri" panose="020F0502020204030204" pitchFamily="34" charset="0"/>
                <a:cs typeface="Arial" panose="020B0604020202020204" pitchFamily="34" charset="0"/>
              </a:rPr>
              <a:t>OFFICE Staff</a:t>
            </a:r>
          </a:p>
        </p:txBody>
      </p:sp>
      <p:pic>
        <p:nvPicPr>
          <p:cNvPr id="64525" name="Picture 9">
            <a:extLst>
              <a:ext uri="{FF2B5EF4-FFF2-40B4-BE49-F238E27FC236}">
                <a16:creationId xmlns:a16="http://schemas.microsoft.com/office/drawing/2014/main" id="{991F1E28-45DF-4F8E-B262-69ABB487A6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00563" y="4654550"/>
            <a:ext cx="709612"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64526" name="TextBox 115">
            <a:extLst>
              <a:ext uri="{FF2B5EF4-FFF2-40B4-BE49-F238E27FC236}">
                <a16:creationId xmlns:a16="http://schemas.microsoft.com/office/drawing/2014/main" id="{D108090F-D4C8-43B7-AA1B-8E868AAC1926}"/>
              </a:ext>
            </a:extLst>
          </p:cNvPr>
          <p:cNvSpPr txBox="1">
            <a:spLocks noChangeArrowheads="1"/>
          </p:cNvSpPr>
          <p:nvPr/>
        </p:nvSpPr>
        <p:spPr bwMode="auto">
          <a:xfrm>
            <a:off x="4429125" y="2349500"/>
            <a:ext cx="9366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hangingPunct="1">
              <a:spcBef>
                <a:spcPct val="0"/>
              </a:spcBef>
              <a:buClrTx/>
              <a:buSzTx/>
              <a:buFontTx/>
              <a:buNone/>
            </a:pPr>
            <a:r>
              <a:rPr lang="en-IN" altLang="en-US" sz="1200" b="1">
                <a:solidFill>
                  <a:schemeClr val="tx1"/>
                </a:solidFill>
                <a:latin typeface="Calibri" panose="020F0502020204030204" pitchFamily="34" charset="0"/>
                <a:cs typeface="Arial" panose="020B0604020202020204" pitchFamily="34" charset="0"/>
              </a:rPr>
              <a:t>WIPO IPAS</a:t>
            </a:r>
          </a:p>
        </p:txBody>
      </p:sp>
      <p:sp>
        <p:nvSpPr>
          <p:cNvPr id="64527" name="TextBox 115">
            <a:extLst>
              <a:ext uri="{FF2B5EF4-FFF2-40B4-BE49-F238E27FC236}">
                <a16:creationId xmlns:a16="http://schemas.microsoft.com/office/drawing/2014/main" id="{FC55BE6D-76E2-43D6-9678-F5E3CCC62ABE}"/>
              </a:ext>
            </a:extLst>
          </p:cNvPr>
          <p:cNvSpPr txBox="1">
            <a:spLocks noChangeArrowheads="1"/>
          </p:cNvSpPr>
          <p:nvPr/>
        </p:nvSpPr>
        <p:spPr bwMode="auto">
          <a:xfrm>
            <a:off x="4284663" y="5300663"/>
            <a:ext cx="18700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hangingPunct="1">
              <a:spcBef>
                <a:spcPct val="0"/>
              </a:spcBef>
              <a:buClrTx/>
              <a:buSzTx/>
              <a:buFontTx/>
              <a:buNone/>
            </a:pPr>
            <a:r>
              <a:rPr lang="en-IN" altLang="en-US" sz="1400" b="1">
                <a:solidFill>
                  <a:schemeClr val="tx1"/>
                </a:solidFill>
                <a:latin typeface="Calibri" panose="020F0502020204030204" pitchFamily="34" charset="0"/>
                <a:cs typeface="Arial" panose="020B0604020202020204" pitchFamily="34" charset="0"/>
              </a:rPr>
              <a:t>WIPO Publish</a:t>
            </a:r>
          </a:p>
        </p:txBody>
      </p:sp>
      <p:pic>
        <p:nvPicPr>
          <p:cNvPr id="64528" name="Picture 27">
            <a:extLst>
              <a:ext uri="{FF2B5EF4-FFF2-40B4-BE49-F238E27FC236}">
                <a16:creationId xmlns:a16="http://schemas.microsoft.com/office/drawing/2014/main" id="{0EBCA334-998A-4755-B446-7FC22A8437F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7975" y="3214688"/>
            <a:ext cx="2066925" cy="10969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64529" name="Picture 28">
            <a:extLst>
              <a:ext uri="{FF2B5EF4-FFF2-40B4-BE49-F238E27FC236}">
                <a16:creationId xmlns:a16="http://schemas.microsoft.com/office/drawing/2014/main" id="{0ED2DB87-ADC0-4610-AC0B-20F77B3B240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9750" y="4857750"/>
            <a:ext cx="1728788" cy="1254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64530" name="TextBox 115">
            <a:extLst>
              <a:ext uri="{FF2B5EF4-FFF2-40B4-BE49-F238E27FC236}">
                <a16:creationId xmlns:a16="http://schemas.microsoft.com/office/drawing/2014/main" id="{7904F112-6AB7-40B8-825E-F69923E06C11}"/>
              </a:ext>
            </a:extLst>
          </p:cNvPr>
          <p:cNvSpPr txBox="1">
            <a:spLocks noChangeArrowheads="1"/>
          </p:cNvSpPr>
          <p:nvPr/>
        </p:nvSpPr>
        <p:spPr bwMode="auto">
          <a:xfrm>
            <a:off x="250825" y="6234113"/>
            <a:ext cx="23415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hangingPunct="1">
              <a:spcBef>
                <a:spcPct val="0"/>
              </a:spcBef>
              <a:buClrTx/>
              <a:buSzTx/>
              <a:buFontTx/>
              <a:buNone/>
            </a:pPr>
            <a:r>
              <a:rPr lang="en-IN" altLang="en-US" sz="1200">
                <a:solidFill>
                  <a:schemeClr val="tx1"/>
                </a:solidFill>
                <a:latin typeface="Calibri" panose="020F0502020204030204" pitchFamily="34" charset="0"/>
                <a:cs typeface="Arial" panose="020B0604020202020204" pitchFamily="34" charset="0"/>
              </a:rPr>
              <a:t>Publication Server Rest Services</a:t>
            </a:r>
          </a:p>
        </p:txBody>
      </p:sp>
      <p:cxnSp>
        <p:nvCxnSpPr>
          <p:cNvPr id="64531" name="Shape 57">
            <a:extLst>
              <a:ext uri="{FF2B5EF4-FFF2-40B4-BE49-F238E27FC236}">
                <a16:creationId xmlns:a16="http://schemas.microsoft.com/office/drawing/2014/main" id="{7A77310A-5E2D-490B-B05A-8D6C3D98364F}"/>
              </a:ext>
            </a:extLst>
          </p:cNvPr>
          <p:cNvCxnSpPr>
            <a:cxnSpLocks noChangeShapeType="1"/>
          </p:cNvCxnSpPr>
          <p:nvPr/>
        </p:nvCxnSpPr>
        <p:spPr bwMode="auto">
          <a:xfrm rot="10800000" flipV="1">
            <a:off x="2374900" y="5221288"/>
            <a:ext cx="1098550" cy="1012825"/>
          </a:xfrm>
          <a:prstGeom prst="bentConnector3">
            <a:avLst>
              <a:gd name="adj1" fmla="val -1120"/>
            </a:avLst>
          </a:prstGeom>
          <a:noFill/>
          <a:ln w="9525" algn="ctr">
            <a:solidFill>
              <a:srgbClr val="4A7EBB"/>
            </a:solidFill>
            <a:miter lim="800000"/>
            <a:headEnd/>
            <a:tailEnd type="arrow" w="med" len="med"/>
          </a:ln>
          <a:extLst>
            <a:ext uri="{909E8E84-426E-40DD-AFC4-6F175D3DCCD1}">
              <a14:hiddenFill xmlns:a14="http://schemas.microsoft.com/office/drawing/2010/main">
                <a:noFill/>
              </a14:hiddenFill>
            </a:ext>
          </a:extLst>
        </p:spPr>
      </p:cxnSp>
      <p:pic>
        <p:nvPicPr>
          <p:cNvPr id="64532" name="Picture 4" descr="C:\Program Files (x86)\Microsoft Office\MEDIA\CAGCAT10\j0195384.wmf">
            <a:extLst>
              <a:ext uri="{FF2B5EF4-FFF2-40B4-BE49-F238E27FC236}">
                <a16:creationId xmlns:a16="http://schemas.microsoft.com/office/drawing/2014/main" id="{A4E885DC-9836-45F7-849B-C9B7340A5D93}"/>
              </a:ext>
            </a:extLst>
          </p:cNvPr>
          <p:cNvPicPr>
            <a:picLocks noChangeAspect="1"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flipH="1">
            <a:off x="371475" y="1503363"/>
            <a:ext cx="792163"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33" name="Picture 3">
            <a:extLst>
              <a:ext uri="{FF2B5EF4-FFF2-40B4-BE49-F238E27FC236}">
                <a16:creationId xmlns:a16="http://schemas.microsoft.com/office/drawing/2014/main" id="{8DA686C0-E445-4B55-B6F0-C7C96C230F7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91250" y="1819275"/>
            <a:ext cx="2520950" cy="59213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25" name="Rectangle 2">
            <a:extLst>
              <a:ext uri="{FF2B5EF4-FFF2-40B4-BE49-F238E27FC236}">
                <a16:creationId xmlns:a16="http://schemas.microsoft.com/office/drawing/2014/main" id="{671953F1-203B-44D1-AB74-189B6EAEE75B}"/>
              </a:ext>
            </a:extLst>
          </p:cNvPr>
          <p:cNvSpPr txBox="1">
            <a:spLocks noChangeArrowheads="1"/>
          </p:cNvSpPr>
          <p:nvPr/>
        </p:nvSpPr>
        <p:spPr bwMode="auto">
          <a:xfrm>
            <a:off x="0" y="552450"/>
            <a:ext cx="9144000" cy="433388"/>
          </a:xfrm>
          <a:prstGeom prst="rect">
            <a:avLst/>
          </a:prstGeom>
          <a:noFill/>
          <a:ln>
            <a:noFill/>
          </a:ln>
        </p:spPr>
        <p:txBody>
          <a:bodyPr anchor="ctr"/>
          <a:lstStyle>
            <a:lvl1pPr algn="l" rtl="0" eaLnBrk="0" fontAlgn="base" hangingPunct="0">
              <a:spcBef>
                <a:spcPct val="0"/>
              </a:spcBef>
              <a:spcAft>
                <a:spcPct val="0"/>
              </a:spcAft>
              <a:defRPr kumimoji="1" sz="2400" b="1">
                <a:solidFill>
                  <a:srgbClr val="3333FF"/>
                </a:solidFill>
                <a:latin typeface="+mj-lt"/>
                <a:ea typeface="+mj-ea"/>
                <a:cs typeface="+mj-cs"/>
              </a:defRPr>
            </a:lvl1pPr>
            <a:lvl2pPr algn="l" rtl="0" eaLnBrk="0" fontAlgn="base" hangingPunct="0">
              <a:spcBef>
                <a:spcPct val="0"/>
              </a:spcBef>
              <a:spcAft>
                <a:spcPct val="0"/>
              </a:spcAft>
              <a:defRPr kumimoji="1" sz="2400" b="1">
                <a:solidFill>
                  <a:srgbClr val="3333FF"/>
                </a:solidFill>
                <a:latin typeface="Arial" pitchFamily="34" charset="0"/>
                <a:ea typeface="ＭＳ Ｐゴシック" pitchFamily="50" charset="-128"/>
              </a:defRPr>
            </a:lvl2pPr>
            <a:lvl3pPr algn="l" rtl="0" eaLnBrk="0" fontAlgn="base" hangingPunct="0">
              <a:spcBef>
                <a:spcPct val="0"/>
              </a:spcBef>
              <a:spcAft>
                <a:spcPct val="0"/>
              </a:spcAft>
              <a:defRPr kumimoji="1" sz="2400" b="1">
                <a:solidFill>
                  <a:srgbClr val="3333FF"/>
                </a:solidFill>
                <a:latin typeface="Arial" pitchFamily="34" charset="0"/>
                <a:ea typeface="ＭＳ Ｐゴシック" pitchFamily="50" charset="-128"/>
              </a:defRPr>
            </a:lvl3pPr>
            <a:lvl4pPr algn="l" rtl="0" eaLnBrk="0" fontAlgn="base" hangingPunct="0">
              <a:spcBef>
                <a:spcPct val="0"/>
              </a:spcBef>
              <a:spcAft>
                <a:spcPct val="0"/>
              </a:spcAft>
              <a:defRPr kumimoji="1" sz="2400" b="1">
                <a:solidFill>
                  <a:srgbClr val="3333FF"/>
                </a:solidFill>
                <a:latin typeface="Arial" pitchFamily="34" charset="0"/>
                <a:ea typeface="ＭＳ Ｐゴシック" pitchFamily="50" charset="-128"/>
              </a:defRPr>
            </a:lvl4pPr>
            <a:lvl5pPr algn="l" rtl="0" eaLnBrk="0" fontAlgn="base" hangingPunct="0">
              <a:spcBef>
                <a:spcPct val="0"/>
              </a:spcBef>
              <a:spcAft>
                <a:spcPct val="0"/>
              </a:spcAft>
              <a:defRPr kumimoji="1" sz="2400" b="1">
                <a:solidFill>
                  <a:srgbClr val="3333FF"/>
                </a:solidFill>
                <a:latin typeface="Arial" pitchFamily="34" charset="0"/>
                <a:ea typeface="ＭＳ Ｐゴシック" pitchFamily="50" charset="-128"/>
              </a:defRPr>
            </a:lvl5pPr>
            <a:lvl6pPr marL="457200" algn="l" rtl="0" fontAlgn="base">
              <a:spcBef>
                <a:spcPct val="0"/>
              </a:spcBef>
              <a:spcAft>
                <a:spcPct val="0"/>
              </a:spcAft>
              <a:defRPr kumimoji="1" sz="2400" b="1">
                <a:solidFill>
                  <a:srgbClr val="3333FF"/>
                </a:solidFill>
                <a:latin typeface="Arial" pitchFamily="34" charset="0"/>
                <a:ea typeface="ＭＳ Ｐゴシック" pitchFamily="50" charset="-128"/>
              </a:defRPr>
            </a:lvl6pPr>
            <a:lvl7pPr marL="914400" algn="l" rtl="0" fontAlgn="base">
              <a:spcBef>
                <a:spcPct val="0"/>
              </a:spcBef>
              <a:spcAft>
                <a:spcPct val="0"/>
              </a:spcAft>
              <a:defRPr kumimoji="1" sz="2400" b="1">
                <a:solidFill>
                  <a:srgbClr val="3333FF"/>
                </a:solidFill>
                <a:latin typeface="Arial" pitchFamily="34" charset="0"/>
                <a:ea typeface="ＭＳ Ｐゴシック" pitchFamily="50" charset="-128"/>
              </a:defRPr>
            </a:lvl7pPr>
            <a:lvl8pPr marL="1371600" algn="l" rtl="0" fontAlgn="base">
              <a:spcBef>
                <a:spcPct val="0"/>
              </a:spcBef>
              <a:spcAft>
                <a:spcPct val="0"/>
              </a:spcAft>
              <a:defRPr kumimoji="1" sz="2400" b="1">
                <a:solidFill>
                  <a:srgbClr val="3333FF"/>
                </a:solidFill>
                <a:latin typeface="Arial" pitchFamily="34" charset="0"/>
                <a:ea typeface="ＭＳ Ｐゴシック" pitchFamily="50" charset="-128"/>
              </a:defRPr>
            </a:lvl8pPr>
            <a:lvl9pPr marL="1828800" algn="l" rtl="0" fontAlgn="base">
              <a:spcBef>
                <a:spcPct val="0"/>
              </a:spcBef>
              <a:spcAft>
                <a:spcPct val="0"/>
              </a:spcAft>
              <a:defRPr kumimoji="1" sz="2400" b="1">
                <a:solidFill>
                  <a:srgbClr val="3333FF"/>
                </a:solidFill>
                <a:latin typeface="Arial" pitchFamily="34" charset="0"/>
                <a:ea typeface="ＭＳ Ｐゴシック" pitchFamily="50" charset="-128"/>
              </a:defRPr>
            </a:lvl9pPr>
          </a:lstStyle>
          <a:p>
            <a:pPr algn="ctr" eaLnBrk="1" hangingPunct="1">
              <a:defRPr/>
            </a:pPr>
            <a:r>
              <a:rPr lang="en-US" altLang="ja-JP" sz="4000" b="0" kern="0" dirty="0">
                <a:solidFill>
                  <a:srgbClr val="0000FF"/>
                </a:solidFill>
              </a:rPr>
              <a:t>WIPO Publish</a:t>
            </a:r>
          </a:p>
          <a:p>
            <a:pPr algn="ctr" eaLnBrk="1" hangingPunct="1">
              <a:defRPr/>
            </a:pPr>
            <a:r>
              <a:rPr lang="en-US" altLang="ja-JP" b="0" kern="0" dirty="0">
                <a:solidFill>
                  <a:srgbClr val="0000FF"/>
                </a:solidFill>
              </a:rPr>
              <a:t>enabling offices to make IP data available nationally and internationally</a:t>
            </a:r>
          </a:p>
        </p:txBody>
      </p:sp>
      <p:cxnSp>
        <p:nvCxnSpPr>
          <p:cNvPr id="8" name="Straight Arrow Connector 7">
            <a:extLst>
              <a:ext uri="{FF2B5EF4-FFF2-40B4-BE49-F238E27FC236}">
                <a16:creationId xmlns:a16="http://schemas.microsoft.com/office/drawing/2014/main" id="{C54CC5BE-2D87-453E-AF7D-C4B2B3B93F31}"/>
              </a:ext>
            </a:extLst>
          </p:cNvPr>
          <p:cNvCxnSpPr>
            <a:stCxn id="4" idx="3"/>
            <a:endCxn id="64533" idx="2"/>
          </p:cNvCxnSpPr>
          <p:nvPr/>
        </p:nvCxnSpPr>
        <p:spPr>
          <a:xfrm flipV="1">
            <a:off x="6821488" y="2411413"/>
            <a:ext cx="630237" cy="20970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53B72E70-4145-4ACD-B291-76D917541CB9}"/>
              </a:ext>
            </a:extLst>
          </p:cNvPr>
          <p:cNvCxnSpPr>
            <a:stCxn id="64525" idx="3"/>
            <a:endCxn id="4" idx="2"/>
          </p:cNvCxnSpPr>
          <p:nvPr/>
        </p:nvCxnSpPr>
        <p:spPr>
          <a:xfrm flipV="1">
            <a:off x="5210175" y="4859338"/>
            <a:ext cx="860425" cy="777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Rounded Rectangle 15">
            <a:extLst>
              <a:ext uri="{FF2B5EF4-FFF2-40B4-BE49-F238E27FC236}">
                <a16:creationId xmlns:a16="http://schemas.microsoft.com/office/drawing/2014/main" id="{A6928EBA-7426-41B9-93E4-817A5F515035}"/>
              </a:ext>
            </a:extLst>
          </p:cNvPr>
          <p:cNvSpPr/>
          <p:nvPr/>
        </p:nvSpPr>
        <p:spPr>
          <a:xfrm>
            <a:off x="7056438" y="2689225"/>
            <a:ext cx="1655762" cy="517525"/>
          </a:xfrm>
          <a:prstGeom prst="roundRect">
            <a:avLst/>
          </a:prstGeom>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GB" dirty="0"/>
              <a:t>WIPO CASE</a:t>
            </a:r>
          </a:p>
        </p:txBody>
      </p:sp>
      <p:cxnSp>
        <p:nvCxnSpPr>
          <p:cNvPr id="39" name="Straight Arrow Connector 38">
            <a:extLst>
              <a:ext uri="{FF2B5EF4-FFF2-40B4-BE49-F238E27FC236}">
                <a16:creationId xmlns:a16="http://schemas.microsoft.com/office/drawing/2014/main" id="{215BFDF3-9A47-4E9A-AEDC-34617243C182}"/>
              </a:ext>
            </a:extLst>
          </p:cNvPr>
          <p:cNvCxnSpPr>
            <a:stCxn id="4" idx="3"/>
            <a:endCxn id="16" idx="2"/>
          </p:cNvCxnSpPr>
          <p:nvPr/>
        </p:nvCxnSpPr>
        <p:spPr>
          <a:xfrm flipV="1">
            <a:off x="6821488" y="3206750"/>
            <a:ext cx="1063625" cy="13017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tle 1">
            <a:extLst>
              <a:ext uri="{FF2B5EF4-FFF2-40B4-BE49-F238E27FC236}">
                <a16:creationId xmlns:a16="http://schemas.microsoft.com/office/drawing/2014/main" id="{6E898CFF-0C8F-4E23-B0C5-CF47AF957F5A}"/>
              </a:ext>
            </a:extLst>
          </p:cNvPr>
          <p:cNvSpPr>
            <a:spLocks noGrp="1" noChangeArrowheads="1"/>
          </p:cNvSpPr>
          <p:nvPr>
            <p:ph type="title"/>
          </p:nvPr>
        </p:nvSpPr>
        <p:spPr>
          <a:xfrm>
            <a:off x="419100" y="228600"/>
            <a:ext cx="8229600" cy="1143000"/>
          </a:xfrm>
        </p:spPr>
        <p:txBody>
          <a:bodyPr/>
          <a:lstStyle/>
          <a:p>
            <a:r>
              <a:rPr lang="en-US" altLang="en-US" sz="3200"/>
              <a:t>From Paper Registry to Electronic Registry</a:t>
            </a:r>
          </a:p>
        </p:txBody>
      </p:sp>
      <p:pic>
        <p:nvPicPr>
          <p:cNvPr id="66563" name="Content Placeholder 5">
            <a:extLst>
              <a:ext uri="{FF2B5EF4-FFF2-40B4-BE49-F238E27FC236}">
                <a16:creationId xmlns:a16="http://schemas.microsoft.com/office/drawing/2014/main" id="{9C31992E-BD88-4B76-86D0-9BA1D07C4235}"/>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457200" y="1484313"/>
            <a:ext cx="8229600" cy="4465637"/>
          </a:xfrm>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Left Arrow 1">
            <a:extLst>
              <a:ext uri="{FF2B5EF4-FFF2-40B4-BE49-F238E27FC236}">
                <a16:creationId xmlns:a16="http://schemas.microsoft.com/office/drawing/2014/main" id="{D18B74A0-C32D-4F71-AF41-AEC13D0DF3A1}"/>
              </a:ext>
            </a:extLst>
          </p:cNvPr>
          <p:cNvSpPr>
            <a:spLocks noChangeArrowheads="1"/>
          </p:cNvSpPr>
          <p:nvPr/>
        </p:nvSpPr>
        <p:spPr bwMode="auto">
          <a:xfrm rot="10800000">
            <a:off x="1258888" y="3284538"/>
            <a:ext cx="433387" cy="215900"/>
          </a:xfrm>
          <a:prstGeom prst="leftArrow">
            <a:avLst>
              <a:gd name="adj1" fmla="val 50000"/>
              <a:gd name="adj2" fmla="val 50184"/>
            </a:avLst>
          </a:prstGeom>
          <a:solidFill>
            <a:schemeClr val="accent1"/>
          </a:solidFill>
          <a:ln w="9525" algn="ctr">
            <a:solidFill>
              <a:schemeClr val="tx1"/>
            </a:solidFill>
            <a:round/>
            <a:headEnd/>
            <a:tailEnd/>
          </a:ln>
        </p:spPr>
        <p:txBody>
          <a:bodyPr/>
          <a:lstStyle/>
          <a:p>
            <a:endParaRPr lang="en-SG" altLang="en-US"/>
          </a:p>
        </p:txBody>
      </p:sp>
      <p:sp>
        <p:nvSpPr>
          <p:cNvPr id="3" name="Cube 2">
            <a:extLst>
              <a:ext uri="{FF2B5EF4-FFF2-40B4-BE49-F238E27FC236}">
                <a16:creationId xmlns:a16="http://schemas.microsoft.com/office/drawing/2014/main" id="{758C28D6-01FB-4C9C-8F85-A2FFA5235CAF}"/>
              </a:ext>
            </a:extLst>
          </p:cNvPr>
          <p:cNvSpPr/>
          <p:nvPr/>
        </p:nvSpPr>
        <p:spPr bwMode="auto">
          <a:xfrm>
            <a:off x="7236296" y="2959203"/>
            <a:ext cx="1368152" cy="700679"/>
          </a:xfrm>
          <a:prstGeom prst="cube">
            <a:avLst>
              <a:gd name="adj" fmla="val 13777"/>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200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IPAS</a:t>
            </a:r>
            <a:endParaRPr lang="en-SG"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endParaRPr>
          </a:p>
        </p:txBody>
      </p:sp>
      <p:sp>
        <p:nvSpPr>
          <p:cNvPr id="4" name="Cube 3">
            <a:extLst>
              <a:ext uri="{FF2B5EF4-FFF2-40B4-BE49-F238E27FC236}">
                <a16:creationId xmlns:a16="http://schemas.microsoft.com/office/drawing/2014/main" id="{E6DB5EF3-AEDD-44B7-9525-77B322C5FD0D}"/>
              </a:ext>
            </a:extLst>
          </p:cNvPr>
          <p:cNvSpPr/>
          <p:nvPr/>
        </p:nvSpPr>
        <p:spPr bwMode="auto">
          <a:xfrm>
            <a:off x="3491880" y="3068960"/>
            <a:ext cx="1152128" cy="576064"/>
          </a:xfrm>
          <a:prstGeom prst="cube">
            <a:avLst>
              <a:gd name="adj" fmla="val 13777"/>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05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IPAS EDMS</a:t>
            </a:r>
            <a:endParaRPr lang="en-SG" sz="50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endParaRPr>
          </a:p>
        </p:txBody>
      </p:sp>
      <p:sp>
        <p:nvSpPr>
          <p:cNvPr id="5" name="Cube 4">
            <a:extLst>
              <a:ext uri="{FF2B5EF4-FFF2-40B4-BE49-F238E27FC236}">
                <a16:creationId xmlns:a16="http://schemas.microsoft.com/office/drawing/2014/main" id="{FA7013E1-FCCE-4770-B037-EA3619D6A1F1}"/>
              </a:ext>
            </a:extLst>
          </p:cNvPr>
          <p:cNvSpPr/>
          <p:nvPr/>
        </p:nvSpPr>
        <p:spPr bwMode="auto">
          <a:xfrm>
            <a:off x="1763688" y="3068960"/>
            <a:ext cx="1152128" cy="576064"/>
          </a:xfrm>
          <a:prstGeom prst="cube">
            <a:avLst>
              <a:gd name="adj" fmla="val 13777"/>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05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WIPO Scan</a:t>
            </a:r>
            <a:endParaRPr lang="en-SG" sz="50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endParaRPr>
          </a:p>
        </p:txBody>
      </p:sp>
      <p:grpSp>
        <p:nvGrpSpPr>
          <p:cNvPr id="67590" name="Group 19">
            <a:extLst>
              <a:ext uri="{FF2B5EF4-FFF2-40B4-BE49-F238E27FC236}">
                <a16:creationId xmlns:a16="http://schemas.microsoft.com/office/drawing/2014/main" id="{DB41D766-AA54-466D-B094-5B1EA0D4F10E}"/>
              </a:ext>
            </a:extLst>
          </p:cNvPr>
          <p:cNvGrpSpPr>
            <a:grpSpLocks/>
          </p:cNvGrpSpPr>
          <p:nvPr/>
        </p:nvGrpSpPr>
        <p:grpSpPr bwMode="auto">
          <a:xfrm>
            <a:off x="395288" y="2852738"/>
            <a:ext cx="795337" cy="992187"/>
            <a:chOff x="2056986" y="3949453"/>
            <a:chExt cx="1096888" cy="1368151"/>
          </a:xfrm>
        </p:grpSpPr>
        <p:pic>
          <p:nvPicPr>
            <p:cNvPr id="67608" name="Picture 2">
              <a:extLst>
                <a:ext uri="{FF2B5EF4-FFF2-40B4-BE49-F238E27FC236}">
                  <a16:creationId xmlns:a16="http://schemas.microsoft.com/office/drawing/2014/main" id="{D20BFAF0-A8E6-4E2F-8A7E-88E217E022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56986" y="3949453"/>
              <a:ext cx="792088" cy="1066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609" name="Picture 2">
              <a:extLst>
                <a:ext uri="{FF2B5EF4-FFF2-40B4-BE49-F238E27FC236}">
                  <a16:creationId xmlns:a16="http://schemas.microsoft.com/office/drawing/2014/main" id="{18296A6C-D51E-408C-B261-0CB34B76E4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9386" y="4101853"/>
              <a:ext cx="792088" cy="1066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610" name="Picture 2">
              <a:extLst>
                <a:ext uri="{FF2B5EF4-FFF2-40B4-BE49-F238E27FC236}">
                  <a16:creationId xmlns:a16="http://schemas.microsoft.com/office/drawing/2014/main" id="{77541877-FAB6-44B6-807D-7CE49D9CA4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61786" y="4250840"/>
              <a:ext cx="792088" cy="1066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7591" name="Left Arrow 21">
            <a:extLst>
              <a:ext uri="{FF2B5EF4-FFF2-40B4-BE49-F238E27FC236}">
                <a16:creationId xmlns:a16="http://schemas.microsoft.com/office/drawing/2014/main" id="{A7B474CF-FFDF-4607-82FC-6EFBF080F7AB}"/>
              </a:ext>
            </a:extLst>
          </p:cNvPr>
          <p:cNvSpPr>
            <a:spLocks noChangeArrowheads="1"/>
          </p:cNvSpPr>
          <p:nvPr/>
        </p:nvSpPr>
        <p:spPr bwMode="auto">
          <a:xfrm rot="10800000">
            <a:off x="2987675" y="3284538"/>
            <a:ext cx="431800" cy="215900"/>
          </a:xfrm>
          <a:prstGeom prst="leftArrow">
            <a:avLst>
              <a:gd name="adj1" fmla="val 50000"/>
              <a:gd name="adj2" fmla="val 50000"/>
            </a:avLst>
          </a:prstGeom>
          <a:solidFill>
            <a:schemeClr val="accent1"/>
          </a:solidFill>
          <a:ln w="9525" algn="ctr">
            <a:solidFill>
              <a:schemeClr val="tx1"/>
            </a:solidFill>
            <a:round/>
            <a:headEnd/>
            <a:tailEnd/>
          </a:ln>
        </p:spPr>
        <p:txBody>
          <a:bodyPr/>
          <a:lstStyle/>
          <a:p>
            <a:endParaRPr lang="en-SG" altLang="en-US"/>
          </a:p>
        </p:txBody>
      </p:sp>
      <p:grpSp>
        <p:nvGrpSpPr>
          <p:cNvPr id="67592" name="Group 22">
            <a:extLst>
              <a:ext uri="{FF2B5EF4-FFF2-40B4-BE49-F238E27FC236}">
                <a16:creationId xmlns:a16="http://schemas.microsoft.com/office/drawing/2014/main" id="{C36F53FA-E017-4375-8061-2DE94B386912}"/>
              </a:ext>
            </a:extLst>
          </p:cNvPr>
          <p:cNvGrpSpPr>
            <a:grpSpLocks/>
          </p:cNvGrpSpPr>
          <p:nvPr/>
        </p:nvGrpSpPr>
        <p:grpSpPr bwMode="auto">
          <a:xfrm>
            <a:off x="2120900" y="4292600"/>
            <a:ext cx="795338" cy="990600"/>
            <a:chOff x="2056986" y="3949453"/>
            <a:chExt cx="1096888" cy="1368151"/>
          </a:xfrm>
        </p:grpSpPr>
        <p:pic>
          <p:nvPicPr>
            <p:cNvPr id="67605" name="Picture 2">
              <a:extLst>
                <a:ext uri="{FF2B5EF4-FFF2-40B4-BE49-F238E27FC236}">
                  <a16:creationId xmlns:a16="http://schemas.microsoft.com/office/drawing/2014/main" id="{485F63F8-F37E-48F8-B3D0-57FFC038857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56986" y="3949453"/>
              <a:ext cx="792088" cy="1066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606" name="Picture 2">
              <a:extLst>
                <a:ext uri="{FF2B5EF4-FFF2-40B4-BE49-F238E27FC236}">
                  <a16:creationId xmlns:a16="http://schemas.microsoft.com/office/drawing/2014/main" id="{053CB549-E0D5-45AE-86E5-4731FC4017F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9386" y="4101853"/>
              <a:ext cx="792088" cy="1066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607" name="Picture 2">
              <a:extLst>
                <a:ext uri="{FF2B5EF4-FFF2-40B4-BE49-F238E27FC236}">
                  <a16:creationId xmlns:a16="http://schemas.microsoft.com/office/drawing/2014/main" id="{04D41898-E112-414C-9C44-27FB2A4D765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61786" y="4250840"/>
              <a:ext cx="792088" cy="1066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7593" name="Left Arrow 26">
            <a:extLst>
              <a:ext uri="{FF2B5EF4-FFF2-40B4-BE49-F238E27FC236}">
                <a16:creationId xmlns:a16="http://schemas.microsoft.com/office/drawing/2014/main" id="{658681E3-DBA0-4285-B151-B14803F178BD}"/>
              </a:ext>
            </a:extLst>
          </p:cNvPr>
          <p:cNvSpPr>
            <a:spLocks noChangeArrowheads="1"/>
          </p:cNvSpPr>
          <p:nvPr/>
        </p:nvSpPr>
        <p:spPr bwMode="auto">
          <a:xfrm rot="5400000">
            <a:off x="2238375" y="3973513"/>
            <a:ext cx="431800" cy="215900"/>
          </a:xfrm>
          <a:prstGeom prst="leftArrow">
            <a:avLst>
              <a:gd name="adj1" fmla="val 50000"/>
              <a:gd name="adj2" fmla="val 50000"/>
            </a:avLst>
          </a:prstGeom>
          <a:solidFill>
            <a:schemeClr val="accent1"/>
          </a:solidFill>
          <a:ln w="9525" algn="ctr">
            <a:solidFill>
              <a:schemeClr val="tx1"/>
            </a:solidFill>
            <a:round/>
            <a:headEnd/>
            <a:tailEnd/>
          </a:ln>
        </p:spPr>
        <p:txBody>
          <a:bodyPr/>
          <a:lstStyle/>
          <a:p>
            <a:endParaRPr lang="en-SG" altLang="en-US"/>
          </a:p>
        </p:txBody>
      </p:sp>
      <p:sp>
        <p:nvSpPr>
          <p:cNvPr id="67594" name="Curved Down Arrow 13">
            <a:extLst>
              <a:ext uri="{FF2B5EF4-FFF2-40B4-BE49-F238E27FC236}">
                <a16:creationId xmlns:a16="http://schemas.microsoft.com/office/drawing/2014/main" id="{2D2D0DBE-F575-4936-9412-BE7D0907B1F5}"/>
              </a:ext>
            </a:extLst>
          </p:cNvPr>
          <p:cNvSpPr>
            <a:spLocks noChangeArrowheads="1"/>
          </p:cNvSpPr>
          <p:nvPr/>
        </p:nvSpPr>
        <p:spPr bwMode="auto">
          <a:xfrm>
            <a:off x="4356100" y="2133600"/>
            <a:ext cx="3311525" cy="790575"/>
          </a:xfrm>
          <a:prstGeom prst="curvedDownArrow">
            <a:avLst>
              <a:gd name="adj1" fmla="val 25036"/>
              <a:gd name="adj2" fmla="val 50091"/>
              <a:gd name="adj3" fmla="val 25000"/>
            </a:avLst>
          </a:prstGeom>
          <a:solidFill>
            <a:schemeClr val="accent1"/>
          </a:solidFill>
          <a:ln w="9525" algn="ctr">
            <a:solidFill>
              <a:schemeClr val="tx1"/>
            </a:solidFill>
            <a:round/>
            <a:headEnd/>
            <a:tailEnd/>
          </a:ln>
        </p:spPr>
        <p:txBody>
          <a:bodyPr/>
          <a:lstStyle/>
          <a:p>
            <a:endParaRPr lang="en-SG" altLang="en-US" sz="1100" u="sng"/>
          </a:p>
        </p:txBody>
      </p:sp>
      <p:grpSp>
        <p:nvGrpSpPr>
          <p:cNvPr id="67595" name="Group 20">
            <a:extLst>
              <a:ext uri="{FF2B5EF4-FFF2-40B4-BE49-F238E27FC236}">
                <a16:creationId xmlns:a16="http://schemas.microsoft.com/office/drawing/2014/main" id="{97A27943-DBE5-41FF-B775-042F0388C41E}"/>
              </a:ext>
            </a:extLst>
          </p:cNvPr>
          <p:cNvGrpSpPr>
            <a:grpSpLocks/>
          </p:cNvGrpSpPr>
          <p:nvPr/>
        </p:nvGrpSpPr>
        <p:grpSpPr bwMode="auto">
          <a:xfrm>
            <a:off x="4211638" y="3716338"/>
            <a:ext cx="3384550" cy="1296987"/>
            <a:chOff x="4211960" y="3717032"/>
            <a:chExt cx="3384376" cy="1296144"/>
          </a:xfrm>
        </p:grpSpPr>
        <p:sp>
          <p:nvSpPr>
            <p:cNvPr id="67603" name="Curved Down Arrow 14">
              <a:extLst>
                <a:ext uri="{FF2B5EF4-FFF2-40B4-BE49-F238E27FC236}">
                  <a16:creationId xmlns:a16="http://schemas.microsoft.com/office/drawing/2014/main" id="{68F4CCDA-B9A2-4639-93D8-22E192920536}"/>
                </a:ext>
              </a:extLst>
            </p:cNvPr>
            <p:cNvSpPr>
              <a:spLocks noChangeArrowheads="1"/>
            </p:cNvSpPr>
            <p:nvPr/>
          </p:nvSpPr>
          <p:spPr bwMode="auto">
            <a:xfrm flipH="1" flipV="1">
              <a:off x="4211960" y="3717032"/>
              <a:ext cx="3384376" cy="855712"/>
            </a:xfrm>
            <a:prstGeom prst="curvedDownArrow">
              <a:avLst>
                <a:gd name="adj1" fmla="val 24994"/>
                <a:gd name="adj2" fmla="val 50006"/>
                <a:gd name="adj3" fmla="val 25000"/>
              </a:avLst>
            </a:prstGeom>
            <a:solidFill>
              <a:schemeClr val="accent1"/>
            </a:solidFill>
            <a:ln w="9525" algn="ctr">
              <a:solidFill>
                <a:schemeClr val="tx1"/>
              </a:solidFill>
              <a:round/>
              <a:headEnd/>
              <a:tailEnd/>
            </a:ln>
          </p:spPr>
          <p:txBody>
            <a:bodyPr/>
            <a:lstStyle/>
            <a:p>
              <a:endParaRPr lang="en-SG" altLang="en-US" sz="1100"/>
            </a:p>
          </p:txBody>
        </p:sp>
        <p:pic>
          <p:nvPicPr>
            <p:cNvPr id="67604" name="Picture 3">
              <a:extLst>
                <a:ext uri="{FF2B5EF4-FFF2-40B4-BE49-F238E27FC236}">
                  <a16:creationId xmlns:a16="http://schemas.microsoft.com/office/drawing/2014/main" id="{C3248AA3-1B4F-49D3-AF98-7B33F41DC2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96136" y="4298231"/>
              <a:ext cx="529589" cy="714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67596" name="Picture 2">
            <a:extLst>
              <a:ext uri="{FF2B5EF4-FFF2-40B4-BE49-F238E27FC236}">
                <a16:creationId xmlns:a16="http://schemas.microsoft.com/office/drawing/2014/main" id="{54E2FB19-19AD-4FFF-86D2-E8299B45FA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80063" y="1868488"/>
            <a:ext cx="590550"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
            <a:extLst>
              <a:ext uri="{FF2B5EF4-FFF2-40B4-BE49-F238E27FC236}">
                <a16:creationId xmlns:a16="http://schemas.microsoft.com/office/drawing/2014/main" id="{C3D55C45-B10C-44E5-9A70-43374B81E895}"/>
              </a:ext>
            </a:extLst>
          </p:cNvPr>
          <p:cNvSpPr txBox="1">
            <a:spLocks noChangeArrowheads="1"/>
          </p:cNvSpPr>
          <p:nvPr/>
        </p:nvSpPr>
        <p:spPr bwMode="auto">
          <a:xfrm>
            <a:off x="179388" y="39688"/>
            <a:ext cx="8812212" cy="941387"/>
          </a:xfrm>
          <a:prstGeom prst="rect">
            <a:avLst/>
          </a:prstGeom>
          <a:noFill/>
          <a:ln w="9525">
            <a:noFill/>
            <a:miter lim="800000"/>
            <a:headEnd/>
            <a:tailEnd/>
          </a:ln>
          <a:effectLst/>
        </p:spPr>
        <p:txBody>
          <a:bodyPr anchor="ctr"/>
          <a:lstStyle/>
          <a:p>
            <a:pPr>
              <a:defRPr/>
            </a:pPr>
            <a:r>
              <a:rPr lang="de-CH" sz="3200" kern="0" dirty="0">
                <a:solidFill>
                  <a:srgbClr val="00408C"/>
                </a:solidFill>
                <a:latin typeface="+mj-lt"/>
                <a:ea typeface="+mj-ea"/>
                <a:cs typeface="+mj-cs"/>
              </a:rPr>
              <a:t>WIPO Scan,  WIPO Publish EDMS and IPAS</a:t>
            </a:r>
            <a:endParaRPr lang="en-US" sz="3200" kern="0" dirty="0">
              <a:solidFill>
                <a:srgbClr val="00408C"/>
              </a:solidFill>
              <a:latin typeface="+mj-lt"/>
              <a:ea typeface="+mj-ea"/>
              <a:cs typeface="+mj-cs"/>
            </a:endParaRPr>
          </a:p>
        </p:txBody>
      </p:sp>
      <p:sp>
        <p:nvSpPr>
          <p:cNvPr id="67598" name="Slide Number Placeholder 27">
            <a:extLst>
              <a:ext uri="{FF2B5EF4-FFF2-40B4-BE49-F238E27FC236}">
                <a16:creationId xmlns:a16="http://schemas.microsoft.com/office/drawing/2014/main" id="{7500AB96-39E1-47B5-BD29-17B923AB845A}"/>
              </a:ext>
            </a:extLst>
          </p:cNvPr>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9pPr>
          </a:lstStyle>
          <a:p>
            <a:fld id="{3C197A40-58F8-4EA5-8345-D748FB197A89}" type="slidenum">
              <a:rPr lang="fr-FR" altLang="en-US" smtClean="0">
                <a:solidFill>
                  <a:srgbClr val="000000"/>
                </a:solidFill>
              </a:rPr>
              <a:pPr/>
              <a:t>48</a:t>
            </a:fld>
            <a:endParaRPr lang="fr-FR" altLang="en-US">
              <a:solidFill>
                <a:srgbClr val="000000"/>
              </a:solidFill>
            </a:endParaRPr>
          </a:p>
        </p:txBody>
      </p:sp>
      <p:sp>
        <p:nvSpPr>
          <p:cNvPr id="67599" name="TextBox 1">
            <a:extLst>
              <a:ext uri="{FF2B5EF4-FFF2-40B4-BE49-F238E27FC236}">
                <a16:creationId xmlns:a16="http://schemas.microsoft.com/office/drawing/2014/main" id="{808DA664-8369-44E8-842E-0E5FF289F3FF}"/>
              </a:ext>
            </a:extLst>
          </p:cNvPr>
          <p:cNvSpPr txBox="1">
            <a:spLocks noChangeArrowheads="1"/>
          </p:cNvSpPr>
          <p:nvPr/>
        </p:nvSpPr>
        <p:spPr bwMode="auto">
          <a:xfrm>
            <a:off x="250825" y="981075"/>
            <a:ext cx="3241675" cy="307975"/>
          </a:xfrm>
          <a:prstGeom prst="rect">
            <a:avLst/>
          </a:prstGeom>
          <a:noFill/>
          <a:ln w="9525">
            <a:solidFill>
              <a:srgbClr val="3399FF"/>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p>
            <a:r>
              <a:rPr lang="fr-CH" altLang="en-US" sz="1400">
                <a:solidFill>
                  <a:schemeClr val="tx1"/>
                </a:solidFill>
              </a:rPr>
              <a:t>Fully Paperless Processing</a:t>
            </a:r>
          </a:p>
        </p:txBody>
      </p:sp>
      <p:sp>
        <p:nvSpPr>
          <p:cNvPr id="67600" name="TextBox 23">
            <a:extLst>
              <a:ext uri="{FF2B5EF4-FFF2-40B4-BE49-F238E27FC236}">
                <a16:creationId xmlns:a16="http://schemas.microsoft.com/office/drawing/2014/main" id="{6292DBC0-44C0-448B-AFF9-AF554A7FD505}"/>
              </a:ext>
            </a:extLst>
          </p:cNvPr>
          <p:cNvSpPr txBox="1">
            <a:spLocks noChangeArrowheads="1"/>
          </p:cNvSpPr>
          <p:nvPr/>
        </p:nvSpPr>
        <p:spPr bwMode="auto">
          <a:xfrm>
            <a:off x="1843088" y="5313363"/>
            <a:ext cx="1703387" cy="522287"/>
          </a:xfrm>
          <a:prstGeom prst="rect">
            <a:avLst/>
          </a:prstGeom>
          <a:noFill/>
          <a:ln w="9525">
            <a:solidFill>
              <a:srgbClr val="3399FF"/>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p>
            <a:r>
              <a:rPr lang="fr-CH" altLang="en-US" sz="1400">
                <a:solidFill>
                  <a:schemeClr val="tx1"/>
                </a:solidFill>
              </a:rPr>
              <a:t>Backfile / Backlog Scanning</a:t>
            </a:r>
          </a:p>
        </p:txBody>
      </p:sp>
      <p:sp>
        <p:nvSpPr>
          <p:cNvPr id="67601" name="TextBox 24">
            <a:extLst>
              <a:ext uri="{FF2B5EF4-FFF2-40B4-BE49-F238E27FC236}">
                <a16:creationId xmlns:a16="http://schemas.microsoft.com/office/drawing/2014/main" id="{4D9013FD-3767-4885-8F91-04B39E78D04F}"/>
              </a:ext>
            </a:extLst>
          </p:cNvPr>
          <p:cNvSpPr txBox="1">
            <a:spLocks noChangeArrowheads="1"/>
          </p:cNvSpPr>
          <p:nvPr/>
        </p:nvSpPr>
        <p:spPr bwMode="auto">
          <a:xfrm>
            <a:off x="222250" y="2266950"/>
            <a:ext cx="1703388" cy="523875"/>
          </a:xfrm>
          <a:prstGeom prst="rect">
            <a:avLst/>
          </a:prstGeom>
          <a:noFill/>
          <a:ln w="9525">
            <a:solidFill>
              <a:srgbClr val="3399FF"/>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p>
            <a:r>
              <a:rPr lang="fr-CH" altLang="en-US" sz="1400">
                <a:solidFill>
                  <a:schemeClr val="tx1"/>
                </a:solidFill>
              </a:rPr>
              <a:t>Frontfile / Incoming Scanning</a:t>
            </a:r>
          </a:p>
        </p:txBody>
      </p:sp>
      <p:sp>
        <p:nvSpPr>
          <p:cNvPr id="67602" name="TextBox 25">
            <a:extLst>
              <a:ext uri="{FF2B5EF4-FFF2-40B4-BE49-F238E27FC236}">
                <a16:creationId xmlns:a16="http://schemas.microsoft.com/office/drawing/2014/main" id="{33DFF337-6C60-40C3-A01B-63EA2D8F594F}"/>
              </a:ext>
            </a:extLst>
          </p:cNvPr>
          <p:cNvSpPr txBox="1">
            <a:spLocks noChangeArrowheads="1"/>
          </p:cNvSpPr>
          <p:nvPr/>
        </p:nvSpPr>
        <p:spPr bwMode="auto">
          <a:xfrm>
            <a:off x="5159375" y="4951413"/>
            <a:ext cx="2076450" cy="523875"/>
          </a:xfrm>
          <a:prstGeom prst="rect">
            <a:avLst/>
          </a:prstGeom>
          <a:noFill/>
          <a:ln w="9525">
            <a:solidFill>
              <a:srgbClr val="3399FF"/>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p>
            <a:r>
              <a:rPr lang="fr-CH" altLang="en-US" sz="1400">
                <a:solidFill>
                  <a:schemeClr val="tx1"/>
                </a:solidFill>
              </a:rPr>
              <a:t>Electronic document generation </a:t>
            </a:r>
          </a:p>
        </p:txBody>
      </p:sp>
    </p:spTree>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1">
            <a:extLst>
              <a:ext uri="{FF2B5EF4-FFF2-40B4-BE49-F238E27FC236}">
                <a16:creationId xmlns:a16="http://schemas.microsoft.com/office/drawing/2014/main" id="{3398737D-1734-43FD-84BA-5A26F3AE39F5}"/>
              </a:ext>
            </a:extLst>
          </p:cNvPr>
          <p:cNvSpPr>
            <a:spLocks noChangeArrowheads="1"/>
          </p:cNvSpPr>
          <p:nvPr/>
        </p:nvSpPr>
        <p:spPr bwMode="auto">
          <a:xfrm>
            <a:off x="1190625" y="2492375"/>
            <a:ext cx="990600" cy="838200"/>
          </a:xfrm>
          <a:prstGeom prst="rect">
            <a:avLst/>
          </a:prstGeom>
          <a:solidFill>
            <a:srgbClr val="8898C4"/>
          </a:solidFill>
          <a:ln w="9525">
            <a:solidFill>
              <a:schemeClr val="tx1"/>
            </a:solidFill>
            <a:miter lim="800000"/>
            <a:headEnd/>
            <a:tailEnd/>
          </a:ln>
          <a:effectLst>
            <a:outerShdw dist="107763" dir="18900000" algn="ctr" rotWithShape="0">
              <a:schemeClr val="bg2"/>
            </a:outerShdw>
          </a:effectLst>
        </p:spPr>
        <p:txBody>
          <a:bodyPr wrap="none" anchor="ctr"/>
          <a:lstStyle/>
          <a:p>
            <a:pPr algn="ctr">
              <a:defRPr/>
            </a:pPr>
            <a:endParaRPr lang="de-DE" sz="1000" b="1" dirty="0">
              <a:ea typeface="ヒラギノ角ゴ Pro W3" pitchFamily="1" charset="-128"/>
              <a:cs typeface="+mn-cs"/>
            </a:endParaRPr>
          </a:p>
          <a:p>
            <a:pPr algn="ctr">
              <a:defRPr/>
            </a:pPr>
            <a:r>
              <a:rPr lang="de-DE" sz="1000" b="1" dirty="0">
                <a:ea typeface="ヒラギノ角ゴ Pro W3" pitchFamily="1" charset="-128"/>
                <a:cs typeface="+mn-cs"/>
              </a:rPr>
              <a:t>Scanning</a:t>
            </a:r>
          </a:p>
          <a:p>
            <a:pPr algn="ctr">
              <a:defRPr/>
            </a:pPr>
            <a:endParaRPr lang="de-DE" sz="1000" b="1" dirty="0">
              <a:ea typeface="ヒラギノ角ゴ Pro W3" pitchFamily="1" charset="-128"/>
              <a:cs typeface="+mn-cs"/>
            </a:endParaRPr>
          </a:p>
        </p:txBody>
      </p:sp>
      <p:sp>
        <p:nvSpPr>
          <p:cNvPr id="3" name="AutoShape 22">
            <a:extLst>
              <a:ext uri="{FF2B5EF4-FFF2-40B4-BE49-F238E27FC236}">
                <a16:creationId xmlns:a16="http://schemas.microsoft.com/office/drawing/2014/main" id="{0DF8BA26-9133-40E0-9FC5-10865AA43BCC}"/>
              </a:ext>
            </a:extLst>
          </p:cNvPr>
          <p:cNvSpPr>
            <a:spLocks noChangeArrowheads="1"/>
          </p:cNvSpPr>
          <p:nvPr/>
        </p:nvSpPr>
        <p:spPr bwMode="auto">
          <a:xfrm rot="5400000">
            <a:off x="2143125" y="2759075"/>
            <a:ext cx="457200" cy="381000"/>
          </a:xfrm>
          <a:prstGeom prst="upArrow">
            <a:avLst>
              <a:gd name="adj1" fmla="val 50000"/>
              <a:gd name="adj2" fmla="val 25000"/>
            </a:avLst>
          </a:prstGeom>
          <a:solidFill>
            <a:srgbClr val="CCFFCC"/>
          </a:solidFill>
          <a:ln w="9525">
            <a:solidFill>
              <a:schemeClr val="tx1"/>
            </a:solidFill>
            <a:miter lim="800000"/>
            <a:headEnd/>
            <a:tailEnd/>
          </a:ln>
          <a:effectLst>
            <a:outerShdw dist="107763" dir="18900000" algn="ctr" rotWithShape="0">
              <a:schemeClr val="bg2"/>
            </a:outerShdw>
          </a:effectLst>
        </p:spPr>
        <p:txBody>
          <a:bodyPr wrap="none" anchor="ctr"/>
          <a:lstStyle/>
          <a:p>
            <a:pPr>
              <a:defRPr/>
            </a:pPr>
            <a:endParaRPr lang="en-US">
              <a:ea typeface="ヒラギノ角ゴ Pro W3" pitchFamily="1" charset="-128"/>
              <a:cs typeface="+mn-cs"/>
            </a:endParaRPr>
          </a:p>
        </p:txBody>
      </p:sp>
      <p:sp>
        <p:nvSpPr>
          <p:cNvPr id="4" name="Rectangle 24">
            <a:extLst>
              <a:ext uri="{FF2B5EF4-FFF2-40B4-BE49-F238E27FC236}">
                <a16:creationId xmlns:a16="http://schemas.microsoft.com/office/drawing/2014/main" id="{33FA80C5-E10A-4830-A7EB-B426405862FD}"/>
              </a:ext>
            </a:extLst>
          </p:cNvPr>
          <p:cNvSpPr>
            <a:spLocks noChangeArrowheads="1"/>
          </p:cNvSpPr>
          <p:nvPr/>
        </p:nvSpPr>
        <p:spPr bwMode="auto">
          <a:xfrm>
            <a:off x="2562225" y="2492375"/>
            <a:ext cx="990600" cy="838200"/>
          </a:xfrm>
          <a:prstGeom prst="rect">
            <a:avLst/>
          </a:prstGeom>
          <a:solidFill>
            <a:srgbClr val="D7E1F5"/>
          </a:solidFill>
          <a:ln w="9525">
            <a:solidFill>
              <a:schemeClr val="tx1"/>
            </a:solidFill>
            <a:miter lim="800000"/>
            <a:headEnd/>
            <a:tailEnd/>
          </a:ln>
          <a:effectLst>
            <a:outerShdw dist="107763" dir="18900000" algn="ctr" rotWithShape="0">
              <a:schemeClr val="bg2"/>
            </a:outerShdw>
          </a:effectLst>
        </p:spPr>
        <p:txBody>
          <a:bodyPr wrap="none" anchor="ctr"/>
          <a:lstStyle/>
          <a:p>
            <a:pPr algn="ctr">
              <a:defRPr/>
            </a:pPr>
            <a:r>
              <a:rPr lang="de-DE" sz="1000" b="1" dirty="0">
                <a:ea typeface="ヒラギノ角ゴ Pro W3" pitchFamily="1" charset="-128"/>
                <a:cs typeface="+mn-cs"/>
              </a:rPr>
              <a:t>Document </a:t>
            </a:r>
          </a:p>
          <a:p>
            <a:pPr algn="ctr">
              <a:defRPr/>
            </a:pPr>
            <a:r>
              <a:rPr lang="de-DE" sz="1000" b="1" dirty="0">
                <a:ea typeface="ヒラギノ角ゴ Pro W3" pitchFamily="1" charset="-128"/>
                <a:cs typeface="+mn-cs"/>
              </a:rPr>
              <a:t>Indexing</a:t>
            </a:r>
            <a:endParaRPr lang="de-DE" sz="1000" dirty="0">
              <a:ea typeface="ヒラギノ角ゴ Pro W3" pitchFamily="1" charset="-128"/>
              <a:cs typeface="+mn-cs"/>
            </a:endParaRPr>
          </a:p>
        </p:txBody>
      </p:sp>
      <p:sp>
        <p:nvSpPr>
          <p:cNvPr id="5" name="AutoShape 26">
            <a:extLst>
              <a:ext uri="{FF2B5EF4-FFF2-40B4-BE49-F238E27FC236}">
                <a16:creationId xmlns:a16="http://schemas.microsoft.com/office/drawing/2014/main" id="{8F92C859-03F5-4AB4-BD71-F16F3BBE212B}"/>
              </a:ext>
            </a:extLst>
          </p:cNvPr>
          <p:cNvSpPr>
            <a:spLocks noChangeArrowheads="1"/>
          </p:cNvSpPr>
          <p:nvPr/>
        </p:nvSpPr>
        <p:spPr bwMode="auto">
          <a:xfrm rot="5400000">
            <a:off x="3514725" y="2759075"/>
            <a:ext cx="457200" cy="381000"/>
          </a:xfrm>
          <a:prstGeom prst="upArrow">
            <a:avLst>
              <a:gd name="adj1" fmla="val 50000"/>
              <a:gd name="adj2" fmla="val 25000"/>
            </a:avLst>
          </a:prstGeom>
          <a:solidFill>
            <a:srgbClr val="CCFFCC"/>
          </a:solidFill>
          <a:ln w="9525">
            <a:solidFill>
              <a:schemeClr val="tx1"/>
            </a:solidFill>
            <a:miter lim="800000"/>
            <a:headEnd/>
            <a:tailEnd/>
          </a:ln>
          <a:effectLst>
            <a:outerShdw dist="107763" dir="18900000" algn="ctr" rotWithShape="0">
              <a:schemeClr val="bg2"/>
            </a:outerShdw>
          </a:effectLst>
        </p:spPr>
        <p:txBody>
          <a:bodyPr wrap="none" anchor="ctr"/>
          <a:lstStyle/>
          <a:p>
            <a:pPr>
              <a:defRPr/>
            </a:pPr>
            <a:endParaRPr lang="en-US">
              <a:ea typeface="ヒラギノ角ゴ Pro W3" pitchFamily="1" charset="-128"/>
              <a:cs typeface="+mn-cs"/>
            </a:endParaRPr>
          </a:p>
        </p:txBody>
      </p:sp>
      <p:sp>
        <p:nvSpPr>
          <p:cNvPr id="6" name="Rectangle 27">
            <a:extLst>
              <a:ext uri="{FF2B5EF4-FFF2-40B4-BE49-F238E27FC236}">
                <a16:creationId xmlns:a16="http://schemas.microsoft.com/office/drawing/2014/main" id="{08A97841-E1BD-4010-B8FD-57D58C7806FC}"/>
              </a:ext>
            </a:extLst>
          </p:cNvPr>
          <p:cNvSpPr>
            <a:spLocks noChangeArrowheads="1"/>
          </p:cNvSpPr>
          <p:nvPr/>
        </p:nvSpPr>
        <p:spPr bwMode="auto">
          <a:xfrm>
            <a:off x="3933825" y="2492375"/>
            <a:ext cx="990600" cy="838200"/>
          </a:xfrm>
          <a:prstGeom prst="rect">
            <a:avLst/>
          </a:prstGeom>
          <a:solidFill>
            <a:srgbClr val="8898C4"/>
          </a:solidFill>
          <a:ln w="9525">
            <a:solidFill>
              <a:schemeClr val="tx1"/>
            </a:solidFill>
            <a:miter lim="800000"/>
            <a:headEnd/>
            <a:tailEnd/>
          </a:ln>
          <a:effectLst>
            <a:outerShdw dist="107763" dir="18900000" algn="ctr" rotWithShape="0">
              <a:schemeClr val="bg2"/>
            </a:outerShdw>
          </a:effectLst>
        </p:spPr>
        <p:txBody>
          <a:bodyPr wrap="none" anchor="ctr"/>
          <a:lstStyle/>
          <a:p>
            <a:pPr algn="ctr">
              <a:defRPr/>
            </a:pPr>
            <a:endParaRPr lang="de-DE" sz="1000" b="1" dirty="0">
              <a:ea typeface="ヒラギノ角ゴ Pro W3" pitchFamily="1" charset="-128"/>
              <a:cs typeface="+mn-cs"/>
            </a:endParaRPr>
          </a:p>
          <a:p>
            <a:pPr algn="ctr">
              <a:defRPr/>
            </a:pPr>
            <a:r>
              <a:rPr lang="de-DE" sz="1000" b="1" dirty="0">
                <a:ea typeface="ヒラギノ角ゴ Pro W3" pitchFamily="1" charset="-128"/>
                <a:cs typeface="+mn-cs"/>
              </a:rPr>
              <a:t>Image</a:t>
            </a:r>
          </a:p>
          <a:p>
            <a:pPr algn="ctr">
              <a:defRPr/>
            </a:pPr>
            <a:r>
              <a:rPr lang="de-DE" sz="1000" b="1" dirty="0">
                <a:ea typeface="ヒラギノ角ゴ Pro W3" pitchFamily="1" charset="-128"/>
                <a:cs typeface="+mn-cs"/>
              </a:rPr>
              <a:t>Enhancement</a:t>
            </a:r>
          </a:p>
          <a:p>
            <a:pPr algn="ctr">
              <a:defRPr/>
            </a:pPr>
            <a:endParaRPr lang="de-DE" sz="1000" b="1" dirty="0">
              <a:ea typeface="ヒラギノ角ゴ Pro W3" pitchFamily="1" charset="-128"/>
              <a:cs typeface="+mn-cs"/>
            </a:endParaRPr>
          </a:p>
        </p:txBody>
      </p:sp>
      <p:sp>
        <p:nvSpPr>
          <p:cNvPr id="7" name="AutoShape 28">
            <a:extLst>
              <a:ext uri="{FF2B5EF4-FFF2-40B4-BE49-F238E27FC236}">
                <a16:creationId xmlns:a16="http://schemas.microsoft.com/office/drawing/2014/main" id="{951C4CC6-6CE8-43BA-8F6B-2955EFA32FF3}"/>
              </a:ext>
            </a:extLst>
          </p:cNvPr>
          <p:cNvSpPr>
            <a:spLocks noChangeArrowheads="1"/>
          </p:cNvSpPr>
          <p:nvPr/>
        </p:nvSpPr>
        <p:spPr bwMode="auto">
          <a:xfrm rot="5400000">
            <a:off x="4886325" y="2759075"/>
            <a:ext cx="457200" cy="381000"/>
          </a:xfrm>
          <a:prstGeom prst="upArrow">
            <a:avLst>
              <a:gd name="adj1" fmla="val 50000"/>
              <a:gd name="adj2" fmla="val 25000"/>
            </a:avLst>
          </a:prstGeom>
          <a:solidFill>
            <a:srgbClr val="CCFFCC"/>
          </a:solidFill>
          <a:ln w="9525">
            <a:solidFill>
              <a:schemeClr val="tx1"/>
            </a:solidFill>
            <a:miter lim="800000"/>
            <a:headEnd/>
            <a:tailEnd/>
          </a:ln>
          <a:effectLst>
            <a:outerShdw dist="107763" dir="18900000" algn="ctr" rotWithShape="0">
              <a:schemeClr val="bg2"/>
            </a:outerShdw>
          </a:effectLst>
        </p:spPr>
        <p:txBody>
          <a:bodyPr wrap="none" anchor="ctr"/>
          <a:lstStyle/>
          <a:p>
            <a:pPr>
              <a:defRPr/>
            </a:pPr>
            <a:endParaRPr lang="en-US">
              <a:ea typeface="ヒラギノ角ゴ Pro W3" pitchFamily="1" charset="-128"/>
              <a:cs typeface="+mn-cs"/>
            </a:endParaRPr>
          </a:p>
        </p:txBody>
      </p:sp>
      <p:sp>
        <p:nvSpPr>
          <p:cNvPr id="8" name="Rectangle 29">
            <a:extLst>
              <a:ext uri="{FF2B5EF4-FFF2-40B4-BE49-F238E27FC236}">
                <a16:creationId xmlns:a16="http://schemas.microsoft.com/office/drawing/2014/main" id="{5524724A-2A55-4D52-879E-9B6C9C456A06}"/>
              </a:ext>
            </a:extLst>
          </p:cNvPr>
          <p:cNvSpPr>
            <a:spLocks noChangeArrowheads="1"/>
          </p:cNvSpPr>
          <p:nvPr/>
        </p:nvSpPr>
        <p:spPr bwMode="auto">
          <a:xfrm>
            <a:off x="5305425" y="2492375"/>
            <a:ext cx="990600" cy="838200"/>
          </a:xfrm>
          <a:prstGeom prst="rect">
            <a:avLst/>
          </a:prstGeom>
          <a:solidFill>
            <a:srgbClr val="D7E1F5"/>
          </a:solidFill>
          <a:ln w="9525">
            <a:solidFill>
              <a:schemeClr val="tx1"/>
            </a:solidFill>
            <a:miter lim="800000"/>
            <a:headEnd/>
            <a:tailEnd/>
          </a:ln>
          <a:effectLst>
            <a:outerShdw dist="107763" dir="18900000" algn="ctr" rotWithShape="0">
              <a:schemeClr val="bg2"/>
            </a:outerShdw>
          </a:effectLst>
        </p:spPr>
        <p:txBody>
          <a:bodyPr wrap="none" anchor="ctr"/>
          <a:lstStyle/>
          <a:p>
            <a:pPr algn="ctr">
              <a:defRPr/>
            </a:pPr>
            <a:r>
              <a:rPr lang="de-DE" sz="1000" b="1" dirty="0">
                <a:ea typeface="ヒラギノ角ゴ Pro W3" pitchFamily="1" charset="-128"/>
                <a:cs typeface="+mn-cs"/>
              </a:rPr>
              <a:t>Document</a:t>
            </a:r>
          </a:p>
          <a:p>
            <a:pPr algn="ctr">
              <a:defRPr/>
            </a:pPr>
            <a:r>
              <a:rPr lang="de-DE" sz="1000" b="1" dirty="0">
                <a:ea typeface="ヒラギノ角ゴ Pro W3" pitchFamily="1" charset="-128"/>
                <a:cs typeface="+mn-cs"/>
              </a:rPr>
              <a:t>Subsection</a:t>
            </a:r>
          </a:p>
          <a:p>
            <a:pPr algn="ctr">
              <a:defRPr/>
            </a:pPr>
            <a:r>
              <a:rPr lang="de-DE" sz="1000" b="1" dirty="0">
                <a:ea typeface="ヒラギノ角ゴ Pro W3" pitchFamily="1" charset="-128"/>
                <a:cs typeface="+mn-cs"/>
              </a:rPr>
              <a:t>Indexing</a:t>
            </a:r>
          </a:p>
        </p:txBody>
      </p:sp>
      <p:sp>
        <p:nvSpPr>
          <p:cNvPr id="9" name="AutoShape 30">
            <a:extLst>
              <a:ext uri="{FF2B5EF4-FFF2-40B4-BE49-F238E27FC236}">
                <a16:creationId xmlns:a16="http://schemas.microsoft.com/office/drawing/2014/main" id="{231EB72C-AE9B-46E3-984A-5FE89F6C712E}"/>
              </a:ext>
            </a:extLst>
          </p:cNvPr>
          <p:cNvSpPr>
            <a:spLocks noChangeArrowheads="1"/>
          </p:cNvSpPr>
          <p:nvPr/>
        </p:nvSpPr>
        <p:spPr bwMode="auto">
          <a:xfrm rot="5400000">
            <a:off x="6257925" y="2759075"/>
            <a:ext cx="457200" cy="381000"/>
          </a:xfrm>
          <a:prstGeom prst="upArrow">
            <a:avLst>
              <a:gd name="adj1" fmla="val 50000"/>
              <a:gd name="adj2" fmla="val 25000"/>
            </a:avLst>
          </a:prstGeom>
          <a:solidFill>
            <a:srgbClr val="CCFFCC"/>
          </a:solidFill>
          <a:ln w="9525">
            <a:solidFill>
              <a:schemeClr val="tx1"/>
            </a:solidFill>
            <a:miter lim="800000"/>
            <a:headEnd/>
            <a:tailEnd/>
          </a:ln>
          <a:effectLst>
            <a:outerShdw dist="107763" dir="18900000" algn="ctr" rotWithShape="0">
              <a:schemeClr val="bg2"/>
            </a:outerShdw>
          </a:effectLst>
        </p:spPr>
        <p:txBody>
          <a:bodyPr wrap="none" anchor="ctr"/>
          <a:lstStyle/>
          <a:p>
            <a:pPr>
              <a:defRPr/>
            </a:pPr>
            <a:endParaRPr lang="en-US">
              <a:ea typeface="ヒラギノ角ゴ Pro W3" pitchFamily="1" charset="-128"/>
              <a:cs typeface="+mn-cs"/>
            </a:endParaRPr>
          </a:p>
        </p:txBody>
      </p:sp>
      <p:sp>
        <p:nvSpPr>
          <p:cNvPr id="10" name="Rectangle 31">
            <a:extLst>
              <a:ext uri="{FF2B5EF4-FFF2-40B4-BE49-F238E27FC236}">
                <a16:creationId xmlns:a16="http://schemas.microsoft.com/office/drawing/2014/main" id="{37CFD1C7-2C06-4ACF-8E30-036190F82319}"/>
              </a:ext>
            </a:extLst>
          </p:cNvPr>
          <p:cNvSpPr>
            <a:spLocks noChangeArrowheads="1"/>
          </p:cNvSpPr>
          <p:nvPr/>
        </p:nvSpPr>
        <p:spPr bwMode="auto">
          <a:xfrm>
            <a:off x="6677025" y="2492375"/>
            <a:ext cx="990600" cy="838200"/>
          </a:xfrm>
          <a:prstGeom prst="rect">
            <a:avLst/>
          </a:prstGeom>
          <a:solidFill>
            <a:srgbClr val="8898C4"/>
          </a:solidFill>
          <a:ln w="9525">
            <a:solidFill>
              <a:schemeClr val="tx1"/>
            </a:solidFill>
            <a:miter lim="800000"/>
            <a:headEnd/>
            <a:tailEnd/>
          </a:ln>
          <a:effectLst>
            <a:outerShdw dist="107763" dir="18900000" algn="ctr" rotWithShape="0">
              <a:schemeClr val="bg2"/>
            </a:outerShdw>
          </a:effectLst>
        </p:spPr>
        <p:txBody>
          <a:bodyPr wrap="none" anchor="ctr"/>
          <a:lstStyle/>
          <a:p>
            <a:pPr algn="ctr">
              <a:defRPr/>
            </a:pPr>
            <a:r>
              <a:rPr lang="de-DE" sz="1000" b="1" dirty="0">
                <a:ea typeface="ヒラギノ角ゴ Pro W3" pitchFamily="1" charset="-128"/>
                <a:cs typeface="+mn-cs"/>
              </a:rPr>
              <a:t>Export to </a:t>
            </a:r>
          </a:p>
          <a:p>
            <a:pPr algn="ctr">
              <a:defRPr/>
            </a:pPr>
            <a:r>
              <a:rPr lang="de-DE" sz="1000" b="1" dirty="0">
                <a:ea typeface="ヒラギノ角ゴ Pro W3" pitchFamily="1" charset="-128"/>
                <a:cs typeface="+mn-cs"/>
              </a:rPr>
              <a:t>EMDS</a:t>
            </a:r>
          </a:p>
        </p:txBody>
      </p:sp>
      <p:pic>
        <p:nvPicPr>
          <p:cNvPr id="68619" name="Picture 2">
            <a:extLst>
              <a:ext uri="{FF2B5EF4-FFF2-40B4-BE49-F238E27FC236}">
                <a16:creationId xmlns:a16="http://schemas.microsoft.com/office/drawing/2014/main" id="{EDEB27CD-4B37-4594-98B9-947E4352E9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4425" y="3635375"/>
            <a:ext cx="130810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68620" name="Picture 2">
            <a:extLst>
              <a:ext uri="{FF2B5EF4-FFF2-40B4-BE49-F238E27FC236}">
                <a16:creationId xmlns:a16="http://schemas.microsoft.com/office/drawing/2014/main" id="{B70CEB9F-2306-486D-9839-7B9E92F541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04025" y="3535363"/>
            <a:ext cx="1047750" cy="183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le 1">
            <a:extLst>
              <a:ext uri="{FF2B5EF4-FFF2-40B4-BE49-F238E27FC236}">
                <a16:creationId xmlns:a16="http://schemas.microsoft.com/office/drawing/2014/main" id="{F01921D9-2EC4-4A97-812F-ED75A6C0A109}"/>
              </a:ext>
            </a:extLst>
          </p:cNvPr>
          <p:cNvSpPr txBox="1">
            <a:spLocks/>
          </p:cNvSpPr>
          <p:nvPr/>
        </p:nvSpPr>
        <p:spPr>
          <a:xfrm>
            <a:off x="533400" y="838200"/>
            <a:ext cx="8229600" cy="1143000"/>
          </a:xfrm>
          <a:prstGeom prst="rect">
            <a:avLst/>
          </a:prstGeom>
        </p:spPr>
        <p:txBody>
          <a:bodyPr/>
          <a:lstStyle/>
          <a:p>
            <a:pPr algn="ctr">
              <a:defRPr/>
            </a:pPr>
            <a:r>
              <a:rPr lang="en-US" sz="3600" kern="0">
                <a:solidFill>
                  <a:srgbClr val="00408C"/>
                </a:solidFill>
                <a:latin typeface="+mj-lt"/>
                <a:ea typeface="+mj-ea"/>
                <a:cs typeface="+mj-cs"/>
              </a:rPr>
              <a:t>WIPOScan Basic Workflow</a:t>
            </a:r>
            <a:endParaRPr lang="en-US" sz="3600" kern="0" dirty="0">
              <a:solidFill>
                <a:srgbClr val="00408C"/>
              </a:solidFill>
              <a:latin typeface="+mj-lt"/>
              <a:ea typeface="+mj-ea"/>
              <a:cs typeface="+mj-cs"/>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1" name="Picture 2">
            <a:extLst>
              <a:ext uri="{FF2B5EF4-FFF2-40B4-BE49-F238E27FC236}">
                <a16:creationId xmlns:a16="http://schemas.microsoft.com/office/drawing/2014/main" id="{749F6E6C-CB31-4A6D-B8F8-43B83C5FE2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63" y="525463"/>
            <a:ext cx="9140826" cy="619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277F66DA-9374-4446-B76A-94E77AF0B5A5}"/>
              </a:ext>
            </a:extLst>
          </p:cNvPr>
          <p:cNvSpPr/>
          <p:nvPr/>
        </p:nvSpPr>
        <p:spPr bwMode="auto">
          <a:xfrm rot="5400000">
            <a:off x="4042569" y="-2834481"/>
            <a:ext cx="504825" cy="6215063"/>
          </a:xfrm>
          <a:prstGeom prst="rect">
            <a:avLst/>
          </a:prstGeom>
          <a:solidFill>
            <a:schemeClr val="accent3"/>
          </a:solidFill>
          <a:ln>
            <a:solidFill>
              <a:schemeClr val="bg1"/>
            </a:solidFill>
          </a:ln>
          <a:effectLst/>
        </p:spPr>
        <p:txBody>
          <a:bodyPr>
            <a:spAutoFit/>
          </a:bodyPr>
          <a:lstStyle/>
          <a:p>
            <a:pPr defTabSz="914400" eaLnBrk="1" hangingPunct="1">
              <a:spcBef>
                <a:spcPct val="50000"/>
              </a:spcBef>
              <a:defRPr/>
            </a:pPr>
            <a:endParaRPr lang="en-US" sz="2400">
              <a:solidFill>
                <a:schemeClr val="tx1"/>
              </a:solidFill>
              <a:latin typeface="Arial" charset="0"/>
              <a:cs typeface="Arial" charset="0"/>
            </a:endParaRPr>
          </a:p>
        </p:txBody>
      </p:sp>
      <p:sp>
        <p:nvSpPr>
          <p:cNvPr id="5" name="Title 1">
            <a:extLst>
              <a:ext uri="{FF2B5EF4-FFF2-40B4-BE49-F238E27FC236}">
                <a16:creationId xmlns:a16="http://schemas.microsoft.com/office/drawing/2014/main" id="{FE148695-E041-46E4-A239-85C165385821}"/>
              </a:ext>
            </a:extLst>
          </p:cNvPr>
          <p:cNvSpPr txBox="1">
            <a:spLocks/>
          </p:cNvSpPr>
          <p:nvPr/>
        </p:nvSpPr>
        <p:spPr bwMode="auto">
          <a:xfrm>
            <a:off x="433388" y="-14288"/>
            <a:ext cx="8177211" cy="941388"/>
          </a:xfrm>
          <a:prstGeom prst="rect">
            <a:avLst/>
          </a:prstGeom>
          <a:noFill/>
          <a:ln>
            <a:noFill/>
          </a:ln>
        </p:spPr>
        <p:txBody>
          <a:bodyPr/>
          <a:lstStyle/>
          <a:p>
            <a:pPr algn="ctr">
              <a:defRPr/>
            </a:pPr>
            <a:r>
              <a:rPr lang="en-US" altLang="en-US" sz="3200" dirty="0">
                <a:solidFill>
                  <a:srgbClr val="00408C"/>
                </a:solidFill>
                <a:latin typeface="+mn-lt"/>
              </a:rPr>
              <a:t>Example Needs Expressed by an IP Office</a:t>
            </a:r>
            <a:endParaRPr lang="en-SG" altLang="en-US" sz="3200" dirty="0">
              <a:solidFill>
                <a:srgbClr val="00408C"/>
              </a:solidFill>
              <a:latin typeface="+mn-lt"/>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4">
            <a:extLst>
              <a:ext uri="{FF2B5EF4-FFF2-40B4-BE49-F238E27FC236}">
                <a16:creationId xmlns:a16="http://schemas.microsoft.com/office/drawing/2014/main" id="{284ED93C-2B77-40D4-A68B-B4FD7EE14794}"/>
              </a:ext>
            </a:extLst>
          </p:cNvPr>
          <p:cNvSpPr>
            <a:spLocks noChangeArrowheads="1"/>
          </p:cNvSpPr>
          <p:nvPr/>
        </p:nvSpPr>
        <p:spPr bwMode="auto">
          <a:xfrm>
            <a:off x="685800" y="1524000"/>
            <a:ext cx="7924800" cy="4419600"/>
          </a:xfrm>
          <a:prstGeom prst="rect">
            <a:avLst/>
          </a:prstGeom>
          <a:solidFill>
            <a:srgbClr val="E1E8F7"/>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marL="457200" indent="-457200">
              <a:defRPr sz="2200">
                <a:solidFill>
                  <a:schemeClr val="bg1"/>
                </a:solidFill>
                <a:latin typeface="Arial" panose="020B0604020202020204" pitchFamily="34" charset="0"/>
                <a:ea typeface="ヒラギノ角ゴ Pro W3"/>
                <a:cs typeface="ヒラギノ角ゴ Pro W3"/>
              </a:defRPr>
            </a:lvl1pPr>
            <a:lvl2pPr>
              <a:defRPr sz="2200">
                <a:solidFill>
                  <a:schemeClr val="bg1"/>
                </a:solidFill>
                <a:latin typeface="Arial" panose="020B0604020202020204" pitchFamily="34" charset="0"/>
                <a:ea typeface="ヒラギノ角ゴ Pro W3"/>
                <a:cs typeface="ヒラギノ角ゴ Pro W3"/>
              </a:defRPr>
            </a:lvl2pPr>
            <a:lvl3pPr>
              <a:defRPr sz="2200">
                <a:solidFill>
                  <a:schemeClr val="bg1"/>
                </a:solidFill>
                <a:latin typeface="Arial" panose="020B0604020202020204" pitchFamily="34" charset="0"/>
                <a:ea typeface="ヒラギノ角ゴ Pro W3"/>
                <a:cs typeface="ヒラギノ角ゴ Pro W3"/>
              </a:defRPr>
            </a:lvl3pPr>
            <a:lvl4pPr>
              <a:defRPr sz="2200">
                <a:solidFill>
                  <a:schemeClr val="bg1"/>
                </a:solidFill>
                <a:latin typeface="Arial" panose="020B0604020202020204" pitchFamily="34" charset="0"/>
                <a:ea typeface="ヒラギノ角ゴ Pro W3"/>
                <a:cs typeface="ヒラギノ角ゴ Pro W3"/>
              </a:defRPr>
            </a:lvl4pPr>
            <a:lvl5pPr>
              <a:defRPr sz="2200">
                <a:solidFill>
                  <a:schemeClr val="bg1"/>
                </a:solidFill>
                <a:latin typeface="Arial" panose="020B0604020202020204" pitchFamily="34" charset="0"/>
                <a:ea typeface="ヒラギノ角ゴ Pro W3"/>
                <a:cs typeface="ヒラギノ角ゴ Pro W3"/>
              </a:defRPr>
            </a:lvl5pPr>
            <a:lvl6pPr marL="2514600" indent="-228600" defTabSz="449263"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6pPr>
            <a:lvl7pPr marL="2971800" indent="-228600" defTabSz="449263"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7pPr>
            <a:lvl8pPr marL="3429000" indent="-228600" defTabSz="449263"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8pPr>
            <a:lvl9pPr marL="3886200" indent="-228600" defTabSz="449263"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9pPr>
          </a:lstStyle>
          <a:p>
            <a:endParaRPr lang="en-SG" altLang="en-US"/>
          </a:p>
        </p:txBody>
      </p:sp>
      <p:sp>
        <p:nvSpPr>
          <p:cNvPr id="3" name="Title 1">
            <a:extLst>
              <a:ext uri="{FF2B5EF4-FFF2-40B4-BE49-F238E27FC236}">
                <a16:creationId xmlns:a16="http://schemas.microsoft.com/office/drawing/2014/main" id="{2DA32EAC-66DC-464D-8093-18921F3DFCC7}"/>
              </a:ext>
            </a:extLst>
          </p:cNvPr>
          <p:cNvSpPr txBox="1">
            <a:spLocks/>
          </p:cNvSpPr>
          <p:nvPr/>
        </p:nvSpPr>
        <p:spPr>
          <a:xfrm>
            <a:off x="457200" y="274638"/>
            <a:ext cx="8229600" cy="1143000"/>
          </a:xfrm>
          <a:prstGeom prst="rect">
            <a:avLst/>
          </a:prstGeom>
        </p:spPr>
        <p:txBody>
          <a:bodyPr/>
          <a:lstStyle/>
          <a:p>
            <a:pPr algn="ctr">
              <a:defRPr/>
            </a:pPr>
            <a:r>
              <a:rPr lang="en-US" sz="3600" kern="0" dirty="0" err="1">
                <a:solidFill>
                  <a:srgbClr val="00408C"/>
                </a:solidFill>
                <a:latin typeface="+mj-lt"/>
                <a:ea typeface="+mj-ea"/>
                <a:cs typeface="+mj-cs"/>
              </a:rPr>
              <a:t>WIPOScan</a:t>
            </a:r>
            <a:r>
              <a:rPr lang="en-US" sz="3600" kern="0" dirty="0">
                <a:solidFill>
                  <a:srgbClr val="00408C"/>
                </a:solidFill>
                <a:latin typeface="+mj-lt"/>
                <a:ea typeface="+mj-ea"/>
                <a:cs typeface="+mj-cs"/>
              </a:rPr>
              <a:t> – Document Section Indexing e.g. Patent Document</a:t>
            </a:r>
          </a:p>
        </p:txBody>
      </p:sp>
      <p:pic>
        <p:nvPicPr>
          <p:cNvPr id="69636" name="Picture 23" descr="bsptip">
            <a:extLst>
              <a:ext uri="{FF2B5EF4-FFF2-40B4-BE49-F238E27FC236}">
                <a16:creationId xmlns:a16="http://schemas.microsoft.com/office/drawing/2014/main" id="{7FCD0A71-A0D3-46E3-84ED-7DB180DA1D9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57313" y="2041525"/>
            <a:ext cx="552450" cy="88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37" name="Picture 31" descr="ali-img9">
            <a:extLst>
              <a:ext uri="{FF2B5EF4-FFF2-40B4-BE49-F238E27FC236}">
                <a16:creationId xmlns:a16="http://schemas.microsoft.com/office/drawing/2014/main" id="{25DD7D16-341D-4087-A5DC-4759DBE599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7313" y="3248025"/>
            <a:ext cx="557212" cy="89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38" name="Picture 32" descr="ali-img10">
            <a:extLst>
              <a:ext uri="{FF2B5EF4-FFF2-40B4-BE49-F238E27FC236}">
                <a16:creationId xmlns:a16="http://schemas.microsoft.com/office/drawing/2014/main" id="{468A4F04-C0D6-4170-8F60-46FC2EA4ED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84400" y="3248025"/>
            <a:ext cx="566738"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39" name="Picture 33" descr="ali-img11">
            <a:extLst>
              <a:ext uri="{FF2B5EF4-FFF2-40B4-BE49-F238E27FC236}">
                <a16:creationId xmlns:a16="http://schemas.microsoft.com/office/drawing/2014/main" id="{A2CF3AF8-54F5-4031-8A6B-35384684D3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11488" y="3248025"/>
            <a:ext cx="552450" cy="88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40" name="Picture 34" descr="ali-img12">
            <a:extLst>
              <a:ext uri="{FF2B5EF4-FFF2-40B4-BE49-F238E27FC236}">
                <a16:creationId xmlns:a16="http://schemas.microsoft.com/office/drawing/2014/main" id="{9097E921-4F5F-45D2-B8A3-5F7C19E9946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40163" y="3248025"/>
            <a:ext cx="566737"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41" name="Picture 35" descr="img-13">
            <a:extLst>
              <a:ext uri="{FF2B5EF4-FFF2-40B4-BE49-F238E27FC236}">
                <a16:creationId xmlns:a16="http://schemas.microsoft.com/office/drawing/2014/main" id="{1A78B2C5-9371-4A43-B177-25FB299B50B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35513" y="4394200"/>
            <a:ext cx="574675"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42" name="Picture 36" descr="ali-img14">
            <a:extLst>
              <a:ext uri="{FF2B5EF4-FFF2-40B4-BE49-F238E27FC236}">
                <a16:creationId xmlns:a16="http://schemas.microsoft.com/office/drawing/2014/main" id="{F1D5CB2F-B9D3-49BF-9E17-D5929936FBD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64188" y="4394200"/>
            <a:ext cx="568325"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43" name="Picture 37" descr="ali-img15">
            <a:extLst>
              <a:ext uri="{FF2B5EF4-FFF2-40B4-BE49-F238E27FC236}">
                <a16:creationId xmlns:a16="http://schemas.microsoft.com/office/drawing/2014/main" id="{F23178C4-D804-43DF-8982-15E7B9EB0CC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91275" y="4394200"/>
            <a:ext cx="563563"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44" name="Picture 38" descr="ali-img16">
            <a:extLst>
              <a:ext uri="{FF2B5EF4-FFF2-40B4-BE49-F238E27FC236}">
                <a16:creationId xmlns:a16="http://schemas.microsoft.com/office/drawing/2014/main" id="{01A755A4-90A3-45AC-A29F-76792AFFABF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288213" y="3248025"/>
            <a:ext cx="568325"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45" name="Picture 39" descr="ali-img17">
            <a:extLst>
              <a:ext uri="{FF2B5EF4-FFF2-40B4-BE49-F238E27FC236}">
                <a16:creationId xmlns:a16="http://schemas.microsoft.com/office/drawing/2014/main" id="{E1406AB9-6DDF-4503-A331-4C30AC28F3E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91275" y="3248025"/>
            <a:ext cx="568325"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46" name="Picture 40" descr="ali-img18">
            <a:extLst>
              <a:ext uri="{FF2B5EF4-FFF2-40B4-BE49-F238E27FC236}">
                <a16:creationId xmlns:a16="http://schemas.microsoft.com/office/drawing/2014/main" id="{64B64427-D9E2-4FB1-8BD8-ADDB948F204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7250" y="3248025"/>
            <a:ext cx="566738"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47" name="Picture 41" descr="ali-img19">
            <a:extLst>
              <a:ext uri="{FF2B5EF4-FFF2-40B4-BE49-F238E27FC236}">
                <a16:creationId xmlns:a16="http://schemas.microsoft.com/office/drawing/2014/main" id="{7CD0ED75-C5B5-41AF-9B22-EF0A7C8F2B5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564188" y="3248025"/>
            <a:ext cx="565150"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48" name="Picture 42" descr="ali-img20">
            <a:extLst>
              <a:ext uri="{FF2B5EF4-FFF2-40B4-BE49-F238E27FC236}">
                <a16:creationId xmlns:a16="http://schemas.microsoft.com/office/drawing/2014/main" id="{F6FC01B6-1C4B-4488-948C-062A7FD42E7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357313" y="4394200"/>
            <a:ext cx="565150"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49" name="Picture 43" descr="ali-img21">
            <a:extLst>
              <a:ext uri="{FF2B5EF4-FFF2-40B4-BE49-F238E27FC236}">
                <a16:creationId xmlns:a16="http://schemas.microsoft.com/office/drawing/2014/main" id="{930D7BEF-E6C0-4FC0-8FAD-DA9AEC4AD1CC}"/>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84400" y="4394200"/>
            <a:ext cx="563563"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50" name="Picture 44" descr="ali-img22">
            <a:extLst>
              <a:ext uri="{FF2B5EF4-FFF2-40B4-BE49-F238E27FC236}">
                <a16:creationId xmlns:a16="http://schemas.microsoft.com/office/drawing/2014/main" id="{4D72B4DA-D059-498D-8E7D-2ECAB652F86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011488" y="4394200"/>
            <a:ext cx="568325"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51" name="Picture 45" descr="ali-img23">
            <a:extLst>
              <a:ext uri="{FF2B5EF4-FFF2-40B4-BE49-F238E27FC236}">
                <a16:creationId xmlns:a16="http://schemas.microsoft.com/office/drawing/2014/main" id="{0A4E1F5C-7737-409B-A865-6D9F941E930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840163" y="4394200"/>
            <a:ext cx="573087"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9652" name="Group 46">
            <a:extLst>
              <a:ext uri="{FF2B5EF4-FFF2-40B4-BE49-F238E27FC236}">
                <a16:creationId xmlns:a16="http://schemas.microsoft.com/office/drawing/2014/main" id="{60679795-62D6-4DD5-B822-97001B525E43}"/>
              </a:ext>
            </a:extLst>
          </p:cNvPr>
          <p:cNvGrpSpPr>
            <a:grpSpLocks/>
          </p:cNvGrpSpPr>
          <p:nvPr/>
        </p:nvGrpSpPr>
        <p:grpSpPr bwMode="auto">
          <a:xfrm>
            <a:off x="1219200" y="1981200"/>
            <a:ext cx="3276600" cy="1025525"/>
            <a:chOff x="528" y="864"/>
            <a:chExt cx="4704" cy="816"/>
          </a:xfrm>
        </p:grpSpPr>
        <p:sp>
          <p:nvSpPr>
            <p:cNvPr id="69681" name="Line 47">
              <a:extLst>
                <a:ext uri="{FF2B5EF4-FFF2-40B4-BE49-F238E27FC236}">
                  <a16:creationId xmlns:a16="http://schemas.microsoft.com/office/drawing/2014/main" id="{67F875B8-51D4-4DF3-94C5-A1FFEA810268}"/>
                </a:ext>
              </a:extLst>
            </p:cNvPr>
            <p:cNvSpPr>
              <a:spLocks noChangeShapeType="1"/>
            </p:cNvSpPr>
            <p:nvPr/>
          </p:nvSpPr>
          <p:spPr bwMode="auto">
            <a:xfrm>
              <a:off x="528" y="864"/>
              <a:ext cx="470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69682" name="Line 48">
              <a:extLst>
                <a:ext uri="{FF2B5EF4-FFF2-40B4-BE49-F238E27FC236}">
                  <a16:creationId xmlns:a16="http://schemas.microsoft.com/office/drawing/2014/main" id="{45C13D86-0427-4E31-BA74-9D533F9FF0D1}"/>
                </a:ext>
              </a:extLst>
            </p:cNvPr>
            <p:cNvSpPr>
              <a:spLocks noChangeShapeType="1"/>
            </p:cNvSpPr>
            <p:nvPr/>
          </p:nvSpPr>
          <p:spPr bwMode="auto">
            <a:xfrm flipH="1">
              <a:off x="528" y="1680"/>
              <a:ext cx="470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69683" name="Line 49">
              <a:extLst>
                <a:ext uri="{FF2B5EF4-FFF2-40B4-BE49-F238E27FC236}">
                  <a16:creationId xmlns:a16="http://schemas.microsoft.com/office/drawing/2014/main" id="{5370BFA6-B89C-49CB-BA03-911C9712A222}"/>
                </a:ext>
              </a:extLst>
            </p:cNvPr>
            <p:cNvSpPr>
              <a:spLocks noChangeShapeType="1"/>
            </p:cNvSpPr>
            <p:nvPr/>
          </p:nvSpPr>
          <p:spPr bwMode="auto">
            <a:xfrm>
              <a:off x="5232" y="864"/>
              <a:ext cx="0" cy="81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69684" name="Line 50">
              <a:extLst>
                <a:ext uri="{FF2B5EF4-FFF2-40B4-BE49-F238E27FC236}">
                  <a16:creationId xmlns:a16="http://schemas.microsoft.com/office/drawing/2014/main" id="{C9BF7754-F61C-4E41-93B4-174A84D076CF}"/>
                </a:ext>
              </a:extLst>
            </p:cNvPr>
            <p:cNvSpPr>
              <a:spLocks noChangeShapeType="1"/>
            </p:cNvSpPr>
            <p:nvPr/>
          </p:nvSpPr>
          <p:spPr bwMode="auto">
            <a:xfrm>
              <a:off x="528" y="864"/>
              <a:ext cx="0" cy="81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grpSp>
      <p:grpSp>
        <p:nvGrpSpPr>
          <p:cNvPr id="69653" name="Group 51">
            <a:extLst>
              <a:ext uri="{FF2B5EF4-FFF2-40B4-BE49-F238E27FC236}">
                <a16:creationId xmlns:a16="http://schemas.microsoft.com/office/drawing/2014/main" id="{B41E947F-33D2-4BF5-AE42-6C54F0D673E5}"/>
              </a:ext>
            </a:extLst>
          </p:cNvPr>
          <p:cNvGrpSpPr>
            <a:grpSpLocks/>
          </p:cNvGrpSpPr>
          <p:nvPr/>
        </p:nvGrpSpPr>
        <p:grpSpPr bwMode="auto">
          <a:xfrm>
            <a:off x="1219200" y="3127375"/>
            <a:ext cx="6757988" cy="2292350"/>
            <a:chOff x="528" y="1776"/>
            <a:chExt cx="4704" cy="1824"/>
          </a:xfrm>
        </p:grpSpPr>
        <p:sp>
          <p:nvSpPr>
            <p:cNvPr id="69674" name="Line 52">
              <a:extLst>
                <a:ext uri="{FF2B5EF4-FFF2-40B4-BE49-F238E27FC236}">
                  <a16:creationId xmlns:a16="http://schemas.microsoft.com/office/drawing/2014/main" id="{7C18721B-5515-4FCD-87B0-0650CB6552BC}"/>
                </a:ext>
              </a:extLst>
            </p:cNvPr>
            <p:cNvSpPr>
              <a:spLocks noChangeShapeType="1"/>
            </p:cNvSpPr>
            <p:nvPr/>
          </p:nvSpPr>
          <p:spPr bwMode="auto">
            <a:xfrm flipV="1">
              <a:off x="528" y="1776"/>
              <a:ext cx="0" cy="864"/>
            </a:xfrm>
            <a:prstGeom prst="line">
              <a:avLst/>
            </a:prstGeom>
            <a:noFill/>
            <a:ln w="38100">
              <a:solidFill>
                <a:srgbClr val="CE6700"/>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69675" name="Line 53">
              <a:extLst>
                <a:ext uri="{FF2B5EF4-FFF2-40B4-BE49-F238E27FC236}">
                  <a16:creationId xmlns:a16="http://schemas.microsoft.com/office/drawing/2014/main" id="{B323E366-DB4A-4C5F-A736-9134A2534A82}"/>
                </a:ext>
              </a:extLst>
            </p:cNvPr>
            <p:cNvSpPr>
              <a:spLocks noChangeShapeType="1"/>
            </p:cNvSpPr>
            <p:nvPr/>
          </p:nvSpPr>
          <p:spPr bwMode="auto">
            <a:xfrm>
              <a:off x="528" y="1776"/>
              <a:ext cx="4704" cy="0"/>
            </a:xfrm>
            <a:prstGeom prst="line">
              <a:avLst/>
            </a:prstGeom>
            <a:noFill/>
            <a:ln w="38100">
              <a:solidFill>
                <a:srgbClr val="CE6700"/>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69676" name="Line 54">
              <a:extLst>
                <a:ext uri="{FF2B5EF4-FFF2-40B4-BE49-F238E27FC236}">
                  <a16:creationId xmlns:a16="http://schemas.microsoft.com/office/drawing/2014/main" id="{1C7C7355-E2F8-4762-92D2-ED7BE1645D0D}"/>
                </a:ext>
              </a:extLst>
            </p:cNvPr>
            <p:cNvSpPr>
              <a:spLocks noChangeShapeType="1"/>
            </p:cNvSpPr>
            <p:nvPr/>
          </p:nvSpPr>
          <p:spPr bwMode="auto">
            <a:xfrm>
              <a:off x="5232" y="1776"/>
              <a:ext cx="0" cy="864"/>
            </a:xfrm>
            <a:prstGeom prst="line">
              <a:avLst/>
            </a:prstGeom>
            <a:noFill/>
            <a:ln w="38100">
              <a:solidFill>
                <a:srgbClr val="CE6700"/>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69677" name="Line 55">
              <a:extLst>
                <a:ext uri="{FF2B5EF4-FFF2-40B4-BE49-F238E27FC236}">
                  <a16:creationId xmlns:a16="http://schemas.microsoft.com/office/drawing/2014/main" id="{8C770485-BE62-48F1-B401-5D6A0310C3C7}"/>
                </a:ext>
              </a:extLst>
            </p:cNvPr>
            <p:cNvSpPr>
              <a:spLocks noChangeShapeType="1"/>
            </p:cNvSpPr>
            <p:nvPr/>
          </p:nvSpPr>
          <p:spPr bwMode="auto">
            <a:xfrm>
              <a:off x="2832" y="2640"/>
              <a:ext cx="2400" cy="0"/>
            </a:xfrm>
            <a:prstGeom prst="line">
              <a:avLst/>
            </a:prstGeom>
            <a:noFill/>
            <a:ln w="38100">
              <a:solidFill>
                <a:srgbClr val="CE6700"/>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69678" name="Line 56">
              <a:extLst>
                <a:ext uri="{FF2B5EF4-FFF2-40B4-BE49-F238E27FC236}">
                  <a16:creationId xmlns:a16="http://schemas.microsoft.com/office/drawing/2014/main" id="{369828E7-AA50-41AD-8535-250C7B2333CF}"/>
                </a:ext>
              </a:extLst>
            </p:cNvPr>
            <p:cNvSpPr>
              <a:spLocks noChangeShapeType="1"/>
            </p:cNvSpPr>
            <p:nvPr/>
          </p:nvSpPr>
          <p:spPr bwMode="auto">
            <a:xfrm>
              <a:off x="2832" y="2640"/>
              <a:ext cx="0" cy="960"/>
            </a:xfrm>
            <a:prstGeom prst="line">
              <a:avLst/>
            </a:prstGeom>
            <a:noFill/>
            <a:ln w="38100">
              <a:solidFill>
                <a:srgbClr val="CE6700"/>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69679" name="Line 57">
              <a:extLst>
                <a:ext uri="{FF2B5EF4-FFF2-40B4-BE49-F238E27FC236}">
                  <a16:creationId xmlns:a16="http://schemas.microsoft.com/office/drawing/2014/main" id="{DFF8B0FB-60CE-46CF-A63C-8F4E9B4EF6E9}"/>
                </a:ext>
              </a:extLst>
            </p:cNvPr>
            <p:cNvSpPr>
              <a:spLocks noChangeShapeType="1"/>
            </p:cNvSpPr>
            <p:nvPr/>
          </p:nvSpPr>
          <p:spPr bwMode="auto">
            <a:xfrm flipH="1">
              <a:off x="528" y="3600"/>
              <a:ext cx="2304" cy="0"/>
            </a:xfrm>
            <a:prstGeom prst="line">
              <a:avLst/>
            </a:prstGeom>
            <a:noFill/>
            <a:ln w="38100">
              <a:solidFill>
                <a:srgbClr val="CE6700"/>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69680" name="Line 58">
              <a:extLst>
                <a:ext uri="{FF2B5EF4-FFF2-40B4-BE49-F238E27FC236}">
                  <a16:creationId xmlns:a16="http://schemas.microsoft.com/office/drawing/2014/main" id="{A4506169-272F-4B9F-9853-7B3E555FD4FA}"/>
                </a:ext>
              </a:extLst>
            </p:cNvPr>
            <p:cNvSpPr>
              <a:spLocks noChangeShapeType="1"/>
            </p:cNvSpPr>
            <p:nvPr/>
          </p:nvSpPr>
          <p:spPr bwMode="auto">
            <a:xfrm flipV="1">
              <a:off x="528" y="2640"/>
              <a:ext cx="0" cy="960"/>
            </a:xfrm>
            <a:prstGeom prst="line">
              <a:avLst/>
            </a:prstGeom>
            <a:noFill/>
            <a:ln w="38100">
              <a:solidFill>
                <a:srgbClr val="CE6700"/>
              </a:solidFill>
              <a:round/>
              <a:headEnd/>
              <a:tailEnd/>
            </a:ln>
            <a:extLst>
              <a:ext uri="{909E8E84-426E-40DD-AFC4-6F175D3DCCD1}">
                <a14:hiddenFill xmlns:a14="http://schemas.microsoft.com/office/drawing/2010/main">
                  <a:noFill/>
                </a14:hiddenFill>
              </a:ext>
            </a:extLst>
          </p:spPr>
          <p:txBody>
            <a:bodyPr/>
            <a:lstStyle/>
            <a:p>
              <a:endParaRPr lang="en-GB"/>
            </a:p>
          </p:txBody>
        </p:sp>
      </p:grpSp>
      <p:grpSp>
        <p:nvGrpSpPr>
          <p:cNvPr id="69654" name="Group 59">
            <a:extLst>
              <a:ext uri="{FF2B5EF4-FFF2-40B4-BE49-F238E27FC236}">
                <a16:creationId xmlns:a16="http://schemas.microsoft.com/office/drawing/2014/main" id="{BA567A00-435D-43A2-982F-BCD5321E6781}"/>
              </a:ext>
            </a:extLst>
          </p:cNvPr>
          <p:cNvGrpSpPr>
            <a:grpSpLocks/>
          </p:cNvGrpSpPr>
          <p:nvPr/>
        </p:nvGrpSpPr>
        <p:grpSpPr bwMode="auto">
          <a:xfrm>
            <a:off x="4667250" y="4333875"/>
            <a:ext cx="3333750" cy="1085850"/>
            <a:chOff x="2928" y="2736"/>
            <a:chExt cx="1680" cy="864"/>
          </a:xfrm>
        </p:grpSpPr>
        <p:sp>
          <p:nvSpPr>
            <p:cNvPr id="69670" name="Line 60">
              <a:extLst>
                <a:ext uri="{FF2B5EF4-FFF2-40B4-BE49-F238E27FC236}">
                  <a16:creationId xmlns:a16="http://schemas.microsoft.com/office/drawing/2014/main" id="{D88CC99D-1709-446C-90F7-BC42D1E5DC78}"/>
                </a:ext>
              </a:extLst>
            </p:cNvPr>
            <p:cNvSpPr>
              <a:spLocks noChangeShapeType="1"/>
            </p:cNvSpPr>
            <p:nvPr/>
          </p:nvSpPr>
          <p:spPr bwMode="auto">
            <a:xfrm>
              <a:off x="2928" y="2736"/>
              <a:ext cx="0" cy="86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69671" name="Line 61">
              <a:extLst>
                <a:ext uri="{FF2B5EF4-FFF2-40B4-BE49-F238E27FC236}">
                  <a16:creationId xmlns:a16="http://schemas.microsoft.com/office/drawing/2014/main" id="{DFEBB994-CC57-4842-8916-BF3CB63FDC79}"/>
                </a:ext>
              </a:extLst>
            </p:cNvPr>
            <p:cNvSpPr>
              <a:spLocks noChangeShapeType="1"/>
            </p:cNvSpPr>
            <p:nvPr/>
          </p:nvSpPr>
          <p:spPr bwMode="auto">
            <a:xfrm>
              <a:off x="2928" y="3600"/>
              <a:ext cx="168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69672" name="Line 62">
              <a:extLst>
                <a:ext uri="{FF2B5EF4-FFF2-40B4-BE49-F238E27FC236}">
                  <a16:creationId xmlns:a16="http://schemas.microsoft.com/office/drawing/2014/main" id="{4A0226A7-7746-4592-A706-C91BB8513D8E}"/>
                </a:ext>
              </a:extLst>
            </p:cNvPr>
            <p:cNvSpPr>
              <a:spLocks noChangeShapeType="1"/>
            </p:cNvSpPr>
            <p:nvPr/>
          </p:nvSpPr>
          <p:spPr bwMode="auto">
            <a:xfrm flipV="1">
              <a:off x="4608" y="2736"/>
              <a:ext cx="0" cy="86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69673" name="Line 63">
              <a:extLst>
                <a:ext uri="{FF2B5EF4-FFF2-40B4-BE49-F238E27FC236}">
                  <a16:creationId xmlns:a16="http://schemas.microsoft.com/office/drawing/2014/main" id="{63D5DC88-3AD4-47CC-A3F3-957082EE2344}"/>
                </a:ext>
              </a:extLst>
            </p:cNvPr>
            <p:cNvSpPr>
              <a:spLocks noChangeShapeType="1"/>
            </p:cNvSpPr>
            <p:nvPr/>
          </p:nvSpPr>
          <p:spPr bwMode="auto">
            <a:xfrm>
              <a:off x="2928" y="2736"/>
              <a:ext cx="168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grpSp>
      <p:sp>
        <p:nvSpPr>
          <p:cNvPr id="69655" name="Text Box 64">
            <a:extLst>
              <a:ext uri="{FF2B5EF4-FFF2-40B4-BE49-F238E27FC236}">
                <a16:creationId xmlns:a16="http://schemas.microsoft.com/office/drawing/2014/main" id="{7328F85E-352E-48EF-B78A-AD4C2E7DC6A1}"/>
              </a:ext>
            </a:extLst>
          </p:cNvPr>
          <p:cNvSpPr txBox="1">
            <a:spLocks noChangeArrowheads="1"/>
          </p:cNvSpPr>
          <p:nvPr/>
        </p:nvSpPr>
        <p:spPr bwMode="auto">
          <a:xfrm>
            <a:off x="2874963" y="2268538"/>
            <a:ext cx="295116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US" altLang="en-US"/>
          </a:p>
        </p:txBody>
      </p:sp>
      <p:sp>
        <p:nvSpPr>
          <p:cNvPr id="69656" name="Text Box 65">
            <a:extLst>
              <a:ext uri="{FF2B5EF4-FFF2-40B4-BE49-F238E27FC236}">
                <a16:creationId xmlns:a16="http://schemas.microsoft.com/office/drawing/2014/main" id="{952492A0-175F-4F6B-B29B-28D985B6AAC6}"/>
              </a:ext>
            </a:extLst>
          </p:cNvPr>
          <p:cNvSpPr txBox="1">
            <a:spLocks noChangeArrowheads="1"/>
          </p:cNvSpPr>
          <p:nvPr/>
        </p:nvSpPr>
        <p:spPr bwMode="auto">
          <a:xfrm>
            <a:off x="1447800" y="2286000"/>
            <a:ext cx="2971800" cy="400050"/>
          </a:xfrm>
          <a:prstGeom prst="rect">
            <a:avLst/>
          </a:prstGeom>
          <a:solidFill>
            <a:srgbClr val="667BB4"/>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de-AT" altLang="en-US" sz="2000"/>
              <a:t>BIBLIOGRAPHIC DATA</a:t>
            </a:r>
            <a:endParaRPr lang="de-DE" altLang="en-US" sz="2000"/>
          </a:p>
        </p:txBody>
      </p:sp>
      <p:sp>
        <p:nvSpPr>
          <p:cNvPr id="69657" name="Text Box 66">
            <a:extLst>
              <a:ext uri="{FF2B5EF4-FFF2-40B4-BE49-F238E27FC236}">
                <a16:creationId xmlns:a16="http://schemas.microsoft.com/office/drawing/2014/main" id="{C4885C5C-FBBF-4BF3-A3E5-7B6232C761A7}"/>
              </a:ext>
            </a:extLst>
          </p:cNvPr>
          <p:cNvSpPr txBox="1">
            <a:spLocks noChangeArrowheads="1"/>
          </p:cNvSpPr>
          <p:nvPr/>
        </p:nvSpPr>
        <p:spPr bwMode="auto">
          <a:xfrm>
            <a:off x="3143250" y="3500438"/>
            <a:ext cx="2000250" cy="400050"/>
          </a:xfrm>
          <a:prstGeom prst="rect">
            <a:avLst/>
          </a:prstGeom>
          <a:solidFill>
            <a:srgbClr val="CE67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de-AT" altLang="en-US" sz="2000"/>
              <a:t>DESCRIPTION</a:t>
            </a:r>
            <a:endParaRPr lang="de-DE" altLang="en-US" sz="2000"/>
          </a:p>
        </p:txBody>
      </p:sp>
      <p:sp>
        <p:nvSpPr>
          <p:cNvPr id="69658" name="Text Box 67">
            <a:extLst>
              <a:ext uri="{FF2B5EF4-FFF2-40B4-BE49-F238E27FC236}">
                <a16:creationId xmlns:a16="http://schemas.microsoft.com/office/drawing/2014/main" id="{6FC9AC15-6B7E-4513-8ECB-D1C63090BB44}"/>
              </a:ext>
            </a:extLst>
          </p:cNvPr>
          <p:cNvSpPr txBox="1">
            <a:spLocks noChangeArrowheads="1"/>
          </p:cNvSpPr>
          <p:nvPr/>
        </p:nvSpPr>
        <p:spPr bwMode="auto">
          <a:xfrm>
            <a:off x="5303838" y="4640263"/>
            <a:ext cx="1139825" cy="400050"/>
          </a:xfrm>
          <a:prstGeom prst="rect">
            <a:avLst/>
          </a:prstGeom>
          <a:solidFill>
            <a:srgbClr val="667BB4"/>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de-AT" altLang="en-US" sz="2000"/>
              <a:t>CLAIMS</a:t>
            </a:r>
            <a:endParaRPr lang="de-DE" altLang="en-US" sz="2000"/>
          </a:p>
        </p:txBody>
      </p:sp>
      <p:pic>
        <p:nvPicPr>
          <p:cNvPr id="69659" name="Picture 24" descr="ali-img2">
            <a:extLst>
              <a:ext uri="{FF2B5EF4-FFF2-40B4-BE49-F238E27FC236}">
                <a16:creationId xmlns:a16="http://schemas.microsoft.com/office/drawing/2014/main" id="{FC6557C6-18A8-4911-AB14-7BA454F6B76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876800" y="2057400"/>
            <a:ext cx="56515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60" name="Picture 28" descr="ali-img6">
            <a:extLst>
              <a:ext uri="{FF2B5EF4-FFF2-40B4-BE49-F238E27FC236}">
                <a16:creationId xmlns:a16="http://schemas.microsoft.com/office/drawing/2014/main" id="{A5C8FEB7-EBD7-4E09-A8CE-085B5E88D75E}"/>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715000" y="2057400"/>
            <a:ext cx="547688" cy="88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61" name="Picture 29" descr="ali-img7">
            <a:extLst>
              <a:ext uri="{FF2B5EF4-FFF2-40B4-BE49-F238E27FC236}">
                <a16:creationId xmlns:a16="http://schemas.microsoft.com/office/drawing/2014/main" id="{868D9C67-23FF-461E-A53D-D6C0C90F4502}"/>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477000" y="2057400"/>
            <a:ext cx="569913"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62" name="Picture 30" descr="ali-img8">
            <a:extLst>
              <a:ext uri="{FF2B5EF4-FFF2-40B4-BE49-F238E27FC236}">
                <a16:creationId xmlns:a16="http://schemas.microsoft.com/office/drawing/2014/main" id="{32873D30-89F6-4A7C-A8BB-87A066EA189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288213" y="2041525"/>
            <a:ext cx="569912"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9663" name="Group 59">
            <a:extLst>
              <a:ext uri="{FF2B5EF4-FFF2-40B4-BE49-F238E27FC236}">
                <a16:creationId xmlns:a16="http://schemas.microsoft.com/office/drawing/2014/main" id="{CAA93D98-4FC8-4C84-BF98-BA3A3E9BE546}"/>
              </a:ext>
            </a:extLst>
          </p:cNvPr>
          <p:cNvGrpSpPr>
            <a:grpSpLocks/>
          </p:cNvGrpSpPr>
          <p:nvPr/>
        </p:nvGrpSpPr>
        <p:grpSpPr bwMode="auto">
          <a:xfrm>
            <a:off x="4648200" y="1981200"/>
            <a:ext cx="3333750" cy="1066800"/>
            <a:chOff x="2928" y="2736"/>
            <a:chExt cx="1680" cy="864"/>
          </a:xfrm>
        </p:grpSpPr>
        <p:sp>
          <p:nvSpPr>
            <p:cNvPr id="69666" name="Line 60">
              <a:extLst>
                <a:ext uri="{FF2B5EF4-FFF2-40B4-BE49-F238E27FC236}">
                  <a16:creationId xmlns:a16="http://schemas.microsoft.com/office/drawing/2014/main" id="{A0797459-5D57-4978-8DCC-501B132998FC}"/>
                </a:ext>
              </a:extLst>
            </p:cNvPr>
            <p:cNvSpPr>
              <a:spLocks noChangeShapeType="1"/>
            </p:cNvSpPr>
            <p:nvPr/>
          </p:nvSpPr>
          <p:spPr bwMode="auto">
            <a:xfrm>
              <a:off x="2928" y="2736"/>
              <a:ext cx="0" cy="86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69667" name="Line 61">
              <a:extLst>
                <a:ext uri="{FF2B5EF4-FFF2-40B4-BE49-F238E27FC236}">
                  <a16:creationId xmlns:a16="http://schemas.microsoft.com/office/drawing/2014/main" id="{9F31EEE9-9D17-4657-9401-597378BDDA08}"/>
                </a:ext>
              </a:extLst>
            </p:cNvPr>
            <p:cNvSpPr>
              <a:spLocks noChangeShapeType="1"/>
            </p:cNvSpPr>
            <p:nvPr/>
          </p:nvSpPr>
          <p:spPr bwMode="auto">
            <a:xfrm>
              <a:off x="2928" y="3600"/>
              <a:ext cx="168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69668" name="Line 62">
              <a:extLst>
                <a:ext uri="{FF2B5EF4-FFF2-40B4-BE49-F238E27FC236}">
                  <a16:creationId xmlns:a16="http://schemas.microsoft.com/office/drawing/2014/main" id="{7AF0C059-BC98-4809-BF06-12C45F356691}"/>
                </a:ext>
              </a:extLst>
            </p:cNvPr>
            <p:cNvSpPr>
              <a:spLocks noChangeShapeType="1"/>
            </p:cNvSpPr>
            <p:nvPr/>
          </p:nvSpPr>
          <p:spPr bwMode="auto">
            <a:xfrm flipV="1">
              <a:off x="4608" y="2736"/>
              <a:ext cx="0" cy="86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69669" name="Line 63">
              <a:extLst>
                <a:ext uri="{FF2B5EF4-FFF2-40B4-BE49-F238E27FC236}">
                  <a16:creationId xmlns:a16="http://schemas.microsoft.com/office/drawing/2014/main" id="{C71F9B53-69D2-49C7-A41E-FC6E78D703D5}"/>
                </a:ext>
              </a:extLst>
            </p:cNvPr>
            <p:cNvSpPr>
              <a:spLocks noChangeShapeType="1"/>
            </p:cNvSpPr>
            <p:nvPr/>
          </p:nvSpPr>
          <p:spPr bwMode="auto">
            <a:xfrm>
              <a:off x="2928" y="2736"/>
              <a:ext cx="168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grpSp>
      <p:sp>
        <p:nvSpPr>
          <p:cNvPr id="69664" name="Text Box 66">
            <a:extLst>
              <a:ext uri="{FF2B5EF4-FFF2-40B4-BE49-F238E27FC236}">
                <a16:creationId xmlns:a16="http://schemas.microsoft.com/office/drawing/2014/main" id="{5BA0A0C6-47F4-418B-B257-912385849A68}"/>
              </a:ext>
            </a:extLst>
          </p:cNvPr>
          <p:cNvSpPr txBox="1">
            <a:spLocks noChangeArrowheads="1"/>
          </p:cNvSpPr>
          <p:nvPr/>
        </p:nvSpPr>
        <p:spPr bwMode="auto">
          <a:xfrm>
            <a:off x="5486400" y="2286000"/>
            <a:ext cx="1600200" cy="400050"/>
          </a:xfrm>
          <a:prstGeom prst="rect">
            <a:avLst/>
          </a:prstGeom>
          <a:solidFill>
            <a:srgbClr val="CE67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de-AT" altLang="en-US" sz="2000"/>
              <a:t>DRAWINGS</a:t>
            </a:r>
            <a:endParaRPr lang="de-DE" altLang="en-US" sz="2000"/>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itle 1">
            <a:extLst>
              <a:ext uri="{FF2B5EF4-FFF2-40B4-BE49-F238E27FC236}">
                <a16:creationId xmlns:a16="http://schemas.microsoft.com/office/drawing/2014/main" id="{637581FB-885A-4EFE-A8B5-D7A87B9467E9}"/>
              </a:ext>
            </a:extLst>
          </p:cNvPr>
          <p:cNvSpPr>
            <a:spLocks noGrp="1" noChangeArrowheads="1"/>
          </p:cNvSpPr>
          <p:nvPr>
            <p:ph type="title"/>
          </p:nvPr>
        </p:nvSpPr>
        <p:spPr/>
        <p:txBody>
          <a:bodyPr/>
          <a:lstStyle/>
          <a:p>
            <a:r>
              <a:rPr lang="en-GB" altLang="en-US"/>
              <a:t>Fully customizable and configurable</a:t>
            </a:r>
          </a:p>
        </p:txBody>
      </p:sp>
      <p:pic>
        <p:nvPicPr>
          <p:cNvPr id="70660" name="Picture 3">
            <a:extLst>
              <a:ext uri="{FF2B5EF4-FFF2-40B4-BE49-F238E27FC236}">
                <a16:creationId xmlns:a16="http://schemas.microsoft.com/office/drawing/2014/main" id="{2C0285FA-A034-4B81-97BE-E73DA57398C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8000" y="1344613"/>
            <a:ext cx="8128000" cy="37449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Title 1">
            <a:extLst>
              <a:ext uri="{FF2B5EF4-FFF2-40B4-BE49-F238E27FC236}">
                <a16:creationId xmlns:a16="http://schemas.microsoft.com/office/drawing/2014/main" id="{DB93EFE9-936F-47A5-A360-056DC15D935C}"/>
              </a:ext>
            </a:extLst>
          </p:cNvPr>
          <p:cNvSpPr>
            <a:spLocks noGrp="1" noChangeArrowheads="1"/>
          </p:cNvSpPr>
          <p:nvPr>
            <p:ph type="title"/>
          </p:nvPr>
        </p:nvSpPr>
        <p:spPr>
          <a:xfrm>
            <a:off x="458788" y="-9525"/>
            <a:ext cx="8226425" cy="939800"/>
          </a:xfrm>
        </p:spPr>
        <p:txBody>
          <a:bodyPr/>
          <a:lstStyle/>
          <a:p>
            <a:r>
              <a:rPr lang="en-GB" altLang="en-US"/>
              <a:t>Fully customizable and configurable</a:t>
            </a:r>
          </a:p>
        </p:txBody>
      </p:sp>
      <p:pic>
        <p:nvPicPr>
          <p:cNvPr id="71683" name="Content Placeholder 7">
            <a:extLst>
              <a:ext uri="{FF2B5EF4-FFF2-40B4-BE49-F238E27FC236}">
                <a16:creationId xmlns:a16="http://schemas.microsoft.com/office/drawing/2014/main" id="{8A25EFE0-34E2-4833-8444-0423308DF8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06680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706" name="Content Placeholder 7">
            <a:extLst>
              <a:ext uri="{FF2B5EF4-FFF2-40B4-BE49-F238E27FC236}">
                <a16:creationId xmlns:a16="http://schemas.microsoft.com/office/drawing/2014/main" id="{E25DF9C8-C549-4135-B5AD-F629D239C05C}"/>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0" y="1417638"/>
            <a:ext cx="9144000" cy="5440362"/>
          </a:xfrm>
        </p:spPr>
      </p:pic>
      <p:sp>
        <p:nvSpPr>
          <p:cNvPr id="9" name="Rectangle: Rounded Corners 8">
            <a:extLst>
              <a:ext uri="{FF2B5EF4-FFF2-40B4-BE49-F238E27FC236}">
                <a16:creationId xmlns:a16="http://schemas.microsoft.com/office/drawing/2014/main" id="{42763F42-2978-4222-B565-AA294C7A2EBE}"/>
              </a:ext>
            </a:extLst>
          </p:cNvPr>
          <p:cNvSpPr/>
          <p:nvPr/>
        </p:nvSpPr>
        <p:spPr bwMode="auto">
          <a:xfrm>
            <a:off x="1187450" y="2636838"/>
            <a:ext cx="863600" cy="215900"/>
          </a:xfrm>
          <a:prstGeom prst="roundRect">
            <a:avLst/>
          </a:prstGeom>
          <a:noFill/>
          <a:ln>
            <a:solidFill>
              <a:srgbClr val="FF0000"/>
            </a:solidFill>
          </a:ln>
        </p:spPr>
        <p:style>
          <a:lnRef idx="2">
            <a:schemeClr val="accent2"/>
          </a:lnRef>
          <a:fillRef idx="1">
            <a:schemeClr val="lt1"/>
          </a:fillRef>
          <a:effectRef idx="0">
            <a:schemeClr val="accent2"/>
          </a:effectRef>
          <a:fontRef idx="minor">
            <a:schemeClr val="dk1"/>
          </a:fontRef>
        </p:style>
        <p:txBody>
          <a:bodyPr>
            <a:spAutoFit/>
          </a:bodyPr>
          <a:lstStyle/>
          <a:p>
            <a:pPr defTabSz="914400" eaLnBrk="1" hangingPunct="1">
              <a:spcBef>
                <a:spcPct val="50000"/>
              </a:spcBef>
              <a:defRPr/>
            </a:pPr>
            <a:endParaRPr lang="en-CH" sz="2400">
              <a:solidFill>
                <a:schemeClr val="tx1"/>
              </a:solidFill>
              <a:cs typeface="Arial" charset="0"/>
            </a:endParaRPr>
          </a:p>
        </p:txBody>
      </p:sp>
      <p:sp>
        <p:nvSpPr>
          <p:cNvPr id="72708" name="TextBox 9">
            <a:extLst>
              <a:ext uri="{FF2B5EF4-FFF2-40B4-BE49-F238E27FC236}">
                <a16:creationId xmlns:a16="http://schemas.microsoft.com/office/drawing/2014/main" id="{6A44BF59-B4A8-4117-A26C-B39013DF9D2A}"/>
              </a:ext>
            </a:extLst>
          </p:cNvPr>
          <p:cNvSpPr txBox="1">
            <a:spLocks noChangeArrowheads="1"/>
          </p:cNvSpPr>
          <p:nvPr/>
        </p:nvSpPr>
        <p:spPr bwMode="auto">
          <a:xfrm>
            <a:off x="2051050" y="1989138"/>
            <a:ext cx="12588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1400" b="1">
                <a:solidFill>
                  <a:srgbClr val="FF0000"/>
                </a:solidFill>
              </a:rPr>
              <a:t>Search Term</a:t>
            </a:r>
            <a:endParaRPr lang="en-CH" altLang="en-US" sz="1400" b="1">
              <a:solidFill>
                <a:srgbClr val="FF0000"/>
              </a:solidFill>
            </a:endParaRPr>
          </a:p>
        </p:txBody>
      </p:sp>
      <p:cxnSp>
        <p:nvCxnSpPr>
          <p:cNvPr id="12" name="Straight Arrow Connector 11">
            <a:extLst>
              <a:ext uri="{FF2B5EF4-FFF2-40B4-BE49-F238E27FC236}">
                <a16:creationId xmlns:a16="http://schemas.microsoft.com/office/drawing/2014/main" id="{824A03C5-5819-4D60-81B6-7BF96ABE738B}"/>
              </a:ext>
            </a:extLst>
          </p:cNvPr>
          <p:cNvCxnSpPr/>
          <p:nvPr/>
        </p:nvCxnSpPr>
        <p:spPr bwMode="auto">
          <a:xfrm flipH="1">
            <a:off x="1979613" y="2297113"/>
            <a:ext cx="288925" cy="268287"/>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11" name="Title 1">
            <a:extLst>
              <a:ext uri="{FF2B5EF4-FFF2-40B4-BE49-F238E27FC236}">
                <a16:creationId xmlns:a16="http://schemas.microsoft.com/office/drawing/2014/main" id="{64F62C9A-CC78-4D0F-8B36-7C8BAFCFADC8}"/>
              </a:ext>
            </a:extLst>
          </p:cNvPr>
          <p:cNvSpPr txBox="1">
            <a:spLocks/>
          </p:cNvSpPr>
          <p:nvPr/>
        </p:nvSpPr>
        <p:spPr bwMode="auto">
          <a:xfrm>
            <a:off x="152400" y="277813"/>
            <a:ext cx="8228013" cy="939800"/>
          </a:xfrm>
          <a:prstGeom prst="rect">
            <a:avLst/>
          </a:prstGeom>
          <a:noFill/>
          <a:ln>
            <a:noFill/>
          </a:ln>
          <a:effectLst/>
        </p:spPr>
        <p:txBody>
          <a:bodyPr lIns="90000" tIns="46800" rIns="90000" bIns="46800" anchor="ctr"/>
          <a:lstStyle>
            <a:lvl1pPr algn="l" defTabSz="449263" rtl="0" eaLnBrk="0" fontAlgn="base" hangingPunct="0">
              <a:spcBef>
                <a:spcPct val="0"/>
              </a:spcBef>
              <a:spcAft>
                <a:spcPct val="0"/>
              </a:spcAft>
              <a:buClr>
                <a:srgbClr val="000000"/>
              </a:buClr>
              <a:buSzPct val="100000"/>
              <a:buFont typeface="Times New Roman" panose="02020603050405020304" pitchFamily="18" charset="0"/>
              <a:defRPr sz="3600">
                <a:solidFill>
                  <a:srgbClr val="00408C"/>
                </a:solidFill>
                <a:latin typeface="+mj-lt"/>
                <a:ea typeface="Arial Unicode MS" pitchFamily="34" charset="-128"/>
                <a:cs typeface="+mj-cs"/>
              </a:defRPr>
            </a:lvl1pPr>
            <a:lvl2pPr algn="l" defTabSz="449263" rtl="0" eaLnBrk="0" fontAlgn="base" hangingPunct="0">
              <a:spcBef>
                <a:spcPct val="0"/>
              </a:spcBef>
              <a:spcAft>
                <a:spcPct val="0"/>
              </a:spcAft>
              <a:buClr>
                <a:srgbClr val="000000"/>
              </a:buClr>
              <a:buSzPct val="100000"/>
              <a:buFont typeface="Times New Roman" panose="02020603050405020304" pitchFamily="18" charset="0"/>
              <a:defRPr sz="3600">
                <a:solidFill>
                  <a:srgbClr val="00408C"/>
                </a:solidFill>
                <a:latin typeface="Arial" charset="0"/>
                <a:ea typeface="Arial Unicode MS" pitchFamily="34" charset="-128"/>
                <a:cs typeface="Arial Unicode MS" charset="0"/>
              </a:defRPr>
            </a:lvl2pPr>
            <a:lvl3pPr algn="l" defTabSz="449263" rtl="0" eaLnBrk="0" fontAlgn="base" hangingPunct="0">
              <a:spcBef>
                <a:spcPct val="0"/>
              </a:spcBef>
              <a:spcAft>
                <a:spcPct val="0"/>
              </a:spcAft>
              <a:buClr>
                <a:srgbClr val="000000"/>
              </a:buClr>
              <a:buSzPct val="100000"/>
              <a:buFont typeface="Times New Roman" panose="02020603050405020304" pitchFamily="18" charset="0"/>
              <a:defRPr sz="3600">
                <a:solidFill>
                  <a:srgbClr val="00408C"/>
                </a:solidFill>
                <a:latin typeface="Arial" charset="0"/>
                <a:ea typeface="Arial Unicode MS" pitchFamily="34" charset="-128"/>
                <a:cs typeface="Arial Unicode MS" charset="0"/>
              </a:defRPr>
            </a:lvl3pPr>
            <a:lvl4pPr algn="l" defTabSz="449263" rtl="0" eaLnBrk="0" fontAlgn="base" hangingPunct="0">
              <a:spcBef>
                <a:spcPct val="0"/>
              </a:spcBef>
              <a:spcAft>
                <a:spcPct val="0"/>
              </a:spcAft>
              <a:buClr>
                <a:srgbClr val="000000"/>
              </a:buClr>
              <a:buSzPct val="100000"/>
              <a:buFont typeface="Times New Roman" panose="02020603050405020304" pitchFamily="18" charset="0"/>
              <a:defRPr sz="3600">
                <a:solidFill>
                  <a:srgbClr val="00408C"/>
                </a:solidFill>
                <a:latin typeface="Arial" charset="0"/>
                <a:ea typeface="Arial Unicode MS" pitchFamily="34" charset="-128"/>
                <a:cs typeface="Arial Unicode MS" charset="0"/>
              </a:defRPr>
            </a:lvl4pPr>
            <a:lvl5pPr algn="l" defTabSz="449263" rtl="0" eaLnBrk="0" fontAlgn="base" hangingPunct="0">
              <a:spcBef>
                <a:spcPct val="0"/>
              </a:spcBef>
              <a:spcAft>
                <a:spcPct val="0"/>
              </a:spcAft>
              <a:buClr>
                <a:srgbClr val="000000"/>
              </a:buClr>
              <a:buSzPct val="100000"/>
              <a:buFont typeface="Times New Roman" panose="02020603050405020304" pitchFamily="18" charset="0"/>
              <a:defRPr sz="3600">
                <a:solidFill>
                  <a:srgbClr val="00408C"/>
                </a:solidFill>
                <a:latin typeface="Arial" charset="0"/>
                <a:ea typeface="Arial Unicode MS" pitchFamily="34" charset="-128"/>
                <a:cs typeface="Arial Unicode MS" charset="0"/>
              </a:defRPr>
            </a:lvl5pPr>
            <a:lvl6pPr marL="2514600" indent="-228600" algn="l" defTabSz="449263" rtl="0" eaLnBrk="0" fontAlgn="base" hangingPunct="0">
              <a:spcBef>
                <a:spcPct val="0"/>
              </a:spcBef>
              <a:spcAft>
                <a:spcPct val="0"/>
              </a:spcAft>
              <a:buClr>
                <a:srgbClr val="000000"/>
              </a:buClr>
              <a:buSzPct val="100000"/>
              <a:buFont typeface="Times New Roman" pitchFamily="16" charset="0"/>
              <a:defRPr sz="3600">
                <a:solidFill>
                  <a:srgbClr val="00408C"/>
                </a:solidFill>
                <a:latin typeface="Arial" charset="0"/>
                <a:cs typeface="Arial Unicode MS" charset="0"/>
              </a:defRPr>
            </a:lvl6pPr>
            <a:lvl7pPr marL="2971800" indent="-228600" algn="l" defTabSz="449263" rtl="0" eaLnBrk="0" fontAlgn="base" hangingPunct="0">
              <a:spcBef>
                <a:spcPct val="0"/>
              </a:spcBef>
              <a:spcAft>
                <a:spcPct val="0"/>
              </a:spcAft>
              <a:buClr>
                <a:srgbClr val="000000"/>
              </a:buClr>
              <a:buSzPct val="100000"/>
              <a:buFont typeface="Times New Roman" pitchFamily="16" charset="0"/>
              <a:defRPr sz="3600">
                <a:solidFill>
                  <a:srgbClr val="00408C"/>
                </a:solidFill>
                <a:latin typeface="Arial" charset="0"/>
                <a:cs typeface="Arial Unicode MS" charset="0"/>
              </a:defRPr>
            </a:lvl7pPr>
            <a:lvl8pPr marL="3429000" indent="-228600" algn="l" defTabSz="449263" rtl="0" eaLnBrk="0" fontAlgn="base" hangingPunct="0">
              <a:spcBef>
                <a:spcPct val="0"/>
              </a:spcBef>
              <a:spcAft>
                <a:spcPct val="0"/>
              </a:spcAft>
              <a:buClr>
                <a:srgbClr val="000000"/>
              </a:buClr>
              <a:buSzPct val="100000"/>
              <a:buFont typeface="Times New Roman" pitchFamily="16" charset="0"/>
              <a:defRPr sz="3600">
                <a:solidFill>
                  <a:srgbClr val="00408C"/>
                </a:solidFill>
                <a:latin typeface="Arial" charset="0"/>
                <a:cs typeface="Arial Unicode MS" charset="0"/>
              </a:defRPr>
            </a:lvl8pPr>
            <a:lvl9pPr marL="3886200" indent="-228600" algn="l" defTabSz="449263" rtl="0" eaLnBrk="0" fontAlgn="base" hangingPunct="0">
              <a:spcBef>
                <a:spcPct val="0"/>
              </a:spcBef>
              <a:spcAft>
                <a:spcPct val="0"/>
              </a:spcAft>
              <a:buClr>
                <a:srgbClr val="000000"/>
              </a:buClr>
              <a:buSzPct val="100000"/>
              <a:buFont typeface="Times New Roman" pitchFamily="16" charset="0"/>
              <a:defRPr sz="3600">
                <a:solidFill>
                  <a:srgbClr val="00408C"/>
                </a:solidFill>
                <a:latin typeface="Arial" charset="0"/>
                <a:cs typeface="Arial Unicode MS" charset="0"/>
              </a:defRPr>
            </a:lvl9pPr>
          </a:lstStyle>
          <a:p>
            <a:pPr>
              <a:defRPr/>
            </a:pPr>
            <a:r>
              <a:rPr lang="en-GB" kern="0" dirty="0"/>
              <a:t>Fully customizable and configurable</a:t>
            </a: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30" name="Picture 3" descr="C:\Users\Kyaw\AppData\Local\Microsoft\Windows\INetCache\IE\DEF6TYA1\MC900439822[1].png">
            <a:extLst>
              <a:ext uri="{FF2B5EF4-FFF2-40B4-BE49-F238E27FC236}">
                <a16:creationId xmlns:a16="http://schemas.microsoft.com/office/drawing/2014/main" id="{60DF73A7-668A-4331-A2CE-213FA058A6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79838" y="3933825"/>
            <a:ext cx="720725"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731" name="Picture 3" descr="C:\Users\Kyaw\AppData\Local\Microsoft\Windows\INetCache\IE\DEF6TYA1\MC900439822[1].png">
            <a:extLst>
              <a:ext uri="{FF2B5EF4-FFF2-40B4-BE49-F238E27FC236}">
                <a16:creationId xmlns:a16="http://schemas.microsoft.com/office/drawing/2014/main" id="{C721CFB0-5F08-4A99-A9C7-2F5F76470BA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67175" y="3573463"/>
            <a:ext cx="720725"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732" name="Picture 3" descr="C:\Users\Kyaw\AppData\Local\Microsoft\Windows\INetCache\IE\DEF6TYA1\MC900439822[1].png">
            <a:extLst>
              <a:ext uri="{FF2B5EF4-FFF2-40B4-BE49-F238E27FC236}">
                <a16:creationId xmlns:a16="http://schemas.microsoft.com/office/drawing/2014/main" id="{95A460BC-BB31-47EE-A028-1D489368149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27538" y="3933825"/>
            <a:ext cx="720725"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33" name="Right Arrow 29">
            <a:extLst>
              <a:ext uri="{FF2B5EF4-FFF2-40B4-BE49-F238E27FC236}">
                <a16:creationId xmlns:a16="http://schemas.microsoft.com/office/drawing/2014/main" id="{3F2D9FD1-F47B-46A1-8F8E-98BCD4C1EC33}"/>
              </a:ext>
            </a:extLst>
          </p:cNvPr>
          <p:cNvSpPr>
            <a:spLocks noChangeArrowheads="1"/>
          </p:cNvSpPr>
          <p:nvPr/>
        </p:nvSpPr>
        <p:spPr bwMode="auto">
          <a:xfrm rot="7923743">
            <a:off x="4591844" y="2848769"/>
            <a:ext cx="2311400" cy="496888"/>
          </a:xfrm>
          <a:prstGeom prst="rightArrow">
            <a:avLst>
              <a:gd name="adj1" fmla="val 50000"/>
              <a:gd name="adj2" fmla="val 50071"/>
            </a:avLst>
          </a:prstGeom>
          <a:solidFill>
            <a:schemeClr val="accent1"/>
          </a:solidFill>
          <a:ln w="9525" algn="ctr">
            <a:solidFill>
              <a:schemeClr val="tx1"/>
            </a:solidFill>
            <a:round/>
            <a:headEnd/>
            <a:tailEnd/>
          </a:ln>
        </p:spPr>
        <p:txBody>
          <a:bodyPr/>
          <a:lstStyle>
            <a:lvl1pPr>
              <a:defRPr sz="2200">
                <a:solidFill>
                  <a:schemeClr val="bg1"/>
                </a:solidFill>
                <a:latin typeface="Arial" panose="020B0604020202020204" pitchFamily="34" charset="0"/>
                <a:ea typeface="ヒラギノ角ゴ Pro W3"/>
                <a:cs typeface="ヒラギノ角ゴ Pro W3"/>
              </a:defRPr>
            </a:lvl1pPr>
            <a:lvl2pPr>
              <a:defRPr sz="2200">
                <a:solidFill>
                  <a:schemeClr val="bg1"/>
                </a:solidFill>
                <a:latin typeface="Arial" panose="020B0604020202020204" pitchFamily="34" charset="0"/>
                <a:ea typeface="ヒラギノ角ゴ Pro W3"/>
                <a:cs typeface="ヒラギノ角ゴ Pro W3"/>
              </a:defRPr>
            </a:lvl2pPr>
            <a:lvl3pPr>
              <a:defRPr sz="2200">
                <a:solidFill>
                  <a:schemeClr val="bg1"/>
                </a:solidFill>
                <a:latin typeface="Arial" panose="020B0604020202020204" pitchFamily="34" charset="0"/>
                <a:ea typeface="ヒラギノ角ゴ Pro W3"/>
                <a:cs typeface="ヒラギノ角ゴ Pro W3"/>
              </a:defRPr>
            </a:lvl3pPr>
            <a:lvl4pPr>
              <a:defRPr sz="2200">
                <a:solidFill>
                  <a:schemeClr val="bg1"/>
                </a:solidFill>
                <a:latin typeface="Arial" panose="020B0604020202020204" pitchFamily="34" charset="0"/>
                <a:ea typeface="ヒラギノ角ゴ Pro W3"/>
                <a:cs typeface="ヒラギノ角ゴ Pro W3"/>
              </a:defRPr>
            </a:lvl4pPr>
            <a:lvl5pPr>
              <a:defRPr sz="2200">
                <a:solidFill>
                  <a:schemeClr val="bg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9pPr>
          </a:lstStyle>
          <a:p>
            <a:pPr defTabSz="914400"/>
            <a:endParaRPr lang="en-SG" altLang="en-US" sz="800">
              <a:solidFill>
                <a:schemeClr val="tx1"/>
              </a:solidFill>
            </a:endParaRPr>
          </a:p>
        </p:txBody>
      </p:sp>
      <p:sp>
        <p:nvSpPr>
          <p:cNvPr id="73734" name="Rectangle 2">
            <a:extLst>
              <a:ext uri="{FF2B5EF4-FFF2-40B4-BE49-F238E27FC236}">
                <a16:creationId xmlns:a16="http://schemas.microsoft.com/office/drawing/2014/main" id="{7415277F-1B0B-4FC0-909A-B8710DE24536}"/>
              </a:ext>
            </a:extLst>
          </p:cNvPr>
          <p:cNvSpPr>
            <a:spLocks noGrp="1" noChangeArrowheads="1"/>
          </p:cNvSpPr>
          <p:nvPr>
            <p:ph type="title"/>
          </p:nvPr>
        </p:nvSpPr>
        <p:spPr>
          <a:xfrm>
            <a:off x="179388" y="115888"/>
            <a:ext cx="8229600" cy="941387"/>
          </a:xfrm>
        </p:spPr>
        <p:txBody>
          <a:bodyPr/>
          <a:lstStyle/>
          <a:p>
            <a:r>
              <a:rPr lang="en-US" altLang="en-US"/>
              <a:t>WIPO Publish Regional Configuration</a:t>
            </a:r>
            <a:endParaRPr lang="en-SG" altLang="en-US"/>
          </a:p>
        </p:txBody>
      </p:sp>
      <p:sp>
        <p:nvSpPr>
          <p:cNvPr id="73736" name="Right Arrow 10">
            <a:extLst>
              <a:ext uri="{FF2B5EF4-FFF2-40B4-BE49-F238E27FC236}">
                <a16:creationId xmlns:a16="http://schemas.microsoft.com/office/drawing/2014/main" id="{3C980447-1ABF-4DC2-A0DF-4F8ADFF7CED6}"/>
              </a:ext>
            </a:extLst>
          </p:cNvPr>
          <p:cNvSpPr>
            <a:spLocks noChangeArrowheads="1"/>
          </p:cNvSpPr>
          <p:nvPr/>
        </p:nvSpPr>
        <p:spPr bwMode="auto">
          <a:xfrm rot="1991655">
            <a:off x="914400" y="2659063"/>
            <a:ext cx="3435350" cy="520700"/>
          </a:xfrm>
          <a:prstGeom prst="rightArrow">
            <a:avLst>
              <a:gd name="adj1" fmla="val 50000"/>
              <a:gd name="adj2" fmla="val 49848"/>
            </a:avLst>
          </a:prstGeom>
          <a:solidFill>
            <a:schemeClr val="accent1"/>
          </a:solidFill>
          <a:ln w="9525" algn="ctr">
            <a:solidFill>
              <a:schemeClr val="tx1"/>
            </a:solidFill>
            <a:round/>
            <a:headEnd/>
            <a:tailEnd/>
          </a:ln>
        </p:spPr>
        <p:txBody>
          <a:bodyPr/>
          <a:lstStyle>
            <a:lvl1pPr>
              <a:defRPr sz="2200">
                <a:solidFill>
                  <a:schemeClr val="bg1"/>
                </a:solidFill>
                <a:latin typeface="Arial" panose="020B0604020202020204" pitchFamily="34" charset="0"/>
                <a:ea typeface="ヒラギノ角ゴ Pro W3"/>
                <a:cs typeface="ヒラギノ角ゴ Pro W3"/>
              </a:defRPr>
            </a:lvl1pPr>
            <a:lvl2pPr>
              <a:defRPr sz="2200">
                <a:solidFill>
                  <a:schemeClr val="bg1"/>
                </a:solidFill>
                <a:latin typeface="Arial" panose="020B0604020202020204" pitchFamily="34" charset="0"/>
                <a:ea typeface="ヒラギノ角ゴ Pro W3"/>
                <a:cs typeface="ヒラギノ角ゴ Pro W3"/>
              </a:defRPr>
            </a:lvl2pPr>
            <a:lvl3pPr>
              <a:defRPr sz="2200">
                <a:solidFill>
                  <a:schemeClr val="bg1"/>
                </a:solidFill>
                <a:latin typeface="Arial" panose="020B0604020202020204" pitchFamily="34" charset="0"/>
                <a:ea typeface="ヒラギノ角ゴ Pro W3"/>
                <a:cs typeface="ヒラギノ角ゴ Pro W3"/>
              </a:defRPr>
            </a:lvl3pPr>
            <a:lvl4pPr>
              <a:defRPr sz="2200">
                <a:solidFill>
                  <a:schemeClr val="bg1"/>
                </a:solidFill>
                <a:latin typeface="Arial" panose="020B0604020202020204" pitchFamily="34" charset="0"/>
                <a:ea typeface="ヒラギノ角ゴ Pro W3"/>
                <a:cs typeface="ヒラギノ角ゴ Pro W3"/>
              </a:defRPr>
            </a:lvl4pPr>
            <a:lvl5pPr>
              <a:defRPr sz="2200">
                <a:solidFill>
                  <a:schemeClr val="bg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9pPr>
          </a:lstStyle>
          <a:p>
            <a:pPr defTabSz="914400"/>
            <a:endParaRPr lang="en-SG" altLang="en-US" sz="800">
              <a:solidFill>
                <a:schemeClr val="tx1"/>
              </a:solidFill>
            </a:endParaRPr>
          </a:p>
        </p:txBody>
      </p:sp>
      <p:sp>
        <p:nvSpPr>
          <p:cNvPr id="12" name="Cube 11">
            <a:extLst>
              <a:ext uri="{FF2B5EF4-FFF2-40B4-BE49-F238E27FC236}">
                <a16:creationId xmlns:a16="http://schemas.microsoft.com/office/drawing/2014/main" id="{EED973A2-0A47-49CA-BA78-5C821CC458BD}"/>
              </a:ext>
            </a:extLst>
          </p:cNvPr>
          <p:cNvSpPr/>
          <p:nvPr/>
        </p:nvSpPr>
        <p:spPr bwMode="auto">
          <a:xfrm>
            <a:off x="265809" y="1628800"/>
            <a:ext cx="1152128" cy="648072"/>
          </a:xfrm>
          <a:prstGeom prst="cube">
            <a:avLst>
              <a:gd name="adj" fmla="val 13777"/>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80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IPAS</a:t>
            </a:r>
            <a:endParaRPr lang="en-SG" sz="70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endParaRPr>
          </a:p>
        </p:txBody>
      </p:sp>
      <p:sp>
        <p:nvSpPr>
          <p:cNvPr id="13" name="Cube 12">
            <a:extLst>
              <a:ext uri="{FF2B5EF4-FFF2-40B4-BE49-F238E27FC236}">
                <a16:creationId xmlns:a16="http://schemas.microsoft.com/office/drawing/2014/main" id="{4B474592-8D80-444C-87E3-1DADB716BB2B}"/>
              </a:ext>
            </a:extLst>
          </p:cNvPr>
          <p:cNvSpPr/>
          <p:nvPr/>
        </p:nvSpPr>
        <p:spPr bwMode="auto">
          <a:xfrm>
            <a:off x="1547664" y="2276872"/>
            <a:ext cx="1166530" cy="648072"/>
          </a:xfrm>
          <a:prstGeom prst="cube">
            <a:avLst>
              <a:gd name="adj" fmla="val 13777"/>
            </a:avLst>
          </a:prstGeom>
          <a:solidFill>
            <a:srgbClr val="0070C0"/>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05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IPAS Data</a:t>
            </a:r>
          </a:p>
          <a:p>
            <a:pPr algn="ctr">
              <a:defRPr/>
            </a:pPr>
            <a:r>
              <a:rPr lang="en-US" sz="105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Extraction </a:t>
            </a:r>
          </a:p>
          <a:p>
            <a:pPr algn="ctr">
              <a:defRPr/>
            </a:pPr>
            <a:r>
              <a:rPr lang="en-US" sz="105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Module</a:t>
            </a:r>
            <a:endParaRPr lang="en-SG" sz="50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endParaRPr>
          </a:p>
        </p:txBody>
      </p:sp>
      <p:sp>
        <p:nvSpPr>
          <p:cNvPr id="14" name="Cube 13">
            <a:extLst>
              <a:ext uri="{FF2B5EF4-FFF2-40B4-BE49-F238E27FC236}">
                <a16:creationId xmlns:a16="http://schemas.microsoft.com/office/drawing/2014/main" id="{53AE4947-FA8D-47F6-8A8F-5E9F0F80949D}"/>
              </a:ext>
            </a:extLst>
          </p:cNvPr>
          <p:cNvSpPr/>
          <p:nvPr/>
        </p:nvSpPr>
        <p:spPr bwMode="auto">
          <a:xfrm>
            <a:off x="3851920" y="5445224"/>
            <a:ext cx="1296144" cy="720080"/>
          </a:xfrm>
          <a:prstGeom prst="cube">
            <a:avLst>
              <a:gd name="adj" fmla="val 13777"/>
            </a:avLst>
          </a:prstGeom>
          <a:solidFill>
            <a:srgbClr val="0070C0"/>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20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WIPO Publish Regional</a:t>
            </a:r>
            <a:endParaRPr lang="en-SG" sz="70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endParaRPr>
          </a:p>
        </p:txBody>
      </p:sp>
      <p:sp>
        <p:nvSpPr>
          <p:cNvPr id="73740" name="Right Arrow 14">
            <a:extLst>
              <a:ext uri="{FF2B5EF4-FFF2-40B4-BE49-F238E27FC236}">
                <a16:creationId xmlns:a16="http://schemas.microsoft.com/office/drawing/2014/main" id="{F6C790EC-CEC1-4C5D-8EDE-6261AB415864}"/>
              </a:ext>
            </a:extLst>
          </p:cNvPr>
          <p:cNvSpPr>
            <a:spLocks noChangeArrowheads="1"/>
          </p:cNvSpPr>
          <p:nvPr/>
        </p:nvSpPr>
        <p:spPr bwMode="auto">
          <a:xfrm rot="5400000">
            <a:off x="4200525" y="4881563"/>
            <a:ext cx="600075" cy="431800"/>
          </a:xfrm>
          <a:prstGeom prst="rightArrow">
            <a:avLst>
              <a:gd name="adj1" fmla="val 50000"/>
              <a:gd name="adj2" fmla="val 50029"/>
            </a:avLst>
          </a:prstGeom>
          <a:solidFill>
            <a:schemeClr val="accent1"/>
          </a:solidFill>
          <a:ln w="9525" algn="ctr">
            <a:solidFill>
              <a:schemeClr val="tx1"/>
            </a:solidFill>
            <a:round/>
            <a:headEnd/>
            <a:tailEnd/>
          </a:ln>
        </p:spPr>
        <p:txBody>
          <a:bodyPr/>
          <a:lstStyle>
            <a:lvl1pPr>
              <a:defRPr sz="2200">
                <a:solidFill>
                  <a:schemeClr val="bg1"/>
                </a:solidFill>
                <a:latin typeface="Arial" panose="020B0604020202020204" pitchFamily="34" charset="0"/>
                <a:ea typeface="ヒラギノ角ゴ Pro W3"/>
                <a:cs typeface="ヒラギノ角ゴ Pro W3"/>
              </a:defRPr>
            </a:lvl1pPr>
            <a:lvl2pPr>
              <a:defRPr sz="2200">
                <a:solidFill>
                  <a:schemeClr val="bg1"/>
                </a:solidFill>
                <a:latin typeface="Arial" panose="020B0604020202020204" pitchFamily="34" charset="0"/>
                <a:ea typeface="ヒラギノ角ゴ Pro W3"/>
                <a:cs typeface="ヒラギノ角ゴ Pro W3"/>
              </a:defRPr>
            </a:lvl2pPr>
            <a:lvl3pPr>
              <a:defRPr sz="2200">
                <a:solidFill>
                  <a:schemeClr val="bg1"/>
                </a:solidFill>
                <a:latin typeface="Arial" panose="020B0604020202020204" pitchFamily="34" charset="0"/>
                <a:ea typeface="ヒラギノ角ゴ Pro W3"/>
                <a:cs typeface="ヒラギノ角ゴ Pro W3"/>
              </a:defRPr>
            </a:lvl3pPr>
            <a:lvl4pPr>
              <a:defRPr sz="2200">
                <a:solidFill>
                  <a:schemeClr val="bg1"/>
                </a:solidFill>
                <a:latin typeface="Arial" panose="020B0604020202020204" pitchFamily="34" charset="0"/>
                <a:ea typeface="ヒラギノ角ゴ Pro W3"/>
                <a:cs typeface="ヒラギノ角ゴ Pro W3"/>
              </a:defRPr>
            </a:lvl4pPr>
            <a:lvl5pPr>
              <a:defRPr sz="2200">
                <a:solidFill>
                  <a:schemeClr val="bg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9pPr>
          </a:lstStyle>
          <a:p>
            <a:pPr defTabSz="914400"/>
            <a:endParaRPr lang="en-SG" altLang="en-US" sz="300">
              <a:solidFill>
                <a:schemeClr val="tx1"/>
              </a:solidFill>
            </a:endParaRPr>
          </a:p>
        </p:txBody>
      </p:sp>
      <p:sp>
        <p:nvSpPr>
          <p:cNvPr id="21" name="Cube 20">
            <a:extLst>
              <a:ext uri="{FF2B5EF4-FFF2-40B4-BE49-F238E27FC236}">
                <a16:creationId xmlns:a16="http://schemas.microsoft.com/office/drawing/2014/main" id="{D197CFFB-B2C4-401C-BD9F-66BEE66230A5}"/>
              </a:ext>
            </a:extLst>
          </p:cNvPr>
          <p:cNvSpPr/>
          <p:nvPr/>
        </p:nvSpPr>
        <p:spPr bwMode="auto">
          <a:xfrm>
            <a:off x="337817" y="2348880"/>
            <a:ext cx="1008112" cy="504056"/>
          </a:xfrm>
          <a:prstGeom prst="cube">
            <a:avLst>
              <a:gd name="adj" fmla="val 13777"/>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05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IPAS</a:t>
            </a:r>
          </a:p>
          <a:p>
            <a:pPr algn="ctr">
              <a:defRPr/>
            </a:pPr>
            <a:r>
              <a:rPr lang="en-US" sz="105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EDMS</a:t>
            </a:r>
            <a:endParaRPr lang="en-SG" sz="50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endParaRPr>
          </a:p>
        </p:txBody>
      </p:sp>
      <p:sp>
        <p:nvSpPr>
          <p:cNvPr id="28" name="Rectangle 27">
            <a:extLst>
              <a:ext uri="{FF2B5EF4-FFF2-40B4-BE49-F238E27FC236}">
                <a16:creationId xmlns:a16="http://schemas.microsoft.com/office/drawing/2014/main" id="{4BFFB25F-79F1-4E07-B58F-C6CE8BCED5B3}"/>
              </a:ext>
            </a:extLst>
          </p:cNvPr>
          <p:cNvSpPr/>
          <p:nvPr/>
        </p:nvSpPr>
        <p:spPr bwMode="auto">
          <a:xfrm>
            <a:off x="6430963" y="1725613"/>
            <a:ext cx="1296987" cy="576262"/>
          </a:xfrm>
          <a:prstGeom prst="rect">
            <a:avLst/>
          </a:prstGeom>
          <a:solidFill>
            <a:schemeClr val="bg1">
              <a:lumMod val="75000"/>
            </a:schemeClr>
          </a:solidFill>
          <a:ln w="9525" cap="flat" cmpd="sng" algn="ctr">
            <a:solidFill>
              <a:schemeClr val="tx1"/>
            </a:solidFill>
            <a:prstDash val="solid"/>
            <a:round/>
            <a:headEnd type="none" w="med" len="med"/>
            <a:tailEnd type="none" w="med" len="med"/>
          </a:ln>
          <a:effectLst/>
        </p:spPr>
        <p:txBody>
          <a:bodyPr/>
          <a:lstStyle/>
          <a:p>
            <a:pPr algn="ctr" defTabSz="914400">
              <a:defRPr/>
            </a:pPr>
            <a:r>
              <a:rPr lang="en-SG" sz="1050" b="1" dirty="0">
                <a:solidFill>
                  <a:schemeClr val="tx1"/>
                </a:solidFill>
                <a:latin typeface="Arial" charset="0"/>
                <a:ea typeface="ヒラギノ角ゴ Pro W3" pitchFamily="1" charset="-128"/>
              </a:rPr>
              <a:t>Other  IP Administration Systems</a:t>
            </a:r>
          </a:p>
        </p:txBody>
      </p:sp>
      <p:sp>
        <p:nvSpPr>
          <p:cNvPr id="31" name="TextBox 30">
            <a:extLst>
              <a:ext uri="{FF2B5EF4-FFF2-40B4-BE49-F238E27FC236}">
                <a16:creationId xmlns:a16="http://schemas.microsoft.com/office/drawing/2014/main" id="{D092188F-D576-4966-AB82-3640AB4CF7BC}"/>
              </a:ext>
            </a:extLst>
          </p:cNvPr>
          <p:cNvSpPr txBox="1"/>
          <p:nvPr/>
        </p:nvSpPr>
        <p:spPr>
          <a:xfrm>
            <a:off x="179388" y="1341438"/>
            <a:ext cx="661987" cy="254000"/>
          </a:xfrm>
          <a:prstGeom prst="rect">
            <a:avLst/>
          </a:prstGeom>
          <a:noFill/>
        </p:spPr>
        <p:txBody>
          <a:bodyPr wrap="none">
            <a:spAutoFit/>
          </a:bodyPr>
          <a:lstStyle/>
          <a:p>
            <a:pPr>
              <a:defRPr/>
            </a:pPr>
            <a:r>
              <a:rPr lang="en-SG" sz="1050" dirty="0"/>
              <a:t>Office A</a:t>
            </a:r>
          </a:p>
        </p:txBody>
      </p:sp>
      <p:sp>
        <p:nvSpPr>
          <p:cNvPr id="32" name="TextBox 31">
            <a:extLst>
              <a:ext uri="{FF2B5EF4-FFF2-40B4-BE49-F238E27FC236}">
                <a16:creationId xmlns:a16="http://schemas.microsoft.com/office/drawing/2014/main" id="{09B5F69A-BE16-4AC7-959B-E628EF5A93DA}"/>
              </a:ext>
            </a:extLst>
          </p:cNvPr>
          <p:cNvSpPr txBox="1"/>
          <p:nvPr/>
        </p:nvSpPr>
        <p:spPr>
          <a:xfrm>
            <a:off x="6372225" y="1484313"/>
            <a:ext cx="661988" cy="254000"/>
          </a:xfrm>
          <a:prstGeom prst="rect">
            <a:avLst/>
          </a:prstGeom>
          <a:noFill/>
        </p:spPr>
        <p:txBody>
          <a:bodyPr wrap="none">
            <a:spAutoFit/>
          </a:bodyPr>
          <a:lstStyle/>
          <a:p>
            <a:pPr>
              <a:defRPr/>
            </a:pPr>
            <a:r>
              <a:rPr lang="en-SG" sz="1050" dirty="0"/>
              <a:t>Office B</a:t>
            </a:r>
          </a:p>
        </p:txBody>
      </p:sp>
      <p:sp>
        <p:nvSpPr>
          <p:cNvPr id="73745" name="Right Arrow 35">
            <a:extLst>
              <a:ext uri="{FF2B5EF4-FFF2-40B4-BE49-F238E27FC236}">
                <a16:creationId xmlns:a16="http://schemas.microsoft.com/office/drawing/2014/main" id="{0785E67B-CC87-4F25-AA19-12B71002D08C}"/>
              </a:ext>
            </a:extLst>
          </p:cNvPr>
          <p:cNvSpPr>
            <a:spLocks noChangeArrowheads="1"/>
          </p:cNvSpPr>
          <p:nvPr/>
        </p:nvSpPr>
        <p:spPr bwMode="auto">
          <a:xfrm>
            <a:off x="1187450" y="4205288"/>
            <a:ext cx="2392363" cy="519112"/>
          </a:xfrm>
          <a:prstGeom prst="rightArrow">
            <a:avLst>
              <a:gd name="adj1" fmla="val 50000"/>
              <a:gd name="adj2" fmla="val 50011"/>
            </a:avLst>
          </a:prstGeom>
          <a:solidFill>
            <a:schemeClr val="accent1"/>
          </a:solidFill>
          <a:ln w="9525" algn="ctr">
            <a:solidFill>
              <a:schemeClr val="tx1"/>
            </a:solidFill>
            <a:round/>
            <a:headEnd/>
            <a:tailEnd/>
          </a:ln>
        </p:spPr>
        <p:txBody>
          <a:bodyPr/>
          <a:lstStyle>
            <a:lvl1pPr>
              <a:defRPr sz="2200">
                <a:solidFill>
                  <a:schemeClr val="bg1"/>
                </a:solidFill>
                <a:latin typeface="Arial" panose="020B0604020202020204" pitchFamily="34" charset="0"/>
                <a:ea typeface="ヒラギノ角ゴ Pro W3"/>
                <a:cs typeface="ヒラギノ角ゴ Pro W3"/>
              </a:defRPr>
            </a:lvl1pPr>
            <a:lvl2pPr>
              <a:defRPr sz="2200">
                <a:solidFill>
                  <a:schemeClr val="bg1"/>
                </a:solidFill>
                <a:latin typeface="Arial" panose="020B0604020202020204" pitchFamily="34" charset="0"/>
                <a:ea typeface="ヒラギノ角ゴ Pro W3"/>
                <a:cs typeface="ヒラギノ角ゴ Pro W3"/>
              </a:defRPr>
            </a:lvl2pPr>
            <a:lvl3pPr>
              <a:defRPr sz="2200">
                <a:solidFill>
                  <a:schemeClr val="bg1"/>
                </a:solidFill>
                <a:latin typeface="Arial" panose="020B0604020202020204" pitchFamily="34" charset="0"/>
                <a:ea typeface="ヒラギノ角ゴ Pro W3"/>
                <a:cs typeface="ヒラギノ角ゴ Pro W3"/>
              </a:defRPr>
            </a:lvl3pPr>
            <a:lvl4pPr>
              <a:defRPr sz="2200">
                <a:solidFill>
                  <a:schemeClr val="bg1"/>
                </a:solidFill>
                <a:latin typeface="Arial" panose="020B0604020202020204" pitchFamily="34" charset="0"/>
                <a:ea typeface="ヒラギノ角ゴ Pro W3"/>
                <a:cs typeface="ヒラギノ角ゴ Pro W3"/>
              </a:defRPr>
            </a:lvl4pPr>
            <a:lvl5pPr>
              <a:defRPr sz="2200">
                <a:solidFill>
                  <a:schemeClr val="bg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9pPr>
          </a:lstStyle>
          <a:p>
            <a:pPr defTabSz="914400"/>
            <a:endParaRPr lang="en-SG" altLang="en-US" sz="800">
              <a:solidFill>
                <a:schemeClr val="tx1"/>
              </a:solidFill>
            </a:endParaRPr>
          </a:p>
        </p:txBody>
      </p:sp>
      <p:sp>
        <p:nvSpPr>
          <p:cNvPr id="37" name="Cube 36">
            <a:extLst>
              <a:ext uri="{FF2B5EF4-FFF2-40B4-BE49-F238E27FC236}">
                <a16:creationId xmlns:a16="http://schemas.microsoft.com/office/drawing/2014/main" id="{16D92337-7024-45AF-A95E-067DF6523156}"/>
              </a:ext>
            </a:extLst>
          </p:cNvPr>
          <p:cNvSpPr/>
          <p:nvPr/>
        </p:nvSpPr>
        <p:spPr bwMode="auto">
          <a:xfrm>
            <a:off x="265809" y="3789040"/>
            <a:ext cx="1152128" cy="648072"/>
          </a:xfrm>
          <a:prstGeom prst="cube">
            <a:avLst>
              <a:gd name="adj" fmla="val 13777"/>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80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IPAS</a:t>
            </a:r>
            <a:endParaRPr lang="en-SG" sz="70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endParaRPr>
          </a:p>
        </p:txBody>
      </p:sp>
      <p:sp>
        <p:nvSpPr>
          <p:cNvPr id="38" name="Cube 37">
            <a:extLst>
              <a:ext uri="{FF2B5EF4-FFF2-40B4-BE49-F238E27FC236}">
                <a16:creationId xmlns:a16="http://schemas.microsoft.com/office/drawing/2014/main" id="{77C68B2D-65C2-4EFD-87A3-AE13D532092E}"/>
              </a:ext>
            </a:extLst>
          </p:cNvPr>
          <p:cNvSpPr/>
          <p:nvPr/>
        </p:nvSpPr>
        <p:spPr bwMode="auto">
          <a:xfrm>
            <a:off x="1777977" y="4149080"/>
            <a:ext cx="1296144" cy="720080"/>
          </a:xfrm>
          <a:prstGeom prst="cube">
            <a:avLst>
              <a:gd name="adj" fmla="val 13777"/>
            </a:avLst>
          </a:prstGeom>
          <a:solidFill>
            <a:srgbClr val="0070C0"/>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05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IPAS Data</a:t>
            </a:r>
          </a:p>
          <a:p>
            <a:pPr algn="ctr">
              <a:defRPr/>
            </a:pPr>
            <a:r>
              <a:rPr lang="en-US" sz="105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Extraction </a:t>
            </a:r>
          </a:p>
          <a:p>
            <a:pPr algn="ctr">
              <a:defRPr/>
            </a:pPr>
            <a:r>
              <a:rPr lang="en-US" sz="105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Module</a:t>
            </a:r>
            <a:endParaRPr lang="en-SG" sz="50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endParaRPr>
          </a:p>
        </p:txBody>
      </p:sp>
      <p:sp>
        <p:nvSpPr>
          <p:cNvPr id="39" name="Cube 38">
            <a:extLst>
              <a:ext uri="{FF2B5EF4-FFF2-40B4-BE49-F238E27FC236}">
                <a16:creationId xmlns:a16="http://schemas.microsoft.com/office/drawing/2014/main" id="{5C4691DC-F74B-4B07-913B-58DA55394248}"/>
              </a:ext>
            </a:extLst>
          </p:cNvPr>
          <p:cNvSpPr/>
          <p:nvPr/>
        </p:nvSpPr>
        <p:spPr bwMode="auto">
          <a:xfrm>
            <a:off x="337817" y="4509120"/>
            <a:ext cx="1008112" cy="504056"/>
          </a:xfrm>
          <a:prstGeom prst="cube">
            <a:avLst>
              <a:gd name="adj" fmla="val 13777"/>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05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IPAS</a:t>
            </a:r>
          </a:p>
          <a:p>
            <a:pPr algn="ctr">
              <a:defRPr/>
            </a:pPr>
            <a:r>
              <a:rPr lang="en-US" sz="105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EDMS</a:t>
            </a:r>
            <a:endParaRPr lang="en-SG" sz="50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endParaRPr>
          </a:p>
        </p:txBody>
      </p:sp>
      <p:sp>
        <p:nvSpPr>
          <p:cNvPr id="40" name="TextBox 39">
            <a:extLst>
              <a:ext uri="{FF2B5EF4-FFF2-40B4-BE49-F238E27FC236}">
                <a16:creationId xmlns:a16="http://schemas.microsoft.com/office/drawing/2014/main" id="{2F84F119-F71F-4FB2-960F-A9D5D8E75D8B}"/>
              </a:ext>
            </a:extLst>
          </p:cNvPr>
          <p:cNvSpPr txBox="1"/>
          <p:nvPr/>
        </p:nvSpPr>
        <p:spPr>
          <a:xfrm>
            <a:off x="179388" y="3500438"/>
            <a:ext cx="669925" cy="254000"/>
          </a:xfrm>
          <a:prstGeom prst="rect">
            <a:avLst/>
          </a:prstGeom>
          <a:noFill/>
        </p:spPr>
        <p:txBody>
          <a:bodyPr wrap="none">
            <a:spAutoFit/>
          </a:bodyPr>
          <a:lstStyle/>
          <a:p>
            <a:pPr>
              <a:defRPr/>
            </a:pPr>
            <a:r>
              <a:rPr lang="en-SG" sz="1050" dirty="0"/>
              <a:t>Office C</a:t>
            </a:r>
          </a:p>
        </p:txBody>
      </p:sp>
      <p:sp>
        <p:nvSpPr>
          <p:cNvPr id="41" name="Cube 40">
            <a:extLst>
              <a:ext uri="{FF2B5EF4-FFF2-40B4-BE49-F238E27FC236}">
                <a16:creationId xmlns:a16="http://schemas.microsoft.com/office/drawing/2014/main" id="{A1B014A9-F8C0-4235-872E-F64ADD0968F4}"/>
              </a:ext>
            </a:extLst>
          </p:cNvPr>
          <p:cNvSpPr/>
          <p:nvPr/>
        </p:nvSpPr>
        <p:spPr bwMode="auto">
          <a:xfrm>
            <a:off x="5724128" y="5420519"/>
            <a:ext cx="1152128" cy="620688"/>
          </a:xfrm>
          <a:prstGeom prst="cube">
            <a:avLst>
              <a:gd name="adj" fmla="val 13777"/>
            </a:avLst>
          </a:prstGeom>
          <a:solidFill>
            <a:schemeClr val="bg1">
              <a:lumMod val="85000"/>
            </a:schemeClr>
          </a:solidFill>
          <a:ln>
            <a:solidFill>
              <a:schemeClr val="bg2"/>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US" sz="1000" spc="50" dirty="0">
                <a:ln w="13500">
                  <a:solidFill>
                    <a:schemeClr val="accent1">
                      <a:shade val="2500"/>
                      <a:alpha val="6500"/>
                    </a:schemeClr>
                  </a:solidFill>
                  <a:prstDash val="solid"/>
                </a:ln>
                <a:solidFill>
                  <a:schemeClr val="tx1"/>
                </a:solidFill>
                <a:effectLst>
                  <a:innerShdw blurRad="50900" dist="38500" dir="13500000">
                    <a:srgbClr val="000000">
                      <a:alpha val="60000"/>
                    </a:srgbClr>
                  </a:innerShdw>
                </a:effectLst>
              </a:rPr>
              <a:t>Front End</a:t>
            </a:r>
          </a:p>
          <a:p>
            <a:pPr algn="ctr">
              <a:defRPr/>
            </a:pPr>
            <a:r>
              <a:rPr lang="en-US" sz="1000" spc="50" dirty="0">
                <a:ln w="13500">
                  <a:solidFill>
                    <a:schemeClr val="accent1">
                      <a:shade val="2500"/>
                      <a:alpha val="6500"/>
                    </a:schemeClr>
                  </a:solidFill>
                  <a:prstDash val="solid"/>
                </a:ln>
                <a:solidFill>
                  <a:schemeClr val="tx1"/>
                </a:solidFill>
                <a:effectLst>
                  <a:innerShdw blurRad="50900" dist="38500" dir="13500000">
                    <a:srgbClr val="000000">
                      <a:alpha val="60000"/>
                    </a:srgbClr>
                  </a:innerShdw>
                </a:effectLst>
              </a:rPr>
              <a:t>Search User Interface</a:t>
            </a:r>
          </a:p>
          <a:p>
            <a:pPr algn="ctr">
              <a:defRPr/>
            </a:pPr>
            <a:endParaRPr lang="en-SG" sz="400"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endParaRPr>
          </a:p>
        </p:txBody>
      </p:sp>
      <p:pic>
        <p:nvPicPr>
          <p:cNvPr id="73751" name="Picture 11" descr="boss-icon">
            <a:extLst>
              <a:ext uri="{FF2B5EF4-FFF2-40B4-BE49-F238E27FC236}">
                <a16:creationId xmlns:a16="http://schemas.microsoft.com/office/drawing/2014/main" id="{CBD686C0-C87E-44C7-8AB8-B513263528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24750" y="5348288"/>
            <a:ext cx="744538" cy="744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52" name="Up-Down Arrow 44">
            <a:extLst>
              <a:ext uri="{FF2B5EF4-FFF2-40B4-BE49-F238E27FC236}">
                <a16:creationId xmlns:a16="http://schemas.microsoft.com/office/drawing/2014/main" id="{9B346F3D-51C3-4DE5-8A99-087F8FDC9D8D}"/>
              </a:ext>
            </a:extLst>
          </p:cNvPr>
          <p:cNvSpPr>
            <a:spLocks noChangeArrowheads="1"/>
          </p:cNvSpPr>
          <p:nvPr/>
        </p:nvSpPr>
        <p:spPr bwMode="auto">
          <a:xfrm rot="5400000">
            <a:off x="5367338" y="5495925"/>
            <a:ext cx="209550" cy="504825"/>
          </a:xfrm>
          <a:prstGeom prst="upDownArrow">
            <a:avLst>
              <a:gd name="adj1" fmla="val 61907"/>
              <a:gd name="adj2" fmla="val 50000"/>
            </a:avLst>
          </a:prstGeom>
          <a:solidFill>
            <a:schemeClr val="accent1"/>
          </a:solidFill>
          <a:ln w="9525" algn="ctr">
            <a:solidFill>
              <a:schemeClr val="tx1"/>
            </a:solidFill>
            <a:round/>
            <a:headEnd/>
            <a:tailEnd/>
          </a:ln>
        </p:spPr>
        <p:txBody>
          <a:bodyPr/>
          <a:lstStyle>
            <a:lvl1pPr>
              <a:defRPr sz="2200">
                <a:solidFill>
                  <a:schemeClr val="bg1"/>
                </a:solidFill>
                <a:latin typeface="Arial" panose="020B0604020202020204" pitchFamily="34" charset="0"/>
                <a:ea typeface="ヒラギノ角ゴ Pro W3"/>
                <a:cs typeface="ヒラギノ角ゴ Pro W3"/>
              </a:defRPr>
            </a:lvl1pPr>
            <a:lvl2pPr>
              <a:defRPr sz="2200">
                <a:solidFill>
                  <a:schemeClr val="bg1"/>
                </a:solidFill>
                <a:latin typeface="Arial" panose="020B0604020202020204" pitchFamily="34" charset="0"/>
                <a:ea typeface="ヒラギノ角ゴ Pro W3"/>
                <a:cs typeface="ヒラギノ角ゴ Pro W3"/>
              </a:defRPr>
            </a:lvl2pPr>
            <a:lvl3pPr>
              <a:defRPr sz="2200">
                <a:solidFill>
                  <a:schemeClr val="bg1"/>
                </a:solidFill>
                <a:latin typeface="Arial" panose="020B0604020202020204" pitchFamily="34" charset="0"/>
                <a:ea typeface="ヒラギノ角ゴ Pro W3"/>
                <a:cs typeface="ヒラギノ角ゴ Pro W3"/>
              </a:defRPr>
            </a:lvl3pPr>
            <a:lvl4pPr>
              <a:defRPr sz="2200">
                <a:solidFill>
                  <a:schemeClr val="bg1"/>
                </a:solidFill>
                <a:latin typeface="Arial" panose="020B0604020202020204" pitchFamily="34" charset="0"/>
                <a:ea typeface="ヒラギノ角ゴ Pro W3"/>
                <a:cs typeface="ヒラギノ角ゴ Pro W3"/>
              </a:defRPr>
            </a:lvl4pPr>
            <a:lvl5pPr>
              <a:defRPr sz="2200">
                <a:solidFill>
                  <a:schemeClr val="bg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9pPr>
          </a:lstStyle>
          <a:p>
            <a:pPr defTabSz="914400"/>
            <a:endParaRPr lang="en-SG" altLang="en-US" sz="800">
              <a:solidFill>
                <a:schemeClr val="tx1"/>
              </a:solidFill>
            </a:endParaRPr>
          </a:p>
        </p:txBody>
      </p:sp>
      <p:sp>
        <p:nvSpPr>
          <p:cNvPr id="33" name="Cube 32">
            <a:extLst>
              <a:ext uri="{FF2B5EF4-FFF2-40B4-BE49-F238E27FC236}">
                <a16:creationId xmlns:a16="http://schemas.microsoft.com/office/drawing/2014/main" id="{88FA7AE0-A356-4DCC-9365-E4F5703D2F0D}"/>
              </a:ext>
            </a:extLst>
          </p:cNvPr>
          <p:cNvSpPr/>
          <p:nvPr/>
        </p:nvSpPr>
        <p:spPr bwMode="auto">
          <a:xfrm>
            <a:off x="5259671" y="2756925"/>
            <a:ext cx="1080120" cy="600067"/>
          </a:xfrm>
          <a:prstGeom prst="cube">
            <a:avLst>
              <a:gd name="adj" fmla="val 13777"/>
            </a:avLst>
          </a:prstGeom>
          <a:solidFill>
            <a:srgbClr val="0070C0"/>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00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WIPO Publish Server</a:t>
            </a:r>
            <a:endParaRPr lang="en-SG" sz="40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endParaRPr>
          </a:p>
        </p:txBody>
      </p:sp>
      <p:sp>
        <p:nvSpPr>
          <p:cNvPr id="46" name="Cube 45">
            <a:extLst>
              <a:ext uri="{FF2B5EF4-FFF2-40B4-BE49-F238E27FC236}">
                <a16:creationId xmlns:a16="http://schemas.microsoft.com/office/drawing/2014/main" id="{67674755-5F4C-4ACF-AEC3-CF52A4B51844}"/>
              </a:ext>
            </a:extLst>
          </p:cNvPr>
          <p:cNvSpPr/>
          <p:nvPr/>
        </p:nvSpPr>
        <p:spPr bwMode="auto">
          <a:xfrm>
            <a:off x="2843808" y="2900941"/>
            <a:ext cx="1080120" cy="600067"/>
          </a:xfrm>
          <a:prstGeom prst="cube">
            <a:avLst>
              <a:gd name="adj" fmla="val 13777"/>
            </a:avLst>
          </a:prstGeom>
          <a:solidFill>
            <a:srgbClr val="0070C0"/>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200" b="1" spc="50" dirty="0">
                <a:ln w="13500">
                  <a:solidFill>
                    <a:srgbClr val="BBE0E3">
                      <a:shade val="2500"/>
                      <a:alpha val="6500"/>
                    </a:srgbClr>
                  </a:solidFill>
                  <a:prstDash val="solid"/>
                </a:ln>
                <a:solidFill>
                  <a:srgbClr val="BBE0E3">
                    <a:tint val="3000"/>
                    <a:alpha val="95000"/>
                  </a:srgbClr>
                </a:solidFill>
                <a:effectLst>
                  <a:innerShdw blurRad="50900" dist="38500" dir="13500000">
                    <a:srgbClr val="000000">
                      <a:alpha val="60000"/>
                    </a:srgbClr>
                  </a:innerShdw>
                </a:effectLst>
              </a:rPr>
              <a:t>WIPO Publish Server</a:t>
            </a:r>
            <a:endParaRPr lang="en-SG" sz="700" b="1" spc="50" dirty="0">
              <a:ln w="13500">
                <a:solidFill>
                  <a:srgbClr val="BBE0E3">
                    <a:shade val="2500"/>
                    <a:alpha val="6500"/>
                  </a:srgbClr>
                </a:solidFill>
                <a:prstDash val="solid"/>
              </a:ln>
              <a:solidFill>
                <a:srgbClr val="BBE0E3">
                  <a:tint val="3000"/>
                  <a:alpha val="95000"/>
                </a:srgbClr>
              </a:solidFill>
              <a:effectLst>
                <a:innerShdw blurRad="50900" dist="38500" dir="13500000">
                  <a:srgbClr val="000000">
                    <a:alpha val="60000"/>
                  </a:srgbClr>
                </a:innerShdw>
              </a:effectLst>
            </a:endParaRPr>
          </a:p>
          <a:p>
            <a:pPr algn="ctr">
              <a:defRPr/>
            </a:pPr>
            <a:endParaRPr lang="en-SG" sz="40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endParaRPr>
          </a:p>
        </p:txBody>
      </p:sp>
      <p:sp>
        <p:nvSpPr>
          <p:cNvPr id="73755" name="Up-Down Arrow 46">
            <a:extLst>
              <a:ext uri="{FF2B5EF4-FFF2-40B4-BE49-F238E27FC236}">
                <a16:creationId xmlns:a16="http://schemas.microsoft.com/office/drawing/2014/main" id="{6420B132-513C-4C8A-B0A4-D70B0A07930E}"/>
              </a:ext>
            </a:extLst>
          </p:cNvPr>
          <p:cNvSpPr>
            <a:spLocks noChangeArrowheads="1"/>
          </p:cNvSpPr>
          <p:nvPr/>
        </p:nvSpPr>
        <p:spPr bwMode="auto">
          <a:xfrm rot="5400000">
            <a:off x="7096126" y="5489575"/>
            <a:ext cx="207962" cy="503237"/>
          </a:xfrm>
          <a:prstGeom prst="upDownArrow">
            <a:avLst>
              <a:gd name="adj1" fmla="val 61907"/>
              <a:gd name="adj2" fmla="val 50223"/>
            </a:avLst>
          </a:prstGeom>
          <a:solidFill>
            <a:schemeClr val="accent1"/>
          </a:solidFill>
          <a:ln w="9525" algn="ctr">
            <a:solidFill>
              <a:schemeClr val="tx1"/>
            </a:solidFill>
            <a:round/>
            <a:headEnd/>
            <a:tailEnd/>
          </a:ln>
        </p:spPr>
        <p:txBody>
          <a:bodyPr/>
          <a:lstStyle>
            <a:lvl1pPr>
              <a:defRPr sz="2200">
                <a:solidFill>
                  <a:schemeClr val="bg1"/>
                </a:solidFill>
                <a:latin typeface="Arial" panose="020B0604020202020204" pitchFamily="34" charset="0"/>
                <a:ea typeface="ヒラギノ角ゴ Pro W3"/>
                <a:cs typeface="ヒラギノ角ゴ Pro W3"/>
              </a:defRPr>
            </a:lvl1pPr>
            <a:lvl2pPr>
              <a:defRPr sz="2200">
                <a:solidFill>
                  <a:schemeClr val="bg1"/>
                </a:solidFill>
                <a:latin typeface="Arial" panose="020B0604020202020204" pitchFamily="34" charset="0"/>
                <a:ea typeface="ヒラギノ角ゴ Pro W3"/>
                <a:cs typeface="ヒラギノ角ゴ Pro W3"/>
              </a:defRPr>
            </a:lvl2pPr>
            <a:lvl3pPr>
              <a:defRPr sz="2200">
                <a:solidFill>
                  <a:schemeClr val="bg1"/>
                </a:solidFill>
                <a:latin typeface="Arial" panose="020B0604020202020204" pitchFamily="34" charset="0"/>
                <a:ea typeface="ヒラギノ角ゴ Pro W3"/>
                <a:cs typeface="ヒラギノ角ゴ Pro W3"/>
              </a:defRPr>
            </a:lvl3pPr>
            <a:lvl4pPr>
              <a:defRPr sz="2200">
                <a:solidFill>
                  <a:schemeClr val="bg1"/>
                </a:solidFill>
                <a:latin typeface="Arial" panose="020B0604020202020204" pitchFamily="34" charset="0"/>
                <a:ea typeface="ヒラギノ角ゴ Pro W3"/>
                <a:cs typeface="ヒラギノ角ゴ Pro W3"/>
              </a:defRPr>
            </a:lvl4pPr>
            <a:lvl5pPr>
              <a:defRPr sz="2200">
                <a:solidFill>
                  <a:schemeClr val="bg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2200">
                <a:solidFill>
                  <a:schemeClr val="bg1"/>
                </a:solidFill>
                <a:latin typeface="Arial" panose="020B0604020202020204" pitchFamily="34" charset="0"/>
                <a:ea typeface="ヒラギノ角ゴ Pro W3"/>
                <a:cs typeface="ヒラギノ角ゴ Pro W3"/>
              </a:defRPr>
            </a:lvl9pPr>
          </a:lstStyle>
          <a:p>
            <a:pPr defTabSz="914400"/>
            <a:endParaRPr lang="en-SG" altLang="en-US" sz="800">
              <a:solidFill>
                <a:schemeClr val="tx1"/>
              </a:solidFill>
            </a:endParaRPr>
          </a:p>
        </p:txBody>
      </p:sp>
      <p:sp>
        <p:nvSpPr>
          <p:cNvPr id="73756" name="TextBox 47">
            <a:extLst>
              <a:ext uri="{FF2B5EF4-FFF2-40B4-BE49-F238E27FC236}">
                <a16:creationId xmlns:a16="http://schemas.microsoft.com/office/drawing/2014/main" id="{A8F7310C-2D29-44C5-9E4B-8DC6E4EFB937}"/>
              </a:ext>
            </a:extLst>
          </p:cNvPr>
          <p:cNvSpPr txBox="1">
            <a:spLocks noChangeArrowheads="1"/>
          </p:cNvSpPr>
          <p:nvPr/>
        </p:nvSpPr>
        <p:spPr bwMode="auto">
          <a:xfrm>
            <a:off x="4716463" y="4724400"/>
            <a:ext cx="1557337"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SG" altLang="en-US" sz="1100"/>
              <a:t>Scheduled </a:t>
            </a:r>
          </a:p>
          <a:p>
            <a:r>
              <a:rPr lang="en-SG" altLang="en-US" sz="1100"/>
              <a:t>Automatic </a:t>
            </a:r>
          </a:p>
          <a:p>
            <a:r>
              <a:rPr lang="en-SG" altLang="en-US" sz="1100"/>
              <a:t>Download and update</a:t>
            </a: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754" name="Picture 43">
            <a:extLst>
              <a:ext uri="{FF2B5EF4-FFF2-40B4-BE49-F238E27FC236}">
                <a16:creationId xmlns:a16="http://schemas.microsoft.com/office/drawing/2014/main" id="{B8BF3934-D28C-40B0-91A7-503DA709826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59413" y="3733800"/>
            <a:ext cx="615950"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755" name="Rectangle 2">
            <a:extLst>
              <a:ext uri="{FF2B5EF4-FFF2-40B4-BE49-F238E27FC236}">
                <a16:creationId xmlns:a16="http://schemas.microsoft.com/office/drawing/2014/main" id="{5A5DD843-E998-4B73-B366-AC4D434626DA}"/>
              </a:ext>
            </a:extLst>
          </p:cNvPr>
          <p:cNvSpPr>
            <a:spLocks noGrp="1" noChangeArrowheads="1"/>
          </p:cNvSpPr>
          <p:nvPr>
            <p:ph type="title" idx="4294967295"/>
          </p:nvPr>
        </p:nvSpPr>
        <p:spPr>
          <a:xfrm>
            <a:off x="177800" y="225425"/>
            <a:ext cx="7146925" cy="941388"/>
          </a:xfrm>
        </p:spPr>
        <p:txBody>
          <a:bodyPr/>
          <a:lstStyle/>
          <a:p>
            <a:pPr eaLnBrk="1" hangingPunct="1"/>
            <a:r>
              <a:rPr lang="de-CH" altLang="en-US"/>
              <a:t>What is IPAS Madrid Module?</a:t>
            </a:r>
            <a:endParaRPr lang="en-US" altLang="en-US"/>
          </a:p>
        </p:txBody>
      </p:sp>
      <p:sp>
        <p:nvSpPr>
          <p:cNvPr id="74756" name="Right Arrow 26">
            <a:extLst>
              <a:ext uri="{FF2B5EF4-FFF2-40B4-BE49-F238E27FC236}">
                <a16:creationId xmlns:a16="http://schemas.microsoft.com/office/drawing/2014/main" id="{79C92A5F-FA3D-403A-ADDE-0864760B8A95}"/>
              </a:ext>
            </a:extLst>
          </p:cNvPr>
          <p:cNvSpPr>
            <a:spLocks noChangeArrowheads="1"/>
          </p:cNvSpPr>
          <p:nvPr/>
        </p:nvSpPr>
        <p:spPr bwMode="auto">
          <a:xfrm rot="-5400000">
            <a:off x="1955800" y="2616200"/>
            <a:ext cx="419100" cy="215900"/>
          </a:xfrm>
          <a:prstGeom prst="rightArrow">
            <a:avLst>
              <a:gd name="adj1" fmla="val 50000"/>
              <a:gd name="adj2" fmla="val 32353"/>
            </a:avLst>
          </a:prstGeom>
          <a:solidFill>
            <a:schemeClr val="accent1"/>
          </a:solidFill>
          <a:ln w="9525" algn="ctr">
            <a:solidFill>
              <a:schemeClr val="tx1"/>
            </a:solidFill>
            <a:round/>
            <a:headEnd/>
            <a:tailEnd/>
          </a:ln>
        </p:spPr>
        <p:txBody>
          <a:bodyPr vert="eaVert"/>
          <a:lstStyle/>
          <a:p>
            <a:endParaRPr lang="en-SG" altLang="en-US"/>
          </a:p>
        </p:txBody>
      </p:sp>
      <p:grpSp>
        <p:nvGrpSpPr>
          <p:cNvPr id="74757" name="Group 56">
            <a:extLst>
              <a:ext uri="{FF2B5EF4-FFF2-40B4-BE49-F238E27FC236}">
                <a16:creationId xmlns:a16="http://schemas.microsoft.com/office/drawing/2014/main" id="{550C27DC-CFE6-4E58-B59C-EF457BCCB188}"/>
              </a:ext>
            </a:extLst>
          </p:cNvPr>
          <p:cNvGrpSpPr>
            <a:grpSpLocks/>
          </p:cNvGrpSpPr>
          <p:nvPr/>
        </p:nvGrpSpPr>
        <p:grpSpPr bwMode="auto">
          <a:xfrm>
            <a:off x="1524000" y="1371600"/>
            <a:ext cx="1512888" cy="1108075"/>
            <a:chOff x="5436096" y="1506270"/>
            <a:chExt cx="1512168" cy="1107178"/>
          </a:xfrm>
        </p:grpSpPr>
        <p:pic>
          <p:nvPicPr>
            <p:cNvPr id="74823" name="Picture 9">
              <a:extLst>
                <a:ext uri="{FF2B5EF4-FFF2-40B4-BE49-F238E27FC236}">
                  <a16:creationId xmlns:a16="http://schemas.microsoft.com/office/drawing/2014/main" id="{6FD1BF50-D35F-4953-9408-7F878B94F0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08104" y="1506270"/>
              <a:ext cx="720080"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74824" name="TextBox 30">
              <a:extLst>
                <a:ext uri="{FF2B5EF4-FFF2-40B4-BE49-F238E27FC236}">
                  <a16:creationId xmlns:a16="http://schemas.microsoft.com/office/drawing/2014/main" id="{B8432C1A-2C19-4546-A632-43B4A28B919E}"/>
                </a:ext>
              </a:extLst>
            </p:cNvPr>
            <p:cNvSpPr txBox="1">
              <a:spLocks noChangeArrowheads="1"/>
            </p:cNvSpPr>
            <p:nvPr/>
          </p:nvSpPr>
          <p:spPr bwMode="auto">
            <a:xfrm>
              <a:off x="5436096" y="2155032"/>
              <a:ext cx="1512168" cy="458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a:t>Limited information made available to public using IPAS at the Office</a:t>
              </a:r>
              <a:endParaRPr lang="en-SG" altLang="en-US"/>
            </a:p>
          </p:txBody>
        </p:sp>
      </p:grpSp>
      <p:sp>
        <p:nvSpPr>
          <p:cNvPr id="74758" name="Left Arrow 41">
            <a:extLst>
              <a:ext uri="{FF2B5EF4-FFF2-40B4-BE49-F238E27FC236}">
                <a16:creationId xmlns:a16="http://schemas.microsoft.com/office/drawing/2014/main" id="{F1A5D03C-B5E6-4D71-BD43-04A78C39DEDD}"/>
              </a:ext>
            </a:extLst>
          </p:cNvPr>
          <p:cNvSpPr>
            <a:spLocks noChangeArrowheads="1"/>
          </p:cNvSpPr>
          <p:nvPr/>
        </p:nvSpPr>
        <p:spPr bwMode="auto">
          <a:xfrm>
            <a:off x="4114800" y="1752600"/>
            <a:ext cx="838200" cy="215900"/>
          </a:xfrm>
          <a:prstGeom prst="leftArrow">
            <a:avLst>
              <a:gd name="adj1" fmla="val 50000"/>
              <a:gd name="adj2" fmla="val 32353"/>
            </a:avLst>
          </a:prstGeom>
          <a:solidFill>
            <a:schemeClr val="accent1"/>
          </a:solidFill>
          <a:ln w="9525" algn="ctr">
            <a:solidFill>
              <a:schemeClr val="tx1"/>
            </a:solidFill>
            <a:round/>
            <a:headEnd/>
            <a:tailEnd/>
          </a:ln>
        </p:spPr>
        <p:txBody>
          <a:bodyPr/>
          <a:lstStyle/>
          <a:p>
            <a:endParaRPr lang="en-SG" altLang="en-US"/>
          </a:p>
        </p:txBody>
      </p:sp>
      <p:sp>
        <p:nvSpPr>
          <p:cNvPr id="74759" name="Left-Right Arrow 53">
            <a:extLst>
              <a:ext uri="{FF2B5EF4-FFF2-40B4-BE49-F238E27FC236}">
                <a16:creationId xmlns:a16="http://schemas.microsoft.com/office/drawing/2014/main" id="{E989A8B2-F9A1-4F65-8164-40801BE3E92E}"/>
              </a:ext>
            </a:extLst>
          </p:cNvPr>
          <p:cNvSpPr>
            <a:spLocks noChangeArrowheads="1"/>
          </p:cNvSpPr>
          <p:nvPr/>
        </p:nvSpPr>
        <p:spPr bwMode="auto">
          <a:xfrm>
            <a:off x="1620838" y="3657600"/>
            <a:ext cx="360362" cy="215900"/>
          </a:xfrm>
          <a:prstGeom prst="leftRightArrow">
            <a:avLst>
              <a:gd name="adj1" fmla="val 50000"/>
              <a:gd name="adj2" fmla="val 50073"/>
            </a:avLst>
          </a:prstGeom>
          <a:solidFill>
            <a:schemeClr val="accent1"/>
          </a:solidFill>
          <a:ln w="9525" algn="ctr">
            <a:solidFill>
              <a:schemeClr val="tx1"/>
            </a:solidFill>
            <a:round/>
            <a:headEnd/>
            <a:tailEnd/>
          </a:ln>
        </p:spPr>
        <p:txBody>
          <a:bodyPr/>
          <a:lstStyle/>
          <a:p>
            <a:endParaRPr lang="en-SG" altLang="en-US"/>
          </a:p>
        </p:txBody>
      </p:sp>
      <p:pic>
        <p:nvPicPr>
          <p:cNvPr id="74760" name="Picture 9">
            <a:extLst>
              <a:ext uri="{FF2B5EF4-FFF2-40B4-BE49-F238E27FC236}">
                <a16:creationId xmlns:a16="http://schemas.microsoft.com/office/drawing/2014/main" id="{CCE9206A-63DD-478C-AB77-F4B43C65A2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2775" y="2636838"/>
            <a:ext cx="576263" cy="57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74761" name="Picture 9">
            <a:extLst>
              <a:ext uri="{FF2B5EF4-FFF2-40B4-BE49-F238E27FC236}">
                <a16:creationId xmlns:a16="http://schemas.microsoft.com/office/drawing/2014/main" id="{324DFD0C-59FD-4744-8CE6-67EF43F3ABB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2775" y="3213100"/>
            <a:ext cx="576263"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74762" name="Picture 9">
            <a:extLst>
              <a:ext uri="{FF2B5EF4-FFF2-40B4-BE49-F238E27FC236}">
                <a16:creationId xmlns:a16="http://schemas.microsoft.com/office/drawing/2014/main" id="{3E30E74A-0D3A-4DBB-AFC2-539556B7AA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2775" y="3789363"/>
            <a:ext cx="576263"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74763" name="Picture 9">
            <a:extLst>
              <a:ext uri="{FF2B5EF4-FFF2-40B4-BE49-F238E27FC236}">
                <a16:creationId xmlns:a16="http://schemas.microsoft.com/office/drawing/2014/main" id="{A326AAC2-293C-4536-9154-864E5BB301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89038" y="2636838"/>
            <a:ext cx="576262" cy="57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74764" name="Picture 9">
            <a:extLst>
              <a:ext uri="{FF2B5EF4-FFF2-40B4-BE49-F238E27FC236}">
                <a16:creationId xmlns:a16="http://schemas.microsoft.com/office/drawing/2014/main" id="{6CA25C26-F14E-448E-9C14-68163911B5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89038" y="3213100"/>
            <a:ext cx="576262"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74765" name="Picture 9">
            <a:extLst>
              <a:ext uri="{FF2B5EF4-FFF2-40B4-BE49-F238E27FC236}">
                <a16:creationId xmlns:a16="http://schemas.microsoft.com/office/drawing/2014/main" id="{E6385981-D6CC-47B7-A59E-5EDF6A12D69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89038" y="3789363"/>
            <a:ext cx="576262"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74766" name="TextBox 51">
            <a:extLst>
              <a:ext uri="{FF2B5EF4-FFF2-40B4-BE49-F238E27FC236}">
                <a16:creationId xmlns:a16="http://schemas.microsoft.com/office/drawing/2014/main" id="{F6936DD4-982D-4127-A7F7-81EFD047CF37}"/>
              </a:ext>
            </a:extLst>
          </p:cNvPr>
          <p:cNvSpPr txBox="1">
            <a:spLocks noChangeArrowheads="1"/>
          </p:cNvSpPr>
          <p:nvPr/>
        </p:nvSpPr>
        <p:spPr bwMode="auto">
          <a:xfrm>
            <a:off x="468313" y="4386263"/>
            <a:ext cx="1512887"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a:t>Office examiners access IPAS via web browser</a:t>
            </a:r>
            <a:endParaRPr lang="en-SG" altLang="en-US"/>
          </a:p>
        </p:txBody>
      </p:sp>
      <p:sp>
        <p:nvSpPr>
          <p:cNvPr id="74767" name="Rounded Rectangle 54">
            <a:extLst>
              <a:ext uri="{FF2B5EF4-FFF2-40B4-BE49-F238E27FC236}">
                <a16:creationId xmlns:a16="http://schemas.microsoft.com/office/drawing/2014/main" id="{AC472ECE-EFD3-4F25-AA3B-3D45BF6DB40E}"/>
              </a:ext>
            </a:extLst>
          </p:cNvPr>
          <p:cNvSpPr>
            <a:spLocks noChangeArrowheads="1"/>
          </p:cNvSpPr>
          <p:nvPr/>
        </p:nvSpPr>
        <p:spPr bwMode="auto">
          <a:xfrm>
            <a:off x="225425" y="2636838"/>
            <a:ext cx="1611313" cy="2087562"/>
          </a:xfrm>
          <a:prstGeom prst="roundRect">
            <a:avLst>
              <a:gd name="adj" fmla="val 6921"/>
            </a:avLst>
          </a:prstGeom>
          <a:noFill/>
          <a:ln w="9525" algn="ctr">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a:lstStyle/>
          <a:p>
            <a:endParaRPr lang="en-SG" altLang="en-US"/>
          </a:p>
        </p:txBody>
      </p:sp>
      <p:pic>
        <p:nvPicPr>
          <p:cNvPr id="74768" name="Picture 11" descr="boss-icon">
            <a:extLst>
              <a:ext uri="{FF2B5EF4-FFF2-40B4-BE49-F238E27FC236}">
                <a16:creationId xmlns:a16="http://schemas.microsoft.com/office/drawing/2014/main" id="{0A3F3623-2A4D-428B-963B-E49E3032F7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86000" y="1676400"/>
            <a:ext cx="312738"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69" name="Picture 11" descr="boss-icon">
            <a:extLst>
              <a:ext uri="{FF2B5EF4-FFF2-40B4-BE49-F238E27FC236}">
                <a16:creationId xmlns:a16="http://schemas.microsoft.com/office/drawing/2014/main" id="{58A555BB-23C9-4521-BC3F-37DCF36D19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1625" y="3954463"/>
            <a:ext cx="312738"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70" name="Picture 11" descr="boss-icon">
            <a:extLst>
              <a:ext uri="{FF2B5EF4-FFF2-40B4-BE49-F238E27FC236}">
                <a16:creationId xmlns:a16="http://schemas.microsoft.com/office/drawing/2014/main" id="{D6D3675D-24B1-4B72-ADF5-1CCF4B24BF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1625" y="3352800"/>
            <a:ext cx="312738"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71" name="Picture 11" descr="boss-icon">
            <a:extLst>
              <a:ext uri="{FF2B5EF4-FFF2-40B4-BE49-F238E27FC236}">
                <a16:creationId xmlns:a16="http://schemas.microsoft.com/office/drawing/2014/main" id="{273C89FA-4BA7-490E-83FA-AAC83548177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3688" y="2811463"/>
            <a:ext cx="312737"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772" name="Text Box 47">
            <a:extLst>
              <a:ext uri="{FF2B5EF4-FFF2-40B4-BE49-F238E27FC236}">
                <a16:creationId xmlns:a16="http://schemas.microsoft.com/office/drawing/2014/main" id="{9F92F118-8F1A-4E30-912F-36391A34423D}"/>
              </a:ext>
            </a:extLst>
          </p:cNvPr>
          <p:cNvSpPr txBox="1">
            <a:spLocks noChangeArrowheads="1"/>
          </p:cNvSpPr>
          <p:nvPr/>
        </p:nvSpPr>
        <p:spPr bwMode="auto">
          <a:xfrm>
            <a:off x="5383213" y="4419600"/>
            <a:ext cx="65881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1400" b="1"/>
              <a:t>WIPO</a:t>
            </a:r>
          </a:p>
        </p:txBody>
      </p:sp>
      <p:sp>
        <p:nvSpPr>
          <p:cNvPr id="74773" name="Left Arrow 36">
            <a:extLst>
              <a:ext uri="{FF2B5EF4-FFF2-40B4-BE49-F238E27FC236}">
                <a16:creationId xmlns:a16="http://schemas.microsoft.com/office/drawing/2014/main" id="{9DA05C9A-28E7-4779-A689-A1FC3B464A64}"/>
              </a:ext>
            </a:extLst>
          </p:cNvPr>
          <p:cNvSpPr>
            <a:spLocks noChangeArrowheads="1"/>
          </p:cNvSpPr>
          <p:nvPr/>
        </p:nvSpPr>
        <p:spPr bwMode="auto">
          <a:xfrm flipH="1">
            <a:off x="3886200" y="3886200"/>
            <a:ext cx="1641475" cy="215900"/>
          </a:xfrm>
          <a:prstGeom prst="leftArrow">
            <a:avLst>
              <a:gd name="adj1" fmla="val 50000"/>
              <a:gd name="adj2" fmla="val 57022"/>
            </a:avLst>
          </a:prstGeom>
          <a:solidFill>
            <a:srgbClr val="FF0000"/>
          </a:solidFill>
          <a:ln w="9525" algn="ctr">
            <a:solidFill>
              <a:schemeClr val="tx1"/>
            </a:solidFill>
            <a:round/>
            <a:headEnd/>
            <a:tailEnd/>
          </a:ln>
        </p:spPr>
        <p:txBody>
          <a:bodyPr/>
          <a:lstStyle/>
          <a:p>
            <a:endParaRPr lang="en-SG" altLang="en-US"/>
          </a:p>
        </p:txBody>
      </p:sp>
      <p:sp>
        <p:nvSpPr>
          <p:cNvPr id="2051" name="Cloud">
            <a:extLst>
              <a:ext uri="{FF2B5EF4-FFF2-40B4-BE49-F238E27FC236}">
                <a16:creationId xmlns:a16="http://schemas.microsoft.com/office/drawing/2014/main" id="{6E7BBDC5-25AA-4542-99DB-2233FC90AAE1}"/>
              </a:ext>
            </a:extLst>
          </p:cNvPr>
          <p:cNvSpPr>
            <a:spLocks noChangeAspect="1" noEditPoints="1" noChangeArrowheads="1"/>
          </p:cNvSpPr>
          <p:nvPr/>
        </p:nvSpPr>
        <p:spPr bwMode="auto">
          <a:xfrm>
            <a:off x="4240213" y="3733800"/>
            <a:ext cx="990600" cy="665163"/>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BE7D"/>
          </a:solidFill>
          <a:ln w="9525">
            <a:solidFill>
              <a:srgbClr val="000000"/>
            </a:solidFill>
            <a:miter lim="800000"/>
            <a:headEnd/>
            <a:tailEnd/>
          </a:ln>
          <a:effectLst>
            <a:outerShdw dist="107763" dir="2700000" algn="ctr" rotWithShape="0">
              <a:srgbClr val="808080"/>
            </a:outerShdw>
          </a:effectLst>
        </p:spPr>
        <p:txBody>
          <a:bodyPr/>
          <a:lstStyle/>
          <a:p>
            <a:pPr>
              <a:defRPr/>
            </a:pPr>
            <a:endParaRPr lang="en-SG">
              <a:ea typeface="ヒラギノ角ゴ Pro W3" pitchFamily="1" charset="-128"/>
              <a:cs typeface="+mn-cs"/>
            </a:endParaRPr>
          </a:p>
        </p:txBody>
      </p:sp>
      <p:sp>
        <p:nvSpPr>
          <p:cNvPr id="74775" name="Text Box 49">
            <a:extLst>
              <a:ext uri="{FF2B5EF4-FFF2-40B4-BE49-F238E27FC236}">
                <a16:creationId xmlns:a16="http://schemas.microsoft.com/office/drawing/2014/main" id="{E5D15848-B40B-4644-AB79-1D2B85D30DA8}"/>
              </a:ext>
            </a:extLst>
          </p:cNvPr>
          <p:cNvSpPr txBox="1">
            <a:spLocks noChangeArrowheads="1"/>
          </p:cNvSpPr>
          <p:nvPr/>
        </p:nvSpPr>
        <p:spPr bwMode="auto">
          <a:xfrm>
            <a:off x="4316413" y="3886200"/>
            <a:ext cx="8334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1400" b="1"/>
              <a:t>Internet</a:t>
            </a:r>
          </a:p>
        </p:txBody>
      </p:sp>
      <p:pic>
        <p:nvPicPr>
          <p:cNvPr id="74776" name="Picture 51">
            <a:extLst>
              <a:ext uri="{FF2B5EF4-FFF2-40B4-BE49-F238E27FC236}">
                <a16:creationId xmlns:a16="http://schemas.microsoft.com/office/drawing/2014/main" id="{073DC67E-0B45-4E33-9CD3-0BD05B13CF5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81200" y="2895600"/>
            <a:ext cx="1876425"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Cube 31">
            <a:extLst>
              <a:ext uri="{FF2B5EF4-FFF2-40B4-BE49-F238E27FC236}">
                <a16:creationId xmlns:a16="http://schemas.microsoft.com/office/drawing/2014/main" id="{3704A681-64B5-4B53-8BDA-4205B1BACE27}"/>
              </a:ext>
            </a:extLst>
          </p:cNvPr>
          <p:cNvSpPr/>
          <p:nvPr/>
        </p:nvSpPr>
        <p:spPr bwMode="auto">
          <a:xfrm>
            <a:off x="2725216" y="3768804"/>
            <a:ext cx="1152129" cy="576064"/>
          </a:xfrm>
          <a:prstGeom prst="cube">
            <a:avLst>
              <a:gd name="adj" fmla="val 13777"/>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05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IPAS Madrid Module</a:t>
            </a:r>
            <a:endParaRPr lang="en-SG" sz="50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endParaRPr>
          </a:p>
        </p:txBody>
      </p:sp>
      <p:sp>
        <p:nvSpPr>
          <p:cNvPr id="74778" name="Rounded Rectangle 54">
            <a:extLst>
              <a:ext uri="{FF2B5EF4-FFF2-40B4-BE49-F238E27FC236}">
                <a16:creationId xmlns:a16="http://schemas.microsoft.com/office/drawing/2014/main" id="{932E4BC3-CCA1-497E-A651-FBAA1BFFDF56}"/>
              </a:ext>
            </a:extLst>
          </p:cNvPr>
          <p:cNvSpPr>
            <a:spLocks noChangeArrowheads="1"/>
          </p:cNvSpPr>
          <p:nvPr/>
        </p:nvSpPr>
        <p:spPr bwMode="auto">
          <a:xfrm>
            <a:off x="152400" y="1371600"/>
            <a:ext cx="3962400" cy="3581400"/>
          </a:xfrm>
          <a:prstGeom prst="roundRect">
            <a:avLst>
              <a:gd name="adj" fmla="val 6921"/>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en-SG" altLang="en-US"/>
          </a:p>
        </p:txBody>
      </p:sp>
      <p:sp>
        <p:nvSpPr>
          <p:cNvPr id="74779" name="Text Box 53">
            <a:extLst>
              <a:ext uri="{FF2B5EF4-FFF2-40B4-BE49-F238E27FC236}">
                <a16:creationId xmlns:a16="http://schemas.microsoft.com/office/drawing/2014/main" id="{DD586B3E-8B8D-4601-9478-24468B742FBB}"/>
              </a:ext>
            </a:extLst>
          </p:cNvPr>
          <p:cNvSpPr txBox="1">
            <a:spLocks noChangeArrowheads="1"/>
          </p:cNvSpPr>
          <p:nvPr/>
        </p:nvSpPr>
        <p:spPr bwMode="auto">
          <a:xfrm>
            <a:off x="1979613" y="2133600"/>
            <a:ext cx="21336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en-US" altLang="en-US" sz="900" b="1">
                <a:solidFill>
                  <a:schemeClr val="accent2"/>
                </a:solidFill>
              </a:rPr>
              <a:t>Office of Origin</a:t>
            </a:r>
          </a:p>
          <a:p>
            <a:pPr algn="r"/>
            <a:r>
              <a:rPr lang="en-US" altLang="en-US" sz="900" b="1">
                <a:solidFill>
                  <a:schemeClr val="accent2"/>
                </a:solidFill>
              </a:rPr>
              <a:t>Using WIPO IPAS</a:t>
            </a:r>
          </a:p>
        </p:txBody>
      </p:sp>
      <p:grpSp>
        <p:nvGrpSpPr>
          <p:cNvPr id="74780" name="Group 54">
            <a:extLst>
              <a:ext uri="{FF2B5EF4-FFF2-40B4-BE49-F238E27FC236}">
                <a16:creationId xmlns:a16="http://schemas.microsoft.com/office/drawing/2014/main" id="{61598BA0-C3C4-4858-8B0D-B1C908B11F15}"/>
              </a:ext>
            </a:extLst>
          </p:cNvPr>
          <p:cNvGrpSpPr>
            <a:grpSpLocks/>
          </p:cNvGrpSpPr>
          <p:nvPr/>
        </p:nvGrpSpPr>
        <p:grpSpPr bwMode="auto">
          <a:xfrm>
            <a:off x="4670425" y="1371600"/>
            <a:ext cx="206375" cy="285750"/>
            <a:chOff x="3955" y="1839"/>
            <a:chExt cx="234" cy="320"/>
          </a:xfrm>
        </p:grpSpPr>
        <p:sp>
          <p:nvSpPr>
            <p:cNvPr id="74819" name="Rectangle 55">
              <a:extLst>
                <a:ext uri="{FF2B5EF4-FFF2-40B4-BE49-F238E27FC236}">
                  <a16:creationId xmlns:a16="http://schemas.microsoft.com/office/drawing/2014/main" id="{6E02F0BB-5DDF-4363-BEA0-EDCD667CAAA2}"/>
                </a:ext>
              </a:extLst>
            </p:cNvPr>
            <p:cNvSpPr>
              <a:spLocks noChangeArrowheads="1"/>
            </p:cNvSpPr>
            <p:nvPr/>
          </p:nvSpPr>
          <p:spPr bwMode="auto">
            <a:xfrm>
              <a:off x="3991" y="1839"/>
              <a:ext cx="198" cy="222"/>
            </a:xfrm>
            <a:prstGeom prst="rect">
              <a:avLst/>
            </a:prstGeom>
            <a:solidFill>
              <a:srgbClr val="FFFF99"/>
            </a:solidFill>
            <a:ln w="9360">
              <a:solidFill>
                <a:srgbClr val="993300"/>
              </a:solidFill>
              <a:miter lim="800000"/>
              <a:headEnd/>
              <a:tailEnd/>
            </a:ln>
          </p:spPr>
          <p:txBody>
            <a:bodyPr wrap="none" anchor="ctr"/>
            <a:lstStyle/>
            <a:p>
              <a:endParaRPr lang="en-SG" altLang="en-US"/>
            </a:p>
          </p:txBody>
        </p:sp>
        <p:sp>
          <p:nvSpPr>
            <p:cNvPr id="74820" name="Rectangle 56">
              <a:extLst>
                <a:ext uri="{FF2B5EF4-FFF2-40B4-BE49-F238E27FC236}">
                  <a16:creationId xmlns:a16="http://schemas.microsoft.com/office/drawing/2014/main" id="{DE8F85B6-93AB-4648-B34F-2CFE71362EB5}"/>
                </a:ext>
              </a:extLst>
            </p:cNvPr>
            <p:cNvSpPr>
              <a:spLocks noChangeArrowheads="1"/>
            </p:cNvSpPr>
            <p:nvPr/>
          </p:nvSpPr>
          <p:spPr bwMode="auto">
            <a:xfrm>
              <a:off x="3982" y="1850"/>
              <a:ext cx="198" cy="222"/>
            </a:xfrm>
            <a:prstGeom prst="rect">
              <a:avLst/>
            </a:prstGeom>
            <a:solidFill>
              <a:srgbClr val="FFFF99"/>
            </a:solidFill>
            <a:ln w="9360">
              <a:solidFill>
                <a:srgbClr val="993300"/>
              </a:solidFill>
              <a:miter lim="800000"/>
              <a:headEnd/>
              <a:tailEnd/>
            </a:ln>
          </p:spPr>
          <p:txBody>
            <a:bodyPr wrap="none" anchor="ctr"/>
            <a:lstStyle/>
            <a:p>
              <a:endParaRPr lang="en-SG" altLang="en-US"/>
            </a:p>
          </p:txBody>
        </p:sp>
        <p:sp>
          <p:nvSpPr>
            <p:cNvPr id="74821" name="Rectangle 57">
              <a:extLst>
                <a:ext uri="{FF2B5EF4-FFF2-40B4-BE49-F238E27FC236}">
                  <a16:creationId xmlns:a16="http://schemas.microsoft.com/office/drawing/2014/main" id="{03B2EF88-833C-4C21-B1B4-D927A5DDD373}"/>
                </a:ext>
              </a:extLst>
            </p:cNvPr>
            <p:cNvSpPr>
              <a:spLocks noChangeArrowheads="1"/>
            </p:cNvSpPr>
            <p:nvPr/>
          </p:nvSpPr>
          <p:spPr bwMode="auto">
            <a:xfrm>
              <a:off x="3969" y="1866"/>
              <a:ext cx="198" cy="222"/>
            </a:xfrm>
            <a:prstGeom prst="rect">
              <a:avLst/>
            </a:prstGeom>
            <a:solidFill>
              <a:srgbClr val="FFFF99"/>
            </a:solidFill>
            <a:ln w="9360">
              <a:solidFill>
                <a:srgbClr val="993300"/>
              </a:solidFill>
              <a:miter lim="800000"/>
              <a:headEnd/>
              <a:tailEnd/>
            </a:ln>
          </p:spPr>
          <p:txBody>
            <a:bodyPr wrap="none" anchor="ctr"/>
            <a:lstStyle/>
            <a:p>
              <a:endParaRPr lang="en-SG" altLang="en-US"/>
            </a:p>
          </p:txBody>
        </p:sp>
        <p:pic>
          <p:nvPicPr>
            <p:cNvPr id="74822" name="Picture 58">
              <a:extLst>
                <a:ext uri="{FF2B5EF4-FFF2-40B4-BE49-F238E27FC236}">
                  <a16:creationId xmlns:a16="http://schemas.microsoft.com/office/drawing/2014/main" id="{B5362F66-3A21-489E-BC5F-7A902438A21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55" y="1880"/>
              <a:ext cx="196" cy="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grpSp>
      <p:pic>
        <p:nvPicPr>
          <p:cNvPr id="74781" name="Picture 11" descr="boss-icon">
            <a:extLst>
              <a:ext uri="{FF2B5EF4-FFF2-40B4-BE49-F238E27FC236}">
                <a16:creationId xmlns:a16="http://schemas.microsoft.com/office/drawing/2014/main" id="{527C01A9-8BEE-4A0A-86F7-12D70ECF47D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53000" y="1600200"/>
            <a:ext cx="312738"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4782" name="Group 62">
            <a:extLst>
              <a:ext uri="{FF2B5EF4-FFF2-40B4-BE49-F238E27FC236}">
                <a16:creationId xmlns:a16="http://schemas.microsoft.com/office/drawing/2014/main" id="{8684E022-B90C-4087-B742-FED40E9458D6}"/>
              </a:ext>
            </a:extLst>
          </p:cNvPr>
          <p:cNvGrpSpPr>
            <a:grpSpLocks/>
          </p:cNvGrpSpPr>
          <p:nvPr/>
        </p:nvGrpSpPr>
        <p:grpSpPr bwMode="auto">
          <a:xfrm>
            <a:off x="6400800" y="2057400"/>
            <a:ext cx="1268413" cy="765175"/>
            <a:chOff x="4032" y="1296"/>
            <a:chExt cx="799" cy="482"/>
          </a:xfrm>
        </p:grpSpPr>
        <p:pic>
          <p:nvPicPr>
            <p:cNvPr id="74817" name="Picture 49" descr="commercial-building-icon">
              <a:extLst>
                <a:ext uri="{FF2B5EF4-FFF2-40B4-BE49-F238E27FC236}">
                  <a16:creationId xmlns:a16="http://schemas.microsoft.com/office/drawing/2014/main" id="{E0D4DC76-1331-4BE4-A174-93E64D2220F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76" y="1296"/>
              <a:ext cx="363"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818" name="Text Box 61">
              <a:extLst>
                <a:ext uri="{FF2B5EF4-FFF2-40B4-BE49-F238E27FC236}">
                  <a16:creationId xmlns:a16="http://schemas.microsoft.com/office/drawing/2014/main" id="{024B0C93-BE92-40C6-AE31-4C68FA73D63A}"/>
                </a:ext>
              </a:extLst>
            </p:cNvPr>
            <p:cNvSpPr txBox="1">
              <a:spLocks noChangeArrowheads="1"/>
            </p:cNvSpPr>
            <p:nvPr/>
          </p:nvSpPr>
          <p:spPr bwMode="auto">
            <a:xfrm>
              <a:off x="4032" y="1584"/>
              <a:ext cx="799"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1400" b="1"/>
                <a:t>Mozambique</a:t>
              </a:r>
            </a:p>
          </p:txBody>
        </p:sp>
      </p:grpSp>
      <p:grpSp>
        <p:nvGrpSpPr>
          <p:cNvPr id="74783" name="Group 63">
            <a:extLst>
              <a:ext uri="{FF2B5EF4-FFF2-40B4-BE49-F238E27FC236}">
                <a16:creationId xmlns:a16="http://schemas.microsoft.com/office/drawing/2014/main" id="{80CE2B70-76A6-42A2-A582-6833FEB5D3DF}"/>
              </a:ext>
            </a:extLst>
          </p:cNvPr>
          <p:cNvGrpSpPr>
            <a:grpSpLocks/>
          </p:cNvGrpSpPr>
          <p:nvPr/>
        </p:nvGrpSpPr>
        <p:grpSpPr bwMode="auto">
          <a:xfrm>
            <a:off x="7315200" y="3048000"/>
            <a:ext cx="871538" cy="765175"/>
            <a:chOff x="4032" y="1296"/>
            <a:chExt cx="549" cy="482"/>
          </a:xfrm>
        </p:grpSpPr>
        <p:pic>
          <p:nvPicPr>
            <p:cNvPr id="74815" name="Picture 49" descr="commercial-building-icon">
              <a:extLst>
                <a:ext uri="{FF2B5EF4-FFF2-40B4-BE49-F238E27FC236}">
                  <a16:creationId xmlns:a16="http://schemas.microsoft.com/office/drawing/2014/main" id="{026A01C5-B702-4B20-AB13-0D662484FE2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76" y="1296"/>
              <a:ext cx="363"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816" name="Text Box 65">
              <a:extLst>
                <a:ext uri="{FF2B5EF4-FFF2-40B4-BE49-F238E27FC236}">
                  <a16:creationId xmlns:a16="http://schemas.microsoft.com/office/drawing/2014/main" id="{18C10106-BB3A-4C9E-A330-A35A6E82E94E}"/>
                </a:ext>
              </a:extLst>
            </p:cNvPr>
            <p:cNvSpPr txBox="1">
              <a:spLocks noChangeArrowheads="1"/>
            </p:cNvSpPr>
            <p:nvPr/>
          </p:nvSpPr>
          <p:spPr bwMode="auto">
            <a:xfrm>
              <a:off x="4032" y="1584"/>
              <a:ext cx="549"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1400" b="1"/>
                <a:t>Rwanda</a:t>
              </a:r>
            </a:p>
          </p:txBody>
        </p:sp>
      </p:grpSp>
      <p:grpSp>
        <p:nvGrpSpPr>
          <p:cNvPr id="74784" name="Group 66">
            <a:extLst>
              <a:ext uri="{FF2B5EF4-FFF2-40B4-BE49-F238E27FC236}">
                <a16:creationId xmlns:a16="http://schemas.microsoft.com/office/drawing/2014/main" id="{6CBBE7C5-B521-4804-A5A4-1E16B0134043}"/>
              </a:ext>
            </a:extLst>
          </p:cNvPr>
          <p:cNvGrpSpPr>
            <a:grpSpLocks/>
          </p:cNvGrpSpPr>
          <p:nvPr/>
        </p:nvGrpSpPr>
        <p:grpSpPr bwMode="auto">
          <a:xfrm>
            <a:off x="7940675" y="4191000"/>
            <a:ext cx="623888" cy="836613"/>
            <a:chOff x="4176" y="1296"/>
            <a:chExt cx="393" cy="527"/>
          </a:xfrm>
        </p:grpSpPr>
        <p:pic>
          <p:nvPicPr>
            <p:cNvPr id="74813" name="Picture 49" descr="commercial-building-icon">
              <a:extLst>
                <a:ext uri="{FF2B5EF4-FFF2-40B4-BE49-F238E27FC236}">
                  <a16:creationId xmlns:a16="http://schemas.microsoft.com/office/drawing/2014/main" id="{2474DEF2-F99F-4004-8FA5-F929549AE2C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76" y="1296"/>
              <a:ext cx="363"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814" name="Text Box 68">
              <a:extLst>
                <a:ext uri="{FF2B5EF4-FFF2-40B4-BE49-F238E27FC236}">
                  <a16:creationId xmlns:a16="http://schemas.microsoft.com/office/drawing/2014/main" id="{CD7A1A24-FED7-4C37-A7C9-1CF42F9FA2B2}"/>
                </a:ext>
              </a:extLst>
            </p:cNvPr>
            <p:cNvSpPr txBox="1">
              <a:spLocks noChangeArrowheads="1"/>
            </p:cNvSpPr>
            <p:nvPr/>
          </p:nvSpPr>
          <p:spPr bwMode="auto">
            <a:xfrm>
              <a:off x="4176" y="1629"/>
              <a:ext cx="393"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1400" b="1"/>
                <a:t>OAPI</a:t>
              </a:r>
            </a:p>
          </p:txBody>
        </p:sp>
      </p:grpSp>
      <p:grpSp>
        <p:nvGrpSpPr>
          <p:cNvPr id="74785" name="Group 69">
            <a:extLst>
              <a:ext uri="{FF2B5EF4-FFF2-40B4-BE49-F238E27FC236}">
                <a16:creationId xmlns:a16="http://schemas.microsoft.com/office/drawing/2014/main" id="{62B946B9-A8DF-4C42-9376-AD2ED52A1437}"/>
              </a:ext>
            </a:extLst>
          </p:cNvPr>
          <p:cNvGrpSpPr>
            <a:grpSpLocks/>
          </p:cNvGrpSpPr>
          <p:nvPr/>
        </p:nvGrpSpPr>
        <p:grpSpPr bwMode="auto">
          <a:xfrm>
            <a:off x="7213600" y="5181600"/>
            <a:ext cx="882650" cy="820738"/>
            <a:chOff x="4112" y="1296"/>
            <a:chExt cx="556" cy="517"/>
          </a:xfrm>
        </p:grpSpPr>
        <p:pic>
          <p:nvPicPr>
            <p:cNvPr id="74811" name="Picture 49" descr="commercial-building-icon">
              <a:extLst>
                <a:ext uri="{FF2B5EF4-FFF2-40B4-BE49-F238E27FC236}">
                  <a16:creationId xmlns:a16="http://schemas.microsoft.com/office/drawing/2014/main" id="{51740CE1-1E77-43CB-B7C2-A5F8650736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76" y="1296"/>
              <a:ext cx="363"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812" name="Text Box 71">
              <a:extLst>
                <a:ext uri="{FF2B5EF4-FFF2-40B4-BE49-F238E27FC236}">
                  <a16:creationId xmlns:a16="http://schemas.microsoft.com/office/drawing/2014/main" id="{98E0C12E-B560-4962-9F36-8EB2F3044CC1}"/>
                </a:ext>
              </a:extLst>
            </p:cNvPr>
            <p:cNvSpPr txBox="1">
              <a:spLocks noChangeArrowheads="1"/>
            </p:cNvSpPr>
            <p:nvPr/>
          </p:nvSpPr>
          <p:spPr bwMode="auto">
            <a:xfrm>
              <a:off x="4112" y="1619"/>
              <a:ext cx="556"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1400" b="1"/>
                <a:t>Namibia</a:t>
              </a:r>
            </a:p>
          </p:txBody>
        </p:sp>
      </p:grpSp>
      <p:grpSp>
        <p:nvGrpSpPr>
          <p:cNvPr id="74786" name="Group 72">
            <a:extLst>
              <a:ext uri="{FF2B5EF4-FFF2-40B4-BE49-F238E27FC236}">
                <a16:creationId xmlns:a16="http://schemas.microsoft.com/office/drawing/2014/main" id="{D510EC99-02A7-4620-8729-A6DD1E38CD6D}"/>
              </a:ext>
            </a:extLst>
          </p:cNvPr>
          <p:cNvGrpSpPr>
            <a:grpSpLocks/>
          </p:cNvGrpSpPr>
          <p:nvPr/>
        </p:nvGrpSpPr>
        <p:grpSpPr bwMode="auto">
          <a:xfrm>
            <a:off x="5861050" y="5715000"/>
            <a:ext cx="722313" cy="839788"/>
            <a:chOff x="4142" y="1296"/>
            <a:chExt cx="455" cy="529"/>
          </a:xfrm>
        </p:grpSpPr>
        <p:pic>
          <p:nvPicPr>
            <p:cNvPr id="74809" name="Picture 49" descr="commercial-building-icon">
              <a:extLst>
                <a:ext uri="{FF2B5EF4-FFF2-40B4-BE49-F238E27FC236}">
                  <a16:creationId xmlns:a16="http://schemas.microsoft.com/office/drawing/2014/main" id="{C5CB90BA-5D3B-433D-9F65-6836E179B0E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76" y="1296"/>
              <a:ext cx="363"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810" name="Text Box 74">
              <a:extLst>
                <a:ext uri="{FF2B5EF4-FFF2-40B4-BE49-F238E27FC236}">
                  <a16:creationId xmlns:a16="http://schemas.microsoft.com/office/drawing/2014/main" id="{ABAF731B-5FC3-434C-A653-52D7A875AD0C}"/>
                </a:ext>
              </a:extLst>
            </p:cNvPr>
            <p:cNvSpPr txBox="1">
              <a:spLocks noChangeArrowheads="1"/>
            </p:cNvSpPr>
            <p:nvPr/>
          </p:nvSpPr>
          <p:spPr bwMode="auto">
            <a:xfrm>
              <a:off x="4142" y="1631"/>
              <a:ext cx="455"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1400" b="1"/>
                <a:t>Kenya</a:t>
              </a:r>
            </a:p>
          </p:txBody>
        </p:sp>
      </p:grpSp>
      <p:sp>
        <p:nvSpPr>
          <p:cNvPr id="74787" name="Oval 77">
            <a:extLst>
              <a:ext uri="{FF2B5EF4-FFF2-40B4-BE49-F238E27FC236}">
                <a16:creationId xmlns:a16="http://schemas.microsoft.com/office/drawing/2014/main" id="{2FC2705A-90D4-4EE2-A15F-589A224A110E}"/>
              </a:ext>
            </a:extLst>
          </p:cNvPr>
          <p:cNvSpPr>
            <a:spLocks noChangeArrowheads="1"/>
          </p:cNvSpPr>
          <p:nvPr/>
        </p:nvSpPr>
        <p:spPr bwMode="auto">
          <a:xfrm>
            <a:off x="6629400" y="5943600"/>
            <a:ext cx="152400" cy="152400"/>
          </a:xfrm>
          <a:prstGeom prst="ellipse">
            <a:avLst/>
          </a:prstGeom>
          <a:solidFill>
            <a:schemeClr val="accent1"/>
          </a:solidFill>
          <a:ln w="9525">
            <a:solidFill>
              <a:schemeClr val="tx1"/>
            </a:solidFill>
            <a:round/>
            <a:headEnd/>
            <a:tailEnd/>
          </a:ln>
        </p:spPr>
        <p:txBody>
          <a:bodyPr wrap="none" anchor="ctr"/>
          <a:lstStyle/>
          <a:p>
            <a:endParaRPr lang="en-SG" altLang="en-US"/>
          </a:p>
        </p:txBody>
      </p:sp>
      <p:sp>
        <p:nvSpPr>
          <p:cNvPr id="74788" name="Oval 78">
            <a:extLst>
              <a:ext uri="{FF2B5EF4-FFF2-40B4-BE49-F238E27FC236}">
                <a16:creationId xmlns:a16="http://schemas.microsoft.com/office/drawing/2014/main" id="{0DD83224-FEF1-4D1E-8A5A-F4BF7808D2D8}"/>
              </a:ext>
            </a:extLst>
          </p:cNvPr>
          <p:cNvSpPr>
            <a:spLocks noChangeArrowheads="1"/>
          </p:cNvSpPr>
          <p:nvPr/>
        </p:nvSpPr>
        <p:spPr bwMode="auto">
          <a:xfrm>
            <a:off x="6934200" y="5791200"/>
            <a:ext cx="152400" cy="152400"/>
          </a:xfrm>
          <a:prstGeom prst="ellipse">
            <a:avLst/>
          </a:prstGeom>
          <a:solidFill>
            <a:schemeClr val="accent1"/>
          </a:solidFill>
          <a:ln w="9525">
            <a:solidFill>
              <a:schemeClr val="tx1"/>
            </a:solidFill>
            <a:round/>
            <a:headEnd/>
            <a:tailEnd/>
          </a:ln>
        </p:spPr>
        <p:txBody>
          <a:bodyPr wrap="none" anchor="ctr"/>
          <a:lstStyle/>
          <a:p>
            <a:endParaRPr lang="en-SG" altLang="en-US"/>
          </a:p>
        </p:txBody>
      </p:sp>
      <p:sp>
        <p:nvSpPr>
          <p:cNvPr id="74789" name="Oval 79">
            <a:extLst>
              <a:ext uri="{FF2B5EF4-FFF2-40B4-BE49-F238E27FC236}">
                <a16:creationId xmlns:a16="http://schemas.microsoft.com/office/drawing/2014/main" id="{324CAE52-5CE7-457E-AA62-FACADF40DB7E}"/>
              </a:ext>
            </a:extLst>
          </p:cNvPr>
          <p:cNvSpPr>
            <a:spLocks noChangeArrowheads="1"/>
          </p:cNvSpPr>
          <p:nvPr/>
        </p:nvSpPr>
        <p:spPr bwMode="auto">
          <a:xfrm>
            <a:off x="8001000" y="5105400"/>
            <a:ext cx="152400" cy="152400"/>
          </a:xfrm>
          <a:prstGeom prst="ellipse">
            <a:avLst/>
          </a:prstGeom>
          <a:solidFill>
            <a:schemeClr val="accent1"/>
          </a:solidFill>
          <a:ln w="9525">
            <a:solidFill>
              <a:schemeClr val="tx1"/>
            </a:solidFill>
            <a:round/>
            <a:headEnd/>
            <a:tailEnd/>
          </a:ln>
        </p:spPr>
        <p:txBody>
          <a:bodyPr wrap="none" anchor="ctr"/>
          <a:lstStyle/>
          <a:p>
            <a:endParaRPr lang="en-SG" altLang="en-US"/>
          </a:p>
        </p:txBody>
      </p:sp>
      <p:sp>
        <p:nvSpPr>
          <p:cNvPr id="74790" name="Oval 80">
            <a:extLst>
              <a:ext uri="{FF2B5EF4-FFF2-40B4-BE49-F238E27FC236}">
                <a16:creationId xmlns:a16="http://schemas.microsoft.com/office/drawing/2014/main" id="{DB9C3D43-B0B2-4180-BFEF-4305B110EE1B}"/>
              </a:ext>
            </a:extLst>
          </p:cNvPr>
          <p:cNvSpPr>
            <a:spLocks noChangeArrowheads="1"/>
          </p:cNvSpPr>
          <p:nvPr/>
        </p:nvSpPr>
        <p:spPr bwMode="auto">
          <a:xfrm>
            <a:off x="8077200" y="3886200"/>
            <a:ext cx="152400" cy="152400"/>
          </a:xfrm>
          <a:prstGeom prst="ellipse">
            <a:avLst/>
          </a:prstGeom>
          <a:solidFill>
            <a:schemeClr val="accent1"/>
          </a:solidFill>
          <a:ln w="9525">
            <a:solidFill>
              <a:schemeClr val="tx1"/>
            </a:solidFill>
            <a:round/>
            <a:headEnd/>
            <a:tailEnd/>
          </a:ln>
        </p:spPr>
        <p:txBody>
          <a:bodyPr wrap="none" anchor="ctr"/>
          <a:lstStyle/>
          <a:p>
            <a:endParaRPr lang="en-SG" altLang="en-US"/>
          </a:p>
        </p:txBody>
      </p:sp>
      <p:sp>
        <p:nvSpPr>
          <p:cNvPr id="74791" name="Oval 81">
            <a:extLst>
              <a:ext uri="{FF2B5EF4-FFF2-40B4-BE49-F238E27FC236}">
                <a16:creationId xmlns:a16="http://schemas.microsoft.com/office/drawing/2014/main" id="{F9C3DBFB-002C-4353-82B9-AF59849A048F}"/>
              </a:ext>
            </a:extLst>
          </p:cNvPr>
          <p:cNvSpPr>
            <a:spLocks noChangeArrowheads="1"/>
          </p:cNvSpPr>
          <p:nvPr/>
        </p:nvSpPr>
        <p:spPr bwMode="auto">
          <a:xfrm>
            <a:off x="7315200" y="2286000"/>
            <a:ext cx="152400" cy="152400"/>
          </a:xfrm>
          <a:prstGeom prst="ellipse">
            <a:avLst/>
          </a:prstGeom>
          <a:solidFill>
            <a:schemeClr val="accent1"/>
          </a:solidFill>
          <a:ln w="9525">
            <a:solidFill>
              <a:schemeClr val="tx1"/>
            </a:solidFill>
            <a:round/>
            <a:headEnd/>
            <a:tailEnd/>
          </a:ln>
        </p:spPr>
        <p:txBody>
          <a:bodyPr wrap="none" anchor="ctr"/>
          <a:lstStyle/>
          <a:p>
            <a:endParaRPr lang="en-SG" altLang="en-US"/>
          </a:p>
        </p:txBody>
      </p:sp>
      <p:sp>
        <p:nvSpPr>
          <p:cNvPr id="74792" name="Oval 82">
            <a:extLst>
              <a:ext uri="{FF2B5EF4-FFF2-40B4-BE49-F238E27FC236}">
                <a16:creationId xmlns:a16="http://schemas.microsoft.com/office/drawing/2014/main" id="{132C4622-8D5B-4675-A599-8F65DC9ACD27}"/>
              </a:ext>
            </a:extLst>
          </p:cNvPr>
          <p:cNvSpPr>
            <a:spLocks noChangeArrowheads="1"/>
          </p:cNvSpPr>
          <p:nvPr/>
        </p:nvSpPr>
        <p:spPr bwMode="auto">
          <a:xfrm>
            <a:off x="7620000" y="2667000"/>
            <a:ext cx="152400" cy="152400"/>
          </a:xfrm>
          <a:prstGeom prst="ellipse">
            <a:avLst/>
          </a:prstGeom>
          <a:solidFill>
            <a:schemeClr val="accent1"/>
          </a:solidFill>
          <a:ln w="9525">
            <a:solidFill>
              <a:schemeClr val="tx1"/>
            </a:solidFill>
            <a:round/>
            <a:headEnd/>
            <a:tailEnd/>
          </a:ln>
        </p:spPr>
        <p:txBody>
          <a:bodyPr wrap="none" anchor="ctr"/>
          <a:lstStyle/>
          <a:p>
            <a:endParaRPr lang="en-SG" altLang="en-US"/>
          </a:p>
        </p:txBody>
      </p:sp>
      <p:sp>
        <p:nvSpPr>
          <p:cNvPr id="74793" name="Line 54">
            <a:extLst>
              <a:ext uri="{FF2B5EF4-FFF2-40B4-BE49-F238E27FC236}">
                <a16:creationId xmlns:a16="http://schemas.microsoft.com/office/drawing/2014/main" id="{DAE799E6-E51C-4AA2-BF81-2AD9913496A6}"/>
              </a:ext>
            </a:extLst>
          </p:cNvPr>
          <p:cNvSpPr>
            <a:spLocks noChangeShapeType="1"/>
          </p:cNvSpPr>
          <p:nvPr/>
        </p:nvSpPr>
        <p:spPr bwMode="auto">
          <a:xfrm flipH="1" flipV="1">
            <a:off x="6096000" y="4267200"/>
            <a:ext cx="1219200" cy="990600"/>
          </a:xfrm>
          <a:prstGeom prst="line">
            <a:avLst/>
          </a:prstGeom>
          <a:noFill/>
          <a:ln w="25400">
            <a:solidFill>
              <a:srgbClr val="800000"/>
            </a:solidFill>
            <a:prstDash val="sysDot"/>
            <a:round/>
            <a:headEnd type="stealth" w="lg" len="lg"/>
            <a:tailEnd type="none" w="lg" len="lg"/>
          </a:ln>
          <a:extLst>
            <a:ext uri="{909E8E84-426E-40DD-AFC4-6F175D3DCCD1}">
              <a14:hiddenFill xmlns:a14="http://schemas.microsoft.com/office/drawing/2010/main">
                <a:noFill/>
              </a14:hiddenFill>
            </a:ext>
          </a:extLst>
        </p:spPr>
        <p:txBody>
          <a:bodyPr lIns="72000" tIns="72000" rIns="72000" bIns="72000" anchor="ctr">
            <a:spAutoFit/>
          </a:bodyPr>
          <a:lstStyle/>
          <a:p>
            <a:endParaRPr lang="en-GB"/>
          </a:p>
        </p:txBody>
      </p:sp>
      <p:sp>
        <p:nvSpPr>
          <p:cNvPr id="74794" name="Line 54">
            <a:extLst>
              <a:ext uri="{FF2B5EF4-FFF2-40B4-BE49-F238E27FC236}">
                <a16:creationId xmlns:a16="http://schemas.microsoft.com/office/drawing/2014/main" id="{3089F595-FD28-4A7D-AE5B-3EB77AE06CA3}"/>
              </a:ext>
            </a:extLst>
          </p:cNvPr>
          <p:cNvSpPr>
            <a:spLocks noChangeShapeType="1"/>
          </p:cNvSpPr>
          <p:nvPr/>
        </p:nvSpPr>
        <p:spPr bwMode="auto">
          <a:xfrm flipH="1" flipV="1">
            <a:off x="6096000" y="4419600"/>
            <a:ext cx="76200" cy="1219200"/>
          </a:xfrm>
          <a:prstGeom prst="line">
            <a:avLst/>
          </a:prstGeom>
          <a:noFill/>
          <a:ln w="25400">
            <a:solidFill>
              <a:srgbClr val="800000"/>
            </a:solidFill>
            <a:prstDash val="sysDot"/>
            <a:round/>
            <a:headEnd type="stealth" w="lg" len="lg"/>
            <a:tailEnd type="none" w="lg" len="lg"/>
          </a:ln>
          <a:extLst>
            <a:ext uri="{909E8E84-426E-40DD-AFC4-6F175D3DCCD1}">
              <a14:hiddenFill xmlns:a14="http://schemas.microsoft.com/office/drawing/2010/main">
                <a:noFill/>
              </a14:hiddenFill>
            </a:ext>
          </a:extLst>
        </p:spPr>
        <p:txBody>
          <a:bodyPr lIns="72000" tIns="72000" rIns="72000" bIns="72000" anchor="ctr">
            <a:spAutoFit/>
          </a:bodyPr>
          <a:lstStyle/>
          <a:p>
            <a:endParaRPr lang="en-GB"/>
          </a:p>
        </p:txBody>
      </p:sp>
      <p:sp>
        <p:nvSpPr>
          <p:cNvPr id="74795" name="Line 54">
            <a:extLst>
              <a:ext uri="{FF2B5EF4-FFF2-40B4-BE49-F238E27FC236}">
                <a16:creationId xmlns:a16="http://schemas.microsoft.com/office/drawing/2014/main" id="{A4905739-ED98-40EE-9E7A-A4011E813530}"/>
              </a:ext>
            </a:extLst>
          </p:cNvPr>
          <p:cNvSpPr>
            <a:spLocks noChangeShapeType="1"/>
          </p:cNvSpPr>
          <p:nvPr/>
        </p:nvSpPr>
        <p:spPr bwMode="auto">
          <a:xfrm flipH="1" flipV="1">
            <a:off x="6172200" y="4191000"/>
            <a:ext cx="1600200" cy="228600"/>
          </a:xfrm>
          <a:prstGeom prst="line">
            <a:avLst/>
          </a:prstGeom>
          <a:noFill/>
          <a:ln w="25400">
            <a:solidFill>
              <a:srgbClr val="800000"/>
            </a:solidFill>
            <a:prstDash val="sysDot"/>
            <a:round/>
            <a:headEnd type="stealth" w="lg" len="lg"/>
            <a:tailEnd type="none" w="lg" len="lg"/>
          </a:ln>
          <a:extLst>
            <a:ext uri="{909E8E84-426E-40DD-AFC4-6F175D3DCCD1}">
              <a14:hiddenFill xmlns:a14="http://schemas.microsoft.com/office/drawing/2010/main">
                <a:noFill/>
              </a14:hiddenFill>
            </a:ext>
          </a:extLst>
        </p:spPr>
        <p:txBody>
          <a:bodyPr lIns="72000" tIns="72000" rIns="72000" bIns="72000" anchor="ctr">
            <a:spAutoFit/>
          </a:bodyPr>
          <a:lstStyle/>
          <a:p>
            <a:endParaRPr lang="en-GB"/>
          </a:p>
        </p:txBody>
      </p:sp>
      <p:sp>
        <p:nvSpPr>
          <p:cNvPr id="74796" name="Line 54">
            <a:extLst>
              <a:ext uri="{FF2B5EF4-FFF2-40B4-BE49-F238E27FC236}">
                <a16:creationId xmlns:a16="http://schemas.microsoft.com/office/drawing/2014/main" id="{BF8A61BF-33FF-44D3-9B70-22D2B5FCE8CC}"/>
              </a:ext>
            </a:extLst>
          </p:cNvPr>
          <p:cNvSpPr>
            <a:spLocks noChangeShapeType="1"/>
          </p:cNvSpPr>
          <p:nvPr/>
        </p:nvSpPr>
        <p:spPr bwMode="auto">
          <a:xfrm flipH="1">
            <a:off x="6172200" y="3505200"/>
            <a:ext cx="1219200" cy="609600"/>
          </a:xfrm>
          <a:prstGeom prst="line">
            <a:avLst/>
          </a:prstGeom>
          <a:noFill/>
          <a:ln w="25400">
            <a:solidFill>
              <a:srgbClr val="800000"/>
            </a:solidFill>
            <a:prstDash val="sysDot"/>
            <a:round/>
            <a:headEnd type="stealth" w="lg" len="lg"/>
            <a:tailEnd type="none" w="lg" len="lg"/>
          </a:ln>
          <a:extLst>
            <a:ext uri="{909E8E84-426E-40DD-AFC4-6F175D3DCCD1}">
              <a14:hiddenFill xmlns:a14="http://schemas.microsoft.com/office/drawing/2010/main">
                <a:noFill/>
              </a14:hiddenFill>
            </a:ext>
          </a:extLst>
        </p:spPr>
        <p:txBody>
          <a:bodyPr lIns="72000" tIns="72000" rIns="72000" bIns="72000" anchor="ctr">
            <a:spAutoFit/>
          </a:bodyPr>
          <a:lstStyle/>
          <a:p>
            <a:endParaRPr lang="en-GB"/>
          </a:p>
        </p:txBody>
      </p:sp>
      <p:sp>
        <p:nvSpPr>
          <p:cNvPr id="74797" name="Line 54">
            <a:extLst>
              <a:ext uri="{FF2B5EF4-FFF2-40B4-BE49-F238E27FC236}">
                <a16:creationId xmlns:a16="http://schemas.microsoft.com/office/drawing/2014/main" id="{8286252F-12D4-449B-A6CB-C973234670D9}"/>
              </a:ext>
            </a:extLst>
          </p:cNvPr>
          <p:cNvSpPr>
            <a:spLocks noChangeShapeType="1"/>
          </p:cNvSpPr>
          <p:nvPr/>
        </p:nvSpPr>
        <p:spPr bwMode="auto">
          <a:xfrm flipH="1">
            <a:off x="6096000" y="2819400"/>
            <a:ext cx="609600" cy="1219200"/>
          </a:xfrm>
          <a:prstGeom prst="line">
            <a:avLst/>
          </a:prstGeom>
          <a:noFill/>
          <a:ln w="25400">
            <a:solidFill>
              <a:srgbClr val="800000"/>
            </a:solidFill>
            <a:prstDash val="sysDot"/>
            <a:round/>
            <a:headEnd type="stealth" w="lg" len="lg"/>
            <a:tailEnd type="none" w="lg" len="lg"/>
          </a:ln>
          <a:extLst>
            <a:ext uri="{909E8E84-426E-40DD-AFC4-6F175D3DCCD1}">
              <a14:hiddenFill xmlns:a14="http://schemas.microsoft.com/office/drawing/2010/main">
                <a:noFill/>
              </a14:hiddenFill>
            </a:ext>
          </a:extLst>
        </p:spPr>
        <p:txBody>
          <a:bodyPr lIns="72000" tIns="72000" rIns="72000" bIns="72000" anchor="ctr">
            <a:spAutoFit/>
          </a:bodyPr>
          <a:lstStyle/>
          <a:p>
            <a:endParaRPr lang="en-GB"/>
          </a:p>
        </p:txBody>
      </p:sp>
      <p:pic>
        <p:nvPicPr>
          <p:cNvPr id="74798" name="Picture 59" descr="Files-2-2-icon">
            <a:extLst>
              <a:ext uri="{FF2B5EF4-FFF2-40B4-BE49-F238E27FC236}">
                <a16:creationId xmlns:a16="http://schemas.microsoft.com/office/drawing/2014/main" id="{9997105B-854C-4B5D-A4CB-84B54CF7E12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72200" y="3352800"/>
            <a:ext cx="3556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99" name="Picture 59" descr="Files-2-2-icon">
            <a:extLst>
              <a:ext uri="{FF2B5EF4-FFF2-40B4-BE49-F238E27FC236}">
                <a16:creationId xmlns:a16="http://schemas.microsoft.com/office/drawing/2014/main" id="{DAE3F6FA-FEB7-4222-9D2C-03772F51479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29400" y="3581400"/>
            <a:ext cx="3556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800" name="Picture 59" descr="Files-2-2-icon">
            <a:extLst>
              <a:ext uri="{FF2B5EF4-FFF2-40B4-BE49-F238E27FC236}">
                <a16:creationId xmlns:a16="http://schemas.microsoft.com/office/drawing/2014/main" id="{81E4C058-B24F-46BE-8061-9C03EBD4731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58000" y="4114800"/>
            <a:ext cx="3556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801" name="Picture 59" descr="Files-2-2-icon">
            <a:extLst>
              <a:ext uri="{FF2B5EF4-FFF2-40B4-BE49-F238E27FC236}">
                <a16:creationId xmlns:a16="http://schemas.microsoft.com/office/drawing/2014/main" id="{A4A2D930-4344-41B9-84E7-8EA2E84A8E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77000" y="4572000"/>
            <a:ext cx="3556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802" name="Picture 59" descr="Files-2-2-icon">
            <a:extLst>
              <a:ext uri="{FF2B5EF4-FFF2-40B4-BE49-F238E27FC236}">
                <a16:creationId xmlns:a16="http://schemas.microsoft.com/office/drawing/2014/main" id="{A4CFBE84-1A8D-4B25-B825-8B1BB1902BD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943600" y="4876800"/>
            <a:ext cx="3556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803" name="Picture 5">
            <a:extLst>
              <a:ext uri="{FF2B5EF4-FFF2-40B4-BE49-F238E27FC236}">
                <a16:creationId xmlns:a16="http://schemas.microsoft.com/office/drawing/2014/main" id="{6ECCBC46-2542-4980-9630-BC7AB9515D0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57400" y="3276600"/>
            <a:ext cx="5334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74804" name="Text Box 93">
            <a:extLst>
              <a:ext uri="{FF2B5EF4-FFF2-40B4-BE49-F238E27FC236}">
                <a16:creationId xmlns:a16="http://schemas.microsoft.com/office/drawing/2014/main" id="{CB9FEB4F-7071-475B-B597-7AEB169DA2BB}"/>
              </a:ext>
            </a:extLst>
          </p:cNvPr>
          <p:cNvSpPr txBox="1">
            <a:spLocks noChangeArrowheads="1"/>
          </p:cNvSpPr>
          <p:nvPr/>
        </p:nvSpPr>
        <p:spPr bwMode="auto">
          <a:xfrm>
            <a:off x="4724400" y="1905000"/>
            <a:ext cx="9906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1400" b="1"/>
              <a:t>Applicant</a:t>
            </a:r>
          </a:p>
        </p:txBody>
      </p:sp>
      <p:pic>
        <p:nvPicPr>
          <p:cNvPr id="74805" name="Picture 37" descr="Hospital-icon">
            <a:extLst>
              <a:ext uri="{FF2B5EF4-FFF2-40B4-BE49-F238E27FC236}">
                <a16:creationId xmlns:a16="http://schemas.microsoft.com/office/drawing/2014/main" id="{BC385187-473B-4BD9-A0F2-EE8DB3EF63B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352800" y="1524000"/>
            <a:ext cx="673100"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806" name="Text Box 95">
            <a:extLst>
              <a:ext uri="{FF2B5EF4-FFF2-40B4-BE49-F238E27FC236}">
                <a16:creationId xmlns:a16="http://schemas.microsoft.com/office/drawing/2014/main" id="{A49C5736-C490-4255-B004-C4018D990106}"/>
              </a:ext>
            </a:extLst>
          </p:cNvPr>
          <p:cNvSpPr txBox="1">
            <a:spLocks noChangeArrowheads="1"/>
          </p:cNvSpPr>
          <p:nvPr/>
        </p:nvSpPr>
        <p:spPr bwMode="auto">
          <a:xfrm>
            <a:off x="6659563" y="1814513"/>
            <a:ext cx="23050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en-US" altLang="en-US" sz="1000" b="1">
                <a:solidFill>
                  <a:schemeClr val="accent2"/>
                </a:solidFill>
              </a:rPr>
              <a:t>Designated Contracting States</a:t>
            </a:r>
          </a:p>
        </p:txBody>
      </p:sp>
      <p:sp>
        <p:nvSpPr>
          <p:cNvPr id="74807" name="Text Box 96">
            <a:extLst>
              <a:ext uri="{FF2B5EF4-FFF2-40B4-BE49-F238E27FC236}">
                <a16:creationId xmlns:a16="http://schemas.microsoft.com/office/drawing/2014/main" id="{3F4DBCBB-286C-4F7C-9629-A578CFA53FCA}"/>
              </a:ext>
            </a:extLst>
          </p:cNvPr>
          <p:cNvSpPr txBox="1">
            <a:spLocks noChangeArrowheads="1"/>
          </p:cNvSpPr>
          <p:nvPr/>
        </p:nvSpPr>
        <p:spPr bwMode="auto">
          <a:xfrm>
            <a:off x="4953000" y="3216275"/>
            <a:ext cx="1255713"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altLang="en-US" sz="1400" b="1">
                <a:solidFill>
                  <a:srgbClr val="FF0000"/>
                </a:solidFill>
              </a:rPr>
              <a:t>MADRID </a:t>
            </a:r>
          </a:p>
          <a:p>
            <a:pPr algn="ctr"/>
            <a:r>
              <a:rPr lang="en-US" altLang="en-US" sz="1400" b="1">
                <a:solidFill>
                  <a:srgbClr val="FF0000"/>
                </a:solidFill>
              </a:rPr>
              <a:t>Notifications</a:t>
            </a:r>
          </a:p>
        </p:txBody>
      </p:sp>
      <p:sp>
        <p:nvSpPr>
          <p:cNvPr id="74808" name="Text Box 97">
            <a:extLst>
              <a:ext uri="{FF2B5EF4-FFF2-40B4-BE49-F238E27FC236}">
                <a16:creationId xmlns:a16="http://schemas.microsoft.com/office/drawing/2014/main" id="{289819FD-DD1D-4B7A-AE76-6AFEEB3335C6}"/>
              </a:ext>
            </a:extLst>
          </p:cNvPr>
          <p:cNvSpPr txBox="1">
            <a:spLocks noChangeArrowheads="1"/>
          </p:cNvSpPr>
          <p:nvPr/>
        </p:nvSpPr>
        <p:spPr bwMode="auto">
          <a:xfrm>
            <a:off x="4868863" y="1295400"/>
            <a:ext cx="35893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altLang="en-US" sz="1400" b="1">
                <a:solidFill>
                  <a:srgbClr val="FF0000"/>
                </a:solidFill>
              </a:rPr>
              <a:t>New application or Request for Changes</a:t>
            </a: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778" name="Picture 2">
            <a:extLst>
              <a:ext uri="{FF2B5EF4-FFF2-40B4-BE49-F238E27FC236}">
                <a16:creationId xmlns:a16="http://schemas.microsoft.com/office/drawing/2014/main" id="{E27B6486-9CE5-4440-B52F-052B6FBA1C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24000"/>
            <a:ext cx="8991600" cy="404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2">
            <a:extLst>
              <a:ext uri="{FF2B5EF4-FFF2-40B4-BE49-F238E27FC236}">
                <a16:creationId xmlns:a16="http://schemas.microsoft.com/office/drawing/2014/main" id="{37D1DC81-258C-45E7-8238-D78610687553}"/>
              </a:ext>
            </a:extLst>
          </p:cNvPr>
          <p:cNvSpPr txBox="1">
            <a:spLocks noChangeArrowheads="1"/>
          </p:cNvSpPr>
          <p:nvPr/>
        </p:nvSpPr>
        <p:spPr bwMode="auto">
          <a:xfrm>
            <a:off x="381000" y="228600"/>
            <a:ext cx="8610600" cy="941388"/>
          </a:xfrm>
          <a:prstGeom prst="rect">
            <a:avLst/>
          </a:prstGeom>
          <a:noFill/>
          <a:ln>
            <a:noFill/>
          </a:ln>
          <a:effectLst/>
        </p:spPr>
        <p:txBody>
          <a:bodyPr lIns="90000" tIns="46800" rIns="90000" bIns="46800" anchor="ctr"/>
          <a:lstStyle>
            <a:lvl1pPr algn="l" defTabSz="449263" rtl="0" eaLnBrk="0" fontAlgn="base" hangingPunct="0">
              <a:spcBef>
                <a:spcPct val="0"/>
              </a:spcBef>
              <a:spcAft>
                <a:spcPct val="0"/>
              </a:spcAft>
              <a:buClr>
                <a:srgbClr val="000000"/>
              </a:buClr>
              <a:buSzPct val="100000"/>
              <a:buFont typeface="Times New Roman" panose="02020603050405020304" pitchFamily="18" charset="0"/>
              <a:defRPr sz="3600">
                <a:solidFill>
                  <a:srgbClr val="00408C"/>
                </a:solidFill>
                <a:latin typeface="+mj-lt"/>
                <a:ea typeface="Arial Unicode MS" pitchFamily="34" charset="-128"/>
                <a:cs typeface="+mj-cs"/>
              </a:defRPr>
            </a:lvl1pPr>
            <a:lvl2pPr algn="l" defTabSz="449263" rtl="0" eaLnBrk="0" fontAlgn="base" hangingPunct="0">
              <a:spcBef>
                <a:spcPct val="0"/>
              </a:spcBef>
              <a:spcAft>
                <a:spcPct val="0"/>
              </a:spcAft>
              <a:buClr>
                <a:srgbClr val="000000"/>
              </a:buClr>
              <a:buSzPct val="100000"/>
              <a:buFont typeface="Times New Roman" panose="02020603050405020304" pitchFamily="18" charset="0"/>
              <a:defRPr sz="3600">
                <a:solidFill>
                  <a:srgbClr val="00408C"/>
                </a:solidFill>
                <a:latin typeface="Arial" charset="0"/>
                <a:ea typeface="Arial Unicode MS" pitchFamily="34" charset="-128"/>
                <a:cs typeface="Arial Unicode MS" charset="0"/>
              </a:defRPr>
            </a:lvl2pPr>
            <a:lvl3pPr algn="l" defTabSz="449263" rtl="0" eaLnBrk="0" fontAlgn="base" hangingPunct="0">
              <a:spcBef>
                <a:spcPct val="0"/>
              </a:spcBef>
              <a:spcAft>
                <a:spcPct val="0"/>
              </a:spcAft>
              <a:buClr>
                <a:srgbClr val="000000"/>
              </a:buClr>
              <a:buSzPct val="100000"/>
              <a:buFont typeface="Times New Roman" panose="02020603050405020304" pitchFamily="18" charset="0"/>
              <a:defRPr sz="3600">
                <a:solidFill>
                  <a:srgbClr val="00408C"/>
                </a:solidFill>
                <a:latin typeface="Arial" charset="0"/>
                <a:ea typeface="Arial Unicode MS" pitchFamily="34" charset="-128"/>
                <a:cs typeface="Arial Unicode MS" charset="0"/>
              </a:defRPr>
            </a:lvl3pPr>
            <a:lvl4pPr algn="l" defTabSz="449263" rtl="0" eaLnBrk="0" fontAlgn="base" hangingPunct="0">
              <a:spcBef>
                <a:spcPct val="0"/>
              </a:spcBef>
              <a:spcAft>
                <a:spcPct val="0"/>
              </a:spcAft>
              <a:buClr>
                <a:srgbClr val="000000"/>
              </a:buClr>
              <a:buSzPct val="100000"/>
              <a:buFont typeface="Times New Roman" panose="02020603050405020304" pitchFamily="18" charset="0"/>
              <a:defRPr sz="3600">
                <a:solidFill>
                  <a:srgbClr val="00408C"/>
                </a:solidFill>
                <a:latin typeface="Arial" charset="0"/>
                <a:ea typeface="Arial Unicode MS" pitchFamily="34" charset="-128"/>
                <a:cs typeface="Arial Unicode MS" charset="0"/>
              </a:defRPr>
            </a:lvl4pPr>
            <a:lvl5pPr algn="l" defTabSz="449263" rtl="0" eaLnBrk="0" fontAlgn="base" hangingPunct="0">
              <a:spcBef>
                <a:spcPct val="0"/>
              </a:spcBef>
              <a:spcAft>
                <a:spcPct val="0"/>
              </a:spcAft>
              <a:buClr>
                <a:srgbClr val="000000"/>
              </a:buClr>
              <a:buSzPct val="100000"/>
              <a:buFont typeface="Times New Roman" panose="02020603050405020304" pitchFamily="18" charset="0"/>
              <a:defRPr sz="3600">
                <a:solidFill>
                  <a:srgbClr val="00408C"/>
                </a:solidFill>
                <a:latin typeface="Arial" charset="0"/>
                <a:ea typeface="Arial Unicode MS" pitchFamily="34" charset="-128"/>
                <a:cs typeface="Arial Unicode MS" charset="0"/>
              </a:defRPr>
            </a:lvl5pPr>
            <a:lvl6pPr marL="2514600" indent="-228600" algn="l" defTabSz="449263" rtl="0" eaLnBrk="0" fontAlgn="base" hangingPunct="0">
              <a:spcBef>
                <a:spcPct val="0"/>
              </a:spcBef>
              <a:spcAft>
                <a:spcPct val="0"/>
              </a:spcAft>
              <a:buClr>
                <a:srgbClr val="000000"/>
              </a:buClr>
              <a:buSzPct val="100000"/>
              <a:buFont typeface="Times New Roman" pitchFamily="16" charset="0"/>
              <a:defRPr sz="3600">
                <a:solidFill>
                  <a:srgbClr val="00408C"/>
                </a:solidFill>
                <a:latin typeface="Arial" charset="0"/>
                <a:cs typeface="Arial Unicode MS" charset="0"/>
              </a:defRPr>
            </a:lvl6pPr>
            <a:lvl7pPr marL="2971800" indent="-228600" algn="l" defTabSz="449263" rtl="0" eaLnBrk="0" fontAlgn="base" hangingPunct="0">
              <a:spcBef>
                <a:spcPct val="0"/>
              </a:spcBef>
              <a:spcAft>
                <a:spcPct val="0"/>
              </a:spcAft>
              <a:buClr>
                <a:srgbClr val="000000"/>
              </a:buClr>
              <a:buSzPct val="100000"/>
              <a:buFont typeface="Times New Roman" pitchFamily="16" charset="0"/>
              <a:defRPr sz="3600">
                <a:solidFill>
                  <a:srgbClr val="00408C"/>
                </a:solidFill>
                <a:latin typeface="Arial" charset="0"/>
                <a:cs typeface="Arial Unicode MS" charset="0"/>
              </a:defRPr>
            </a:lvl7pPr>
            <a:lvl8pPr marL="3429000" indent="-228600" algn="l" defTabSz="449263" rtl="0" eaLnBrk="0" fontAlgn="base" hangingPunct="0">
              <a:spcBef>
                <a:spcPct val="0"/>
              </a:spcBef>
              <a:spcAft>
                <a:spcPct val="0"/>
              </a:spcAft>
              <a:buClr>
                <a:srgbClr val="000000"/>
              </a:buClr>
              <a:buSzPct val="100000"/>
              <a:buFont typeface="Times New Roman" pitchFamily="16" charset="0"/>
              <a:defRPr sz="3600">
                <a:solidFill>
                  <a:srgbClr val="00408C"/>
                </a:solidFill>
                <a:latin typeface="Arial" charset="0"/>
                <a:cs typeface="Arial Unicode MS" charset="0"/>
              </a:defRPr>
            </a:lvl8pPr>
            <a:lvl9pPr marL="3886200" indent="-228600" algn="l" defTabSz="449263" rtl="0" eaLnBrk="0" fontAlgn="base" hangingPunct="0">
              <a:spcBef>
                <a:spcPct val="0"/>
              </a:spcBef>
              <a:spcAft>
                <a:spcPct val="0"/>
              </a:spcAft>
              <a:buClr>
                <a:srgbClr val="000000"/>
              </a:buClr>
              <a:buSzPct val="100000"/>
              <a:buFont typeface="Times New Roman" pitchFamily="16" charset="0"/>
              <a:defRPr sz="3600">
                <a:solidFill>
                  <a:srgbClr val="00408C"/>
                </a:solidFill>
                <a:latin typeface="Arial" charset="0"/>
                <a:cs typeface="Arial Unicode MS" charset="0"/>
              </a:defRPr>
            </a:lvl9pPr>
          </a:lstStyle>
          <a:p>
            <a:pPr eaLnBrk="1" hangingPunct="1">
              <a:defRPr/>
            </a:pPr>
            <a:r>
              <a:rPr lang="de-CH" kern="0" dirty="0"/>
              <a:t>Madrid Workflow for Office Notifications</a:t>
            </a:r>
            <a:endParaRPr lang="en-US" kern="0" dirty="0"/>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0">
            <a:extLst>
              <a:ext uri="{FF2B5EF4-FFF2-40B4-BE49-F238E27FC236}">
                <a16:creationId xmlns:a16="http://schemas.microsoft.com/office/drawing/2014/main" id="{568E04CD-5633-4082-B481-45B551016F06}"/>
              </a:ext>
            </a:extLst>
          </p:cNvPr>
          <p:cNvSpPr>
            <a:spLocks noGrp="1"/>
          </p:cNvSpPr>
          <p:nvPr>
            <p:ph type="title"/>
          </p:nvPr>
        </p:nvSpPr>
        <p:spPr>
          <a:xfrm>
            <a:off x="331788" y="557213"/>
            <a:ext cx="8713787" cy="1250950"/>
          </a:xfrm>
        </p:spPr>
        <p:txBody>
          <a:bodyPr>
            <a:normAutofit fontScale="90000"/>
          </a:bodyPr>
          <a:lstStyle/>
          <a:p>
            <a:pPr>
              <a:defRPr/>
            </a:pPr>
            <a:r>
              <a:rPr lang="en-IN" dirty="0">
                <a:cs typeface="Arial" panose="020B0604020202020204" pitchFamily="34" charset="0"/>
              </a:rPr>
              <a:t>Madrid Outgoing Notifications to the International Bureau of WIPO</a:t>
            </a:r>
            <a:br>
              <a:rPr lang="en-IN" dirty="0">
                <a:cs typeface="Arial" panose="020B0604020202020204" pitchFamily="34" charset="0"/>
              </a:rPr>
            </a:br>
            <a:endParaRPr lang="en-IN" dirty="0">
              <a:cs typeface="Arial" panose="020B0604020202020204" pitchFamily="34" charset="0"/>
            </a:endParaRPr>
          </a:p>
        </p:txBody>
      </p:sp>
      <p:sp>
        <p:nvSpPr>
          <p:cNvPr id="5" name="Content Placeholder 11">
            <a:extLst>
              <a:ext uri="{FF2B5EF4-FFF2-40B4-BE49-F238E27FC236}">
                <a16:creationId xmlns:a16="http://schemas.microsoft.com/office/drawing/2014/main" id="{9753D0E4-C5F7-409A-95F2-47AE97D4BDA3}"/>
              </a:ext>
            </a:extLst>
          </p:cNvPr>
          <p:cNvSpPr>
            <a:spLocks noGrp="1"/>
          </p:cNvSpPr>
          <p:nvPr>
            <p:ph idx="1"/>
          </p:nvPr>
        </p:nvSpPr>
        <p:spPr>
          <a:xfrm>
            <a:off x="331788" y="1858963"/>
            <a:ext cx="8713787" cy="4103687"/>
          </a:xfrm>
        </p:spPr>
        <p:txBody>
          <a:bodyPr/>
          <a:lstStyle/>
          <a:p>
            <a:pPr>
              <a:defRPr/>
            </a:pPr>
            <a:r>
              <a:rPr lang="en-US" b="1" dirty="0">
                <a:cs typeface="Arial" panose="020B0604020202020204" pitchFamily="34" charset="0"/>
              </a:rPr>
              <a:t>Upload decisions to IB</a:t>
            </a:r>
            <a:r>
              <a:rPr lang="en-US" dirty="0">
                <a:cs typeface="Arial" panose="020B0604020202020204" pitchFamily="34" charset="0"/>
              </a:rPr>
              <a:t>: From IPAS version 3.6.1, it is possible to automate the transmittal of decisions from the designated office (DO) to the International Bureau (IB)</a:t>
            </a:r>
          </a:p>
          <a:p>
            <a:pPr marL="0" indent="0">
              <a:defRPr/>
            </a:pPr>
            <a:endParaRPr lang="en-US" dirty="0">
              <a:cs typeface="Arial" panose="020B0604020202020204" pitchFamily="34" charset="0"/>
            </a:endParaRPr>
          </a:p>
          <a:p>
            <a:pPr marL="0" indent="0">
              <a:defRPr/>
            </a:pPr>
            <a:endParaRPr lang="en-US" dirty="0">
              <a:cs typeface="Arial" panose="020B0604020202020204" pitchFamily="34" charset="0"/>
            </a:endParaRPr>
          </a:p>
          <a:p>
            <a:pPr marL="0" indent="0">
              <a:defRPr/>
            </a:pPr>
            <a:endParaRPr lang="en-US" dirty="0">
              <a:cs typeface="Arial" panose="020B0604020202020204" pitchFamily="34" charset="0"/>
            </a:endParaRPr>
          </a:p>
          <a:p>
            <a:pPr marL="0" indent="0">
              <a:spcBef>
                <a:spcPct val="20000"/>
              </a:spcBef>
              <a:defRPr/>
            </a:pPr>
            <a:endParaRPr lang="en-IN" dirty="0">
              <a:cs typeface="Arial" panose="020B0604020202020204" pitchFamily="34" charset="0"/>
            </a:endParaRPr>
          </a:p>
        </p:txBody>
      </p:sp>
      <p:pic>
        <p:nvPicPr>
          <p:cNvPr id="76804" name="Picture 6">
            <a:extLst>
              <a:ext uri="{FF2B5EF4-FFF2-40B4-BE49-F238E27FC236}">
                <a16:creationId xmlns:a16="http://schemas.microsoft.com/office/drawing/2014/main" id="{8A22B661-95B8-4637-B20F-D30E60B8680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750" y="3213100"/>
            <a:ext cx="8035925" cy="260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0">
            <a:extLst>
              <a:ext uri="{FF2B5EF4-FFF2-40B4-BE49-F238E27FC236}">
                <a16:creationId xmlns:a16="http://schemas.microsoft.com/office/drawing/2014/main" id="{1C1A1B63-CF4C-49AE-9E7C-EA827DA38960}"/>
              </a:ext>
            </a:extLst>
          </p:cNvPr>
          <p:cNvSpPr>
            <a:spLocks noGrp="1"/>
          </p:cNvSpPr>
          <p:nvPr>
            <p:ph type="title"/>
          </p:nvPr>
        </p:nvSpPr>
        <p:spPr>
          <a:xfrm>
            <a:off x="331788" y="557213"/>
            <a:ext cx="8713787" cy="1250950"/>
          </a:xfrm>
        </p:spPr>
        <p:txBody>
          <a:bodyPr>
            <a:normAutofit fontScale="90000"/>
          </a:bodyPr>
          <a:lstStyle/>
          <a:p>
            <a:pPr>
              <a:defRPr/>
            </a:pPr>
            <a:r>
              <a:rPr lang="en-IN" dirty="0">
                <a:cs typeface="Arial" panose="020B0604020202020204" pitchFamily="34" charset="0"/>
              </a:rPr>
              <a:t>Madrid Outgoing Notifications to the International Bureau of WIPO</a:t>
            </a:r>
            <a:br>
              <a:rPr lang="en-IN" dirty="0">
                <a:cs typeface="Arial" panose="020B0604020202020204" pitchFamily="34" charset="0"/>
              </a:rPr>
            </a:br>
            <a:endParaRPr lang="en-IN" dirty="0">
              <a:cs typeface="Arial" panose="020B0604020202020204" pitchFamily="34" charset="0"/>
            </a:endParaRPr>
          </a:p>
        </p:txBody>
      </p:sp>
      <p:sp>
        <p:nvSpPr>
          <p:cNvPr id="5" name="Content Placeholder 11">
            <a:extLst>
              <a:ext uri="{FF2B5EF4-FFF2-40B4-BE49-F238E27FC236}">
                <a16:creationId xmlns:a16="http://schemas.microsoft.com/office/drawing/2014/main" id="{7AFFD366-6A5C-472E-BF73-C7F1DFDF14A6}"/>
              </a:ext>
            </a:extLst>
          </p:cNvPr>
          <p:cNvSpPr>
            <a:spLocks noGrp="1"/>
          </p:cNvSpPr>
          <p:nvPr>
            <p:ph idx="1"/>
          </p:nvPr>
        </p:nvSpPr>
        <p:spPr>
          <a:xfrm>
            <a:off x="331788" y="1858963"/>
            <a:ext cx="8713787" cy="4103687"/>
          </a:xfrm>
        </p:spPr>
        <p:txBody>
          <a:bodyPr/>
          <a:lstStyle/>
          <a:p>
            <a:pPr>
              <a:defRPr/>
            </a:pPr>
            <a:r>
              <a:rPr lang="en-US" b="1" dirty="0">
                <a:cs typeface="Arial" panose="020B0604020202020204" pitchFamily="34" charset="0"/>
              </a:rPr>
              <a:t>Upload decisions to IB</a:t>
            </a:r>
            <a:r>
              <a:rPr lang="en-US" dirty="0">
                <a:cs typeface="Arial" panose="020B0604020202020204" pitchFamily="34" charset="0"/>
              </a:rPr>
              <a:t>: From IPAS version 3.6.1, it is possible to automate the transmittal of decisions from the designated office (DO) to the International Bureau (IB)</a:t>
            </a:r>
          </a:p>
          <a:p>
            <a:pPr marL="0" indent="0">
              <a:defRPr/>
            </a:pPr>
            <a:endParaRPr lang="en-US" dirty="0">
              <a:cs typeface="Arial" panose="020B0604020202020204" pitchFamily="34" charset="0"/>
            </a:endParaRPr>
          </a:p>
          <a:p>
            <a:pPr marL="0" indent="0">
              <a:defRPr/>
            </a:pPr>
            <a:endParaRPr lang="en-US" dirty="0">
              <a:cs typeface="Arial" panose="020B0604020202020204" pitchFamily="34" charset="0"/>
            </a:endParaRPr>
          </a:p>
          <a:p>
            <a:pPr marL="0" indent="0">
              <a:defRPr/>
            </a:pPr>
            <a:endParaRPr lang="en-US" dirty="0">
              <a:cs typeface="Arial" panose="020B0604020202020204" pitchFamily="34" charset="0"/>
            </a:endParaRPr>
          </a:p>
          <a:p>
            <a:pPr marL="0" indent="0">
              <a:spcBef>
                <a:spcPct val="20000"/>
              </a:spcBef>
              <a:defRPr/>
            </a:pPr>
            <a:endParaRPr lang="en-IN" dirty="0">
              <a:cs typeface="Arial" panose="020B0604020202020204" pitchFamily="34" charset="0"/>
            </a:endParaRPr>
          </a:p>
        </p:txBody>
      </p:sp>
      <p:pic>
        <p:nvPicPr>
          <p:cNvPr id="77830" name="Picture 6">
            <a:extLst>
              <a:ext uri="{FF2B5EF4-FFF2-40B4-BE49-F238E27FC236}">
                <a16:creationId xmlns:a16="http://schemas.microsoft.com/office/drawing/2014/main" id="{A7429854-CFEE-4F43-829D-8E7F742309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750" y="3213100"/>
            <a:ext cx="8035925" cy="260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1">
            <a:extLst>
              <a:ext uri="{FF2B5EF4-FFF2-40B4-BE49-F238E27FC236}">
                <a16:creationId xmlns:a16="http://schemas.microsoft.com/office/drawing/2014/main" id="{BAA93E58-5C02-441C-BF3A-B46E994D23EA}"/>
              </a:ext>
            </a:extLst>
          </p:cNvPr>
          <p:cNvSpPr>
            <a:spLocks noGrp="1" noChangeArrowheads="1"/>
          </p:cNvSpPr>
          <p:nvPr>
            <p:ph type="title"/>
          </p:nvPr>
        </p:nvSpPr>
        <p:spPr/>
        <p:txBody>
          <a:bodyPr/>
          <a:lstStyle/>
          <a:p>
            <a:r>
              <a:rPr lang="en-US" altLang="en-US">
                <a:cs typeface="Arial" panose="020B0604020202020204" pitchFamily="34" charset="0"/>
              </a:rPr>
              <a:t>IPAS Madrid Dashboard</a:t>
            </a:r>
            <a:endParaRPr lang="en-IN" altLang="en-US">
              <a:cs typeface="Arial" panose="020B0604020202020204" pitchFamily="34" charset="0"/>
            </a:endParaRPr>
          </a:p>
        </p:txBody>
      </p:sp>
      <p:sp>
        <p:nvSpPr>
          <p:cNvPr id="6" name="Content Placeholder 5">
            <a:extLst>
              <a:ext uri="{FF2B5EF4-FFF2-40B4-BE49-F238E27FC236}">
                <a16:creationId xmlns:a16="http://schemas.microsoft.com/office/drawing/2014/main" id="{7BBFF5E4-6CF4-4A04-91E8-B5C789966FE7}"/>
              </a:ext>
            </a:extLst>
          </p:cNvPr>
          <p:cNvSpPr>
            <a:spLocks noGrp="1"/>
          </p:cNvSpPr>
          <p:nvPr>
            <p:ph idx="1"/>
          </p:nvPr>
        </p:nvSpPr>
        <p:spPr>
          <a:xfrm>
            <a:off x="488950" y="1773238"/>
            <a:ext cx="7612063" cy="2808287"/>
          </a:xfrm>
        </p:spPr>
        <p:txBody>
          <a:bodyPr/>
          <a:lstStyle/>
          <a:p>
            <a:pPr>
              <a:defRPr/>
            </a:pPr>
            <a:r>
              <a:rPr lang="en-US" b="1" dirty="0">
                <a:cs typeface="Arial" panose="020B0604020202020204" pitchFamily="34" charset="0"/>
              </a:rPr>
              <a:t>Madrid incoming dashboard </a:t>
            </a:r>
            <a:r>
              <a:rPr lang="en-US" dirty="0">
                <a:cs typeface="Arial" panose="020B0604020202020204" pitchFamily="34" charset="0"/>
              </a:rPr>
              <a:t>: User can view the data related to Madrid incoming in form of charts. Two kinds of charts could be shown – one is incoming transactions chart for on hold transactions and the other is for pending transactions. These doughnut charts display bifurcation based on the transaction type of the transaction</a:t>
            </a:r>
          </a:p>
          <a:p>
            <a:pPr marL="0" indent="0">
              <a:defRPr/>
            </a:pPr>
            <a:endParaRPr lang="en-IN" dirty="0">
              <a:cs typeface="Arial" panose="020B0604020202020204"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Number Placeholder 1">
            <a:extLst>
              <a:ext uri="{FF2B5EF4-FFF2-40B4-BE49-F238E27FC236}">
                <a16:creationId xmlns:a16="http://schemas.microsoft.com/office/drawing/2014/main" id="{A207FA0B-8121-47B3-9238-714907C11F85}"/>
              </a:ext>
            </a:extLst>
          </p:cNvPr>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9pPr>
          </a:lstStyle>
          <a:p>
            <a:fld id="{A475585C-27C1-48BD-8CFF-BD8EDEB9F8AE}" type="slidenum">
              <a:rPr lang="fr-FR" altLang="en-US" smtClean="0">
                <a:solidFill>
                  <a:srgbClr val="000000"/>
                </a:solidFill>
              </a:rPr>
              <a:pPr/>
              <a:t>6</a:t>
            </a:fld>
            <a:endParaRPr lang="fr-FR" altLang="en-US">
              <a:solidFill>
                <a:srgbClr val="000000"/>
              </a:solidFill>
            </a:endParaRPr>
          </a:p>
        </p:txBody>
      </p:sp>
      <p:pic>
        <p:nvPicPr>
          <p:cNvPr id="14339" name="Picture 2">
            <a:extLst>
              <a:ext uri="{FF2B5EF4-FFF2-40B4-BE49-F238E27FC236}">
                <a16:creationId xmlns:a16="http://schemas.microsoft.com/office/drawing/2014/main" id="{CE8BAF8C-380D-4AA8-9174-7E04CF2BD9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75" y="238125"/>
            <a:ext cx="9090025" cy="661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0" name="Title 1">
            <a:extLst>
              <a:ext uri="{FF2B5EF4-FFF2-40B4-BE49-F238E27FC236}">
                <a16:creationId xmlns:a16="http://schemas.microsoft.com/office/drawing/2014/main" id="{A8981A1F-ABBF-4F2F-ADED-6B2573336592}"/>
              </a:ext>
            </a:extLst>
          </p:cNvPr>
          <p:cNvSpPr txBox="1">
            <a:spLocks noChangeArrowheads="1"/>
          </p:cNvSpPr>
          <p:nvPr/>
        </p:nvSpPr>
        <p:spPr bwMode="auto">
          <a:xfrm>
            <a:off x="179388" y="0"/>
            <a:ext cx="8713787" cy="981075"/>
          </a:xfrm>
          <a:prstGeom prst="rect">
            <a:avLst/>
          </a:prstGeom>
          <a:solidFill>
            <a:schemeClr val="bg1"/>
          </a:solidFill>
          <a:ln>
            <a:noFill/>
          </a:ln>
        </p:spPr>
        <p:txBody>
          <a:bodyPr/>
          <a:lstStyle/>
          <a:p>
            <a:pPr algn="ctr">
              <a:defRPr/>
            </a:pPr>
            <a:r>
              <a:rPr lang="en-US" altLang="en-US" sz="3200" dirty="0">
                <a:solidFill>
                  <a:srgbClr val="00408C"/>
                </a:solidFill>
                <a:latin typeface="+mn-lt"/>
              </a:rPr>
              <a:t>WIPO Solutions – Products and Services</a:t>
            </a:r>
            <a:endParaRPr lang="en-SG" altLang="en-US" sz="3200" dirty="0">
              <a:solidFill>
                <a:srgbClr val="00408C"/>
              </a:solidFill>
              <a:latin typeface="+mn-lt"/>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Title 1">
            <a:extLst>
              <a:ext uri="{FF2B5EF4-FFF2-40B4-BE49-F238E27FC236}">
                <a16:creationId xmlns:a16="http://schemas.microsoft.com/office/drawing/2014/main" id="{A93EFF36-230B-4607-A941-CEF3851A1D45}"/>
              </a:ext>
            </a:extLst>
          </p:cNvPr>
          <p:cNvSpPr>
            <a:spLocks noGrp="1" noChangeArrowheads="1"/>
          </p:cNvSpPr>
          <p:nvPr>
            <p:ph type="title"/>
          </p:nvPr>
        </p:nvSpPr>
        <p:spPr/>
        <p:txBody>
          <a:bodyPr/>
          <a:lstStyle/>
          <a:p>
            <a:r>
              <a:rPr lang="en-US" altLang="en-US"/>
              <a:t>IPAS Madrid – Madrid Incoming Dashboard</a:t>
            </a:r>
            <a:endParaRPr lang="en-IN" altLang="en-US"/>
          </a:p>
        </p:txBody>
      </p:sp>
      <p:pic>
        <p:nvPicPr>
          <p:cNvPr id="79876" name="Content Placeholder 4">
            <a:extLst>
              <a:ext uri="{FF2B5EF4-FFF2-40B4-BE49-F238E27FC236}">
                <a16:creationId xmlns:a16="http://schemas.microsoft.com/office/drawing/2014/main" id="{A8DC554B-D5D2-4DE0-8A5B-9B0B5B8C4E36}"/>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488950" y="1906588"/>
            <a:ext cx="7988300" cy="3848100"/>
          </a:xfrm>
        </p:spPr>
      </p:pic>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Title 1">
            <a:extLst>
              <a:ext uri="{FF2B5EF4-FFF2-40B4-BE49-F238E27FC236}">
                <a16:creationId xmlns:a16="http://schemas.microsoft.com/office/drawing/2014/main" id="{2B16DAC6-8730-49B4-8097-9C51B218B448}"/>
              </a:ext>
            </a:extLst>
          </p:cNvPr>
          <p:cNvSpPr>
            <a:spLocks noGrp="1" noChangeArrowheads="1"/>
          </p:cNvSpPr>
          <p:nvPr>
            <p:ph type="title"/>
          </p:nvPr>
        </p:nvSpPr>
        <p:spPr/>
        <p:txBody>
          <a:bodyPr/>
          <a:lstStyle/>
          <a:p>
            <a:r>
              <a:rPr lang="en-US" altLang="en-US">
                <a:cs typeface="Arial" panose="020B0604020202020204" pitchFamily="34" charset="0"/>
              </a:rPr>
              <a:t>IPAS Madrid Incoming Dashboard</a:t>
            </a:r>
            <a:endParaRPr lang="en-IN" altLang="en-US">
              <a:cs typeface="Arial" panose="020B0604020202020204" pitchFamily="34" charset="0"/>
            </a:endParaRPr>
          </a:p>
        </p:txBody>
      </p:sp>
      <p:sp>
        <p:nvSpPr>
          <p:cNvPr id="3" name="Content Placeholder 2">
            <a:extLst>
              <a:ext uri="{FF2B5EF4-FFF2-40B4-BE49-F238E27FC236}">
                <a16:creationId xmlns:a16="http://schemas.microsoft.com/office/drawing/2014/main" id="{09B73885-6709-4478-A50F-47D21EE7B63A}"/>
              </a:ext>
            </a:extLst>
          </p:cNvPr>
          <p:cNvSpPr>
            <a:spLocks noGrp="1"/>
          </p:cNvSpPr>
          <p:nvPr>
            <p:ph idx="1"/>
          </p:nvPr>
        </p:nvSpPr>
        <p:spPr/>
        <p:txBody>
          <a:bodyPr/>
          <a:lstStyle/>
          <a:p>
            <a:pPr lvl="1">
              <a:buClr>
                <a:srgbClr val="3399FF"/>
              </a:buClr>
              <a:buFont typeface="Wingdings" panose="05000000000000000000" pitchFamily="2" charset="2"/>
              <a:buChar char="§"/>
              <a:defRPr/>
            </a:pPr>
            <a:r>
              <a:rPr lang="en-US" dirty="0">
                <a:cs typeface="Arial" panose="020B0604020202020204" pitchFamily="34" charset="0"/>
              </a:rPr>
              <a:t>Dashboard displays incoming data in grid format. User can filter the records on the dashboard using Set Filter link. Data on the screen can be exported in an excel using the Export Excel link on the top. The error message shown in the grid as Tooltip will be exported as error message column</a:t>
            </a:r>
            <a:endParaRPr lang="en-IN" dirty="0">
              <a:cs typeface="Arial" panose="020B0604020202020204" pitchFamily="34" charset="0"/>
            </a:endParaRPr>
          </a:p>
          <a:p>
            <a:pPr marL="457200" lvl="1" indent="0">
              <a:defRPr/>
            </a:pPr>
            <a:endParaRPr lang="en-US" dirty="0">
              <a:cs typeface="Arial" panose="020B0604020202020204" pitchFamily="34" charset="0"/>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Title 1">
            <a:extLst>
              <a:ext uri="{FF2B5EF4-FFF2-40B4-BE49-F238E27FC236}">
                <a16:creationId xmlns:a16="http://schemas.microsoft.com/office/drawing/2014/main" id="{C905D475-212A-4991-BA36-FF5CDAD608E0}"/>
              </a:ext>
            </a:extLst>
          </p:cNvPr>
          <p:cNvSpPr>
            <a:spLocks noGrp="1" noChangeArrowheads="1"/>
          </p:cNvSpPr>
          <p:nvPr>
            <p:ph type="title"/>
          </p:nvPr>
        </p:nvSpPr>
        <p:spPr>
          <a:xfrm>
            <a:off x="76200" y="115888"/>
            <a:ext cx="8816975" cy="941387"/>
          </a:xfrm>
        </p:spPr>
        <p:txBody>
          <a:bodyPr/>
          <a:lstStyle/>
          <a:p>
            <a:r>
              <a:rPr lang="en-US" altLang="en-US">
                <a:cs typeface="Arial" panose="020B0604020202020204" pitchFamily="34" charset="0"/>
              </a:rPr>
              <a:t>IPAS Madrid: Incoming Dashboard</a:t>
            </a:r>
            <a:endParaRPr lang="en-IN" altLang="en-US">
              <a:cs typeface="Arial" panose="020B0604020202020204" pitchFamily="34" charset="0"/>
            </a:endParaRPr>
          </a:p>
        </p:txBody>
      </p:sp>
      <p:sp>
        <p:nvSpPr>
          <p:cNvPr id="81923" name="Content Placeholder 2">
            <a:extLst>
              <a:ext uri="{FF2B5EF4-FFF2-40B4-BE49-F238E27FC236}">
                <a16:creationId xmlns:a16="http://schemas.microsoft.com/office/drawing/2014/main" id="{4F4EE3B4-9AF3-4669-97C8-3E3D5CEC68CC}"/>
              </a:ext>
            </a:extLst>
          </p:cNvPr>
          <p:cNvSpPr>
            <a:spLocks noGrp="1" noChangeArrowheads="1"/>
          </p:cNvSpPr>
          <p:nvPr>
            <p:ph idx="1"/>
          </p:nvPr>
        </p:nvSpPr>
        <p:spPr/>
        <p:txBody>
          <a:bodyPr/>
          <a:lstStyle/>
          <a:p>
            <a:endParaRPr lang="en-US" altLang="en-US"/>
          </a:p>
        </p:txBody>
      </p:sp>
      <p:pic>
        <p:nvPicPr>
          <p:cNvPr id="81924" name="Picture 1">
            <a:extLst>
              <a:ext uri="{FF2B5EF4-FFF2-40B4-BE49-F238E27FC236}">
                <a16:creationId xmlns:a16="http://schemas.microsoft.com/office/drawing/2014/main" id="{1769A340-5CA8-40F7-8E02-2AB7ACE75B3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28600" y="1174750"/>
            <a:ext cx="8640763" cy="4845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Title 1">
            <a:extLst>
              <a:ext uri="{FF2B5EF4-FFF2-40B4-BE49-F238E27FC236}">
                <a16:creationId xmlns:a16="http://schemas.microsoft.com/office/drawing/2014/main" id="{C605E540-9F35-468A-98B6-B95D4956538C}"/>
              </a:ext>
            </a:extLst>
          </p:cNvPr>
          <p:cNvSpPr>
            <a:spLocks noGrp="1" noChangeArrowheads="1"/>
          </p:cNvSpPr>
          <p:nvPr>
            <p:ph type="title"/>
          </p:nvPr>
        </p:nvSpPr>
        <p:spPr/>
        <p:txBody>
          <a:bodyPr/>
          <a:lstStyle/>
          <a:p>
            <a:r>
              <a:rPr lang="en-US" altLang="en-US">
                <a:cs typeface="Arial" panose="020B0604020202020204" pitchFamily="34" charset="0"/>
              </a:rPr>
              <a:t>IPAS Madrid Improvements : Madrid Outgoing Dashboard</a:t>
            </a:r>
            <a:endParaRPr lang="en-IN" altLang="en-US">
              <a:cs typeface="Arial" panose="020B0604020202020204" pitchFamily="34" charset="0"/>
            </a:endParaRPr>
          </a:p>
        </p:txBody>
      </p:sp>
      <p:sp>
        <p:nvSpPr>
          <p:cNvPr id="3" name="Content Placeholder 2">
            <a:extLst>
              <a:ext uri="{FF2B5EF4-FFF2-40B4-BE49-F238E27FC236}">
                <a16:creationId xmlns:a16="http://schemas.microsoft.com/office/drawing/2014/main" id="{0E76E63B-5214-4B04-8D60-C7C7F28492FE}"/>
              </a:ext>
            </a:extLst>
          </p:cNvPr>
          <p:cNvSpPr>
            <a:spLocks noGrp="1"/>
          </p:cNvSpPr>
          <p:nvPr>
            <p:ph idx="1"/>
          </p:nvPr>
        </p:nvSpPr>
        <p:spPr/>
        <p:txBody>
          <a:bodyPr/>
          <a:lstStyle/>
          <a:p>
            <a:pPr>
              <a:defRPr/>
            </a:pPr>
            <a:r>
              <a:rPr lang="en-US" b="1" dirty="0">
                <a:cs typeface="Arial" panose="020B0604020202020204" pitchFamily="34" charset="0"/>
              </a:rPr>
              <a:t>Madrid Outgoing Dashboard</a:t>
            </a:r>
            <a:r>
              <a:rPr lang="en-US" dirty="0">
                <a:cs typeface="Arial" panose="020B0604020202020204" pitchFamily="34" charset="0"/>
              </a:rPr>
              <a:t>: In IPAS 3.6.1 user can view Madrid decision which are due on next 12 months or 18 months(depending on the configuration) on outgoing linear chart</a:t>
            </a:r>
          </a:p>
          <a:p>
            <a:pPr marL="0" indent="0">
              <a:defRPr/>
            </a:pPr>
            <a:r>
              <a:rPr lang="en-US" dirty="0">
                <a:cs typeface="Arial" panose="020B0604020202020204" pitchFamily="34" charset="0"/>
              </a:rPr>
              <a:t> </a:t>
            </a:r>
          </a:p>
        </p:txBody>
      </p:sp>
      <p:pic>
        <p:nvPicPr>
          <p:cNvPr id="82949" name="Picture 4">
            <a:extLst>
              <a:ext uri="{FF2B5EF4-FFF2-40B4-BE49-F238E27FC236}">
                <a16:creationId xmlns:a16="http://schemas.microsoft.com/office/drawing/2014/main" id="{82D3903E-6D1C-47B9-A868-C1F6DDA0C9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0113" y="2924175"/>
            <a:ext cx="5472112" cy="380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1">
            <a:extLst>
              <a:ext uri="{FF2B5EF4-FFF2-40B4-BE49-F238E27FC236}">
                <a16:creationId xmlns:a16="http://schemas.microsoft.com/office/drawing/2014/main" id="{1011CD42-A1AE-45D1-8595-B52AAF036AC8}"/>
              </a:ext>
            </a:extLst>
          </p:cNvPr>
          <p:cNvSpPr>
            <a:spLocks noGrp="1" noChangeArrowheads="1"/>
          </p:cNvSpPr>
          <p:nvPr>
            <p:ph type="title"/>
          </p:nvPr>
        </p:nvSpPr>
        <p:spPr>
          <a:xfrm>
            <a:off x="468313" y="115888"/>
            <a:ext cx="8351837" cy="941387"/>
          </a:xfrm>
        </p:spPr>
        <p:txBody>
          <a:bodyPr/>
          <a:lstStyle/>
          <a:p>
            <a:r>
              <a:rPr lang="en-US" altLang="en-US" sz="3200">
                <a:cs typeface="Arial" panose="020B0604020202020204" pitchFamily="34" charset="0"/>
              </a:rPr>
              <a:t>IPAS Madrid: Madrid Outgoing Dashboard</a:t>
            </a:r>
            <a:endParaRPr lang="en-IN" altLang="en-US" sz="3200">
              <a:cs typeface="Arial" panose="020B0604020202020204" pitchFamily="34" charset="0"/>
            </a:endParaRPr>
          </a:p>
        </p:txBody>
      </p:sp>
      <p:pic>
        <p:nvPicPr>
          <p:cNvPr id="83971" name="Content Placeholder 4">
            <a:extLst>
              <a:ext uri="{FF2B5EF4-FFF2-40B4-BE49-F238E27FC236}">
                <a16:creationId xmlns:a16="http://schemas.microsoft.com/office/drawing/2014/main" id="{9868F64D-F492-40F9-B591-3B78449B3486}"/>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468313" y="1144588"/>
            <a:ext cx="8351837" cy="4951412"/>
          </a:xfrm>
        </p:spPr>
      </p:pic>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5" name="Title 10">
            <a:extLst>
              <a:ext uri="{FF2B5EF4-FFF2-40B4-BE49-F238E27FC236}">
                <a16:creationId xmlns:a16="http://schemas.microsoft.com/office/drawing/2014/main" id="{F9D95271-9110-4388-A1E8-375B91EA208C}"/>
              </a:ext>
            </a:extLst>
          </p:cNvPr>
          <p:cNvSpPr>
            <a:spLocks noGrp="1" noChangeArrowheads="1"/>
          </p:cNvSpPr>
          <p:nvPr>
            <p:ph type="title"/>
          </p:nvPr>
        </p:nvSpPr>
        <p:spPr>
          <a:xfrm>
            <a:off x="331788" y="609600"/>
            <a:ext cx="8713787" cy="1249363"/>
          </a:xfrm>
        </p:spPr>
        <p:txBody>
          <a:bodyPr/>
          <a:lstStyle/>
          <a:p>
            <a:r>
              <a:rPr lang="en-US" altLang="en-US">
                <a:cs typeface="Arial" panose="020B0604020202020204" pitchFamily="34" charset="0"/>
              </a:rPr>
              <a:t>IPAS Madrid - Support for Irregularity Notification</a:t>
            </a:r>
            <a:endParaRPr lang="en-IN" altLang="en-US">
              <a:cs typeface="Arial" panose="020B0604020202020204" pitchFamily="34" charset="0"/>
            </a:endParaRPr>
          </a:p>
        </p:txBody>
      </p:sp>
      <p:sp>
        <p:nvSpPr>
          <p:cNvPr id="5" name="Content Placeholder 11">
            <a:extLst>
              <a:ext uri="{FF2B5EF4-FFF2-40B4-BE49-F238E27FC236}">
                <a16:creationId xmlns:a16="http://schemas.microsoft.com/office/drawing/2014/main" id="{87DC71AE-E859-401F-8FAF-21F21BC9B520}"/>
              </a:ext>
            </a:extLst>
          </p:cNvPr>
          <p:cNvSpPr>
            <a:spLocks noGrp="1"/>
          </p:cNvSpPr>
          <p:nvPr>
            <p:ph idx="1"/>
          </p:nvPr>
        </p:nvSpPr>
        <p:spPr>
          <a:xfrm>
            <a:off x="331788" y="1858963"/>
            <a:ext cx="8713787" cy="4103687"/>
          </a:xfrm>
        </p:spPr>
        <p:txBody>
          <a:bodyPr/>
          <a:lstStyle/>
          <a:p>
            <a:pPr>
              <a:defRPr/>
            </a:pPr>
            <a:r>
              <a:rPr lang="en-IN" b="1" dirty="0">
                <a:cs typeface="Arial" panose="020B0604020202020204" pitchFamily="34" charset="0"/>
              </a:rPr>
              <a:t>Support for Irregularity notification</a:t>
            </a:r>
            <a:r>
              <a:rPr lang="en-IN" dirty="0">
                <a:cs typeface="Arial" panose="020B0604020202020204" pitchFamily="34" charset="0"/>
              </a:rPr>
              <a:t>: </a:t>
            </a:r>
            <a:r>
              <a:rPr lang="en-US" dirty="0">
                <a:cs typeface="Arial" panose="020B0604020202020204" pitchFamily="34" charset="0"/>
              </a:rPr>
              <a:t>Earlier IPAS Madrid modules did not process the Irregularity Transactions. IPAS 3.6.1 provides support for processing the Irregularity transactions. Using IPAS designer user can define the user document that will be processed at time of Irregularity transaction. Madrid application downloads Irregularity transactions from FTP and will process Irregularity transactions, after processing user can view Irregularity transaction on incoming dashboard</a:t>
            </a:r>
            <a:endParaRPr lang="en-IN" dirty="0">
              <a:cs typeface="Arial" panose="020B0604020202020204" pitchFamily="34" charset="0"/>
            </a:endParaRPr>
          </a:p>
          <a:p>
            <a:pPr marL="0" indent="0">
              <a:spcBef>
                <a:spcPct val="20000"/>
              </a:spcBef>
              <a:defRPr/>
            </a:pPr>
            <a:endParaRPr lang="en-IN" dirty="0">
              <a:cs typeface="Arial" panose="020B0604020202020204" pitchFamily="34" charset="0"/>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itle 1">
            <a:extLst>
              <a:ext uri="{FF2B5EF4-FFF2-40B4-BE49-F238E27FC236}">
                <a16:creationId xmlns:a16="http://schemas.microsoft.com/office/drawing/2014/main" id="{61745CD0-BD44-4358-AFAC-CCC634EC676D}"/>
              </a:ext>
            </a:extLst>
          </p:cNvPr>
          <p:cNvSpPr>
            <a:spLocks noGrp="1" noChangeArrowheads="1"/>
          </p:cNvSpPr>
          <p:nvPr>
            <p:ph type="title"/>
          </p:nvPr>
        </p:nvSpPr>
        <p:spPr/>
        <p:txBody>
          <a:bodyPr/>
          <a:lstStyle/>
          <a:p>
            <a:r>
              <a:rPr lang="en-US" altLang="en-US">
                <a:cs typeface="Arial" panose="020B0604020202020204" pitchFamily="34" charset="0"/>
              </a:rPr>
              <a:t>IPAS Madrid: Support for Irregularity notification </a:t>
            </a:r>
            <a:endParaRPr lang="en-IN" altLang="en-US">
              <a:cs typeface="Arial" panose="020B0604020202020204" pitchFamily="34" charset="0"/>
            </a:endParaRPr>
          </a:p>
        </p:txBody>
      </p:sp>
      <p:pic>
        <p:nvPicPr>
          <p:cNvPr id="86020" name="Picture 5">
            <a:extLst>
              <a:ext uri="{FF2B5EF4-FFF2-40B4-BE49-F238E27FC236}">
                <a16:creationId xmlns:a16="http://schemas.microsoft.com/office/drawing/2014/main" id="{669E0BC9-08CA-45CC-A27E-D7E4BCD7B6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388" y="1484313"/>
            <a:ext cx="8785225" cy="441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제목 1">
            <a:extLst>
              <a:ext uri="{FF2B5EF4-FFF2-40B4-BE49-F238E27FC236}">
                <a16:creationId xmlns:a16="http://schemas.microsoft.com/office/drawing/2014/main" id="{B3392C6F-A665-42A5-A823-A01A831B48FD}"/>
              </a:ext>
            </a:extLst>
          </p:cNvPr>
          <p:cNvSpPr>
            <a:spLocks noGrp="1" noChangeArrowheads="1"/>
          </p:cNvSpPr>
          <p:nvPr>
            <p:ph type="title"/>
          </p:nvPr>
        </p:nvSpPr>
        <p:spPr>
          <a:xfrm>
            <a:off x="984250" y="387350"/>
            <a:ext cx="7359650" cy="665163"/>
          </a:xfrm>
        </p:spPr>
        <p:txBody>
          <a:bodyPr/>
          <a:lstStyle/>
          <a:p>
            <a:r>
              <a:rPr lang="en-US" altLang="ko-KR">
                <a:ea typeface="Gulim" panose="020B0600000101010101" pitchFamily="34" charset="-127"/>
              </a:rPr>
              <a:t>IP Office Digital Transformation</a:t>
            </a:r>
            <a:endParaRPr lang="ko-KR" altLang="en-US">
              <a:ea typeface="Gulim" panose="020B0600000101010101" pitchFamily="34" charset="-127"/>
            </a:endParaRPr>
          </a:p>
        </p:txBody>
      </p:sp>
      <p:grpSp>
        <p:nvGrpSpPr>
          <p:cNvPr id="87043" name="그룹 1246">
            <a:extLst>
              <a:ext uri="{FF2B5EF4-FFF2-40B4-BE49-F238E27FC236}">
                <a16:creationId xmlns:a16="http://schemas.microsoft.com/office/drawing/2014/main" id="{8B1BD020-CB5C-4637-9D2B-1D2A8CCF81AF}"/>
              </a:ext>
            </a:extLst>
          </p:cNvPr>
          <p:cNvGrpSpPr>
            <a:grpSpLocks/>
          </p:cNvGrpSpPr>
          <p:nvPr/>
        </p:nvGrpSpPr>
        <p:grpSpPr bwMode="auto">
          <a:xfrm>
            <a:off x="382588" y="1500188"/>
            <a:ext cx="8378825" cy="5081587"/>
            <a:chOff x="382588" y="1500174"/>
            <a:chExt cx="8378825" cy="5081587"/>
          </a:xfrm>
        </p:grpSpPr>
        <p:sp>
          <p:nvSpPr>
            <p:cNvPr id="625" name="모서리가 둥근 직사각형 624">
              <a:extLst>
                <a:ext uri="{FF2B5EF4-FFF2-40B4-BE49-F238E27FC236}">
                  <a16:creationId xmlns:a16="http://schemas.microsoft.com/office/drawing/2014/main" id="{2717E794-54C5-48B6-9B16-FB7DD3347011}"/>
                </a:ext>
              </a:extLst>
            </p:cNvPr>
            <p:cNvSpPr>
              <a:spLocks noChangeArrowheads="1"/>
            </p:cNvSpPr>
            <p:nvPr/>
          </p:nvSpPr>
          <p:spPr bwMode="auto">
            <a:xfrm>
              <a:off x="2509838" y="1643049"/>
              <a:ext cx="5264150" cy="4938712"/>
            </a:xfrm>
            <a:prstGeom prst="roundRect">
              <a:avLst>
                <a:gd name="adj" fmla="val 3296"/>
              </a:avLst>
            </a:prstGeom>
            <a:solidFill>
              <a:srgbClr val="404040"/>
            </a:solidFill>
            <a:ln w="9525">
              <a:solidFill>
                <a:srgbClr val="002060"/>
              </a:solidFill>
              <a:prstDash val="dash"/>
              <a:round/>
              <a:headEnd/>
              <a:tailEnd/>
            </a:ln>
            <a:effectLst>
              <a:outerShdw blurRad="63500" dist="23000" dir="5400000" rotWithShape="0">
                <a:srgbClr val="000000">
                  <a:alpha val="34998"/>
                </a:srgbClr>
              </a:outerShdw>
            </a:effectLst>
          </p:spPr>
          <p:txBody>
            <a:bodyPr anchor="ctr"/>
            <a:lstStyle/>
            <a:p>
              <a:pPr algn="ctr" eaLnBrk="1" latinLnBrk="1" hangingPunct="1">
                <a:defRPr/>
              </a:pPr>
              <a:endParaRPr lang="ko-KR" altLang="en-US" sz="1800" b="1">
                <a:solidFill>
                  <a:srgbClr val="FFFFFF"/>
                </a:solidFill>
                <a:latin typeface="Arial" charset="0"/>
                <a:ea typeface="Gulim" pitchFamily="34" charset="-127"/>
                <a:cs typeface="Gulim" pitchFamily="34" charset="-127"/>
              </a:endParaRPr>
            </a:p>
          </p:txBody>
        </p:sp>
        <p:sp>
          <p:nvSpPr>
            <p:cNvPr id="87045" name="TextBox 521">
              <a:extLst>
                <a:ext uri="{FF2B5EF4-FFF2-40B4-BE49-F238E27FC236}">
                  <a16:creationId xmlns:a16="http://schemas.microsoft.com/office/drawing/2014/main" id="{57BAFFAA-30D1-4010-BC38-EAB169C532AE}"/>
                </a:ext>
              </a:extLst>
            </p:cNvPr>
            <p:cNvSpPr txBox="1">
              <a:spLocks noChangeArrowheads="1"/>
            </p:cNvSpPr>
            <p:nvPr/>
          </p:nvSpPr>
          <p:spPr bwMode="auto">
            <a:xfrm>
              <a:off x="3859213" y="6326174"/>
              <a:ext cx="18473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spcBef>
                  <a:spcPct val="0"/>
                </a:spcBef>
                <a:buClrTx/>
                <a:buSzTx/>
                <a:buFontTx/>
                <a:buNone/>
              </a:pPr>
              <a:endParaRPr kumimoji="1" lang="ko-KR" altLang="en-US" sz="1000" b="1">
                <a:solidFill>
                  <a:srgbClr val="FFFFFF"/>
                </a:solidFill>
                <a:ea typeface="Gulim" panose="020B0600000101010101" pitchFamily="34" charset="-127"/>
              </a:endParaRPr>
            </a:p>
          </p:txBody>
        </p:sp>
        <p:sp>
          <p:nvSpPr>
            <p:cNvPr id="627" name="직사각형 10">
              <a:extLst>
                <a:ext uri="{FF2B5EF4-FFF2-40B4-BE49-F238E27FC236}">
                  <a16:creationId xmlns:a16="http://schemas.microsoft.com/office/drawing/2014/main" id="{D2D4455A-3F00-4A1B-A12B-54C648E9CE7C}"/>
                </a:ext>
              </a:extLst>
            </p:cNvPr>
            <p:cNvSpPr>
              <a:spLocks noChangeArrowheads="1"/>
            </p:cNvSpPr>
            <p:nvPr/>
          </p:nvSpPr>
          <p:spPr bwMode="auto">
            <a:xfrm>
              <a:off x="3543300" y="3857611"/>
              <a:ext cx="2019300" cy="1379538"/>
            </a:xfrm>
            <a:prstGeom prst="roundRect">
              <a:avLst>
                <a:gd name="adj" fmla="val 4472"/>
              </a:avLst>
            </a:prstGeom>
            <a:solidFill>
              <a:srgbClr val="FFC000"/>
            </a:solidFill>
            <a:ln>
              <a:noFill/>
            </a:ln>
            <a:effectLst>
              <a:outerShdw blurRad="63500" dist="38100" dir="2700000" algn="tl" rotWithShape="0">
                <a:srgbClr val="000000">
                  <a:alpha val="39998"/>
                </a:srgbClr>
              </a:outerShdw>
            </a:effectLst>
          </p:spPr>
          <p:txBody>
            <a:bodyPr lIns="18000" tIns="0" rIns="18000" bIns="0"/>
            <a:lstStyle>
              <a:lvl1pPr eaLnBrk="0" hangingPunct="0">
                <a:defRPr sz="2400">
                  <a:solidFill>
                    <a:schemeClr val="tx1"/>
                  </a:solidFill>
                  <a:latin typeface="Arial" panose="020B0604020202020204" pitchFamily="34" charset="0"/>
                  <a:cs typeface="Arial" panose="020B0604020202020204" pitchFamily="34" charset="0"/>
                </a:defRPr>
              </a:lvl1pPr>
              <a:lvl2pPr marL="37931725" indent="-37474525" eaLnBrk="0" hangingPunct="0">
                <a:defRPr sz="2400">
                  <a:solidFill>
                    <a:schemeClr val="tx1"/>
                  </a:solidFill>
                  <a:latin typeface="Arial" panose="020B0604020202020204" pitchFamily="34" charset="0"/>
                  <a:cs typeface="Arial" panose="020B0604020202020204" pitchFamily="34" charset="0"/>
                </a:defRPr>
              </a:lvl2pPr>
              <a:lvl3pPr eaLnBrk="0" hangingPunct="0">
                <a:defRPr sz="2400">
                  <a:solidFill>
                    <a:schemeClr val="tx1"/>
                  </a:solidFill>
                  <a:latin typeface="Arial" panose="020B0604020202020204" pitchFamily="34" charset="0"/>
                  <a:cs typeface="Arial" panose="020B0604020202020204" pitchFamily="34" charset="0"/>
                </a:defRPr>
              </a:lvl3pPr>
              <a:lvl4pPr eaLnBrk="0" hangingPunct="0">
                <a:defRPr sz="2400">
                  <a:solidFill>
                    <a:schemeClr val="tx1"/>
                  </a:solidFill>
                  <a:latin typeface="Arial" panose="020B0604020202020204" pitchFamily="34" charset="0"/>
                  <a:cs typeface="Arial" panose="020B0604020202020204" pitchFamily="34" charset="0"/>
                </a:defRPr>
              </a:lvl4pPr>
              <a:lvl5pPr eaLnBrk="0" hangingPunct="0">
                <a:defRPr sz="2400">
                  <a:solidFill>
                    <a:schemeClr val="tx1"/>
                  </a:solidFill>
                  <a:latin typeface="Arial" panose="020B0604020202020204" pitchFamily="34" charset="0"/>
                  <a:cs typeface="Arial" panose="020B0604020202020204" pitchFamily="34" charset="0"/>
                </a:defRPr>
              </a:lvl5pPr>
              <a:lvl6pPr marL="4572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6pPr>
              <a:lvl7pPr marL="9144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7pPr>
              <a:lvl8pPr marL="13716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8pPr>
              <a:lvl9pPr marL="18288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9pPr>
            </a:lstStyle>
            <a:p>
              <a:pPr eaLnBrk="1" latinLnBrk="1" hangingPunct="1">
                <a:defRPr/>
              </a:pPr>
              <a:endParaRPr lang="en-US" altLang="ko-KR" sz="1200" b="1">
                <a:ea typeface="맑은 고딕" panose="020B0503020000020004" pitchFamily="34" charset="-127"/>
              </a:endParaRPr>
            </a:p>
            <a:p>
              <a:pPr algn="ctr" eaLnBrk="1" latinLnBrk="1" hangingPunct="1">
                <a:defRPr/>
              </a:pPr>
              <a:endParaRPr lang="en-US" altLang="ko-KR" sz="900">
                <a:ea typeface="맑은 고딕" panose="020B0503020000020004" pitchFamily="34" charset="-127"/>
              </a:endParaRPr>
            </a:p>
            <a:p>
              <a:pPr algn="ctr" eaLnBrk="1" latinLnBrk="1" hangingPunct="1">
                <a:defRPr/>
              </a:pPr>
              <a:endParaRPr lang="en-US" altLang="ko-KR" sz="900">
                <a:ea typeface="맑은 고딕" panose="020B0503020000020004" pitchFamily="34" charset="-127"/>
              </a:endParaRPr>
            </a:p>
            <a:p>
              <a:pPr algn="ctr" eaLnBrk="1" latinLnBrk="1" hangingPunct="1">
                <a:defRPr/>
              </a:pPr>
              <a:endParaRPr lang="en-US" altLang="ko-KR" sz="900">
                <a:ea typeface="맑은 고딕" panose="020B0503020000020004" pitchFamily="34" charset="-127"/>
              </a:endParaRPr>
            </a:p>
          </p:txBody>
        </p:sp>
        <p:sp>
          <p:nvSpPr>
            <p:cNvPr id="628" name="직사각형 10">
              <a:extLst>
                <a:ext uri="{FF2B5EF4-FFF2-40B4-BE49-F238E27FC236}">
                  <a16:creationId xmlns:a16="http://schemas.microsoft.com/office/drawing/2014/main" id="{B15995EB-5F09-4DBF-8469-92D3FBF5EC2C}"/>
                </a:ext>
              </a:extLst>
            </p:cNvPr>
            <p:cNvSpPr>
              <a:spLocks noChangeArrowheads="1"/>
            </p:cNvSpPr>
            <p:nvPr/>
          </p:nvSpPr>
          <p:spPr bwMode="auto">
            <a:xfrm>
              <a:off x="3113088" y="5365736"/>
              <a:ext cx="2927350" cy="960438"/>
            </a:xfrm>
            <a:prstGeom prst="roundRect">
              <a:avLst>
                <a:gd name="adj" fmla="val 8167"/>
              </a:avLst>
            </a:prstGeom>
            <a:solidFill>
              <a:srgbClr val="FFC000"/>
            </a:solidFill>
            <a:ln>
              <a:noFill/>
            </a:ln>
            <a:effectLst>
              <a:outerShdw blurRad="63500" dist="38100" dir="2700000" algn="tl" rotWithShape="0">
                <a:srgbClr val="000000">
                  <a:alpha val="39998"/>
                </a:srgbClr>
              </a:outerShdw>
            </a:effectLst>
          </p:spPr>
          <p:txBody>
            <a:bodyPr lIns="18000" tIns="0" rIns="18000" bIns="0"/>
            <a:lstStyle>
              <a:lvl1pPr eaLnBrk="0" hangingPunct="0">
                <a:defRPr sz="2400">
                  <a:solidFill>
                    <a:schemeClr val="tx1"/>
                  </a:solidFill>
                  <a:latin typeface="Arial" panose="020B0604020202020204" pitchFamily="34" charset="0"/>
                  <a:cs typeface="Arial" panose="020B0604020202020204" pitchFamily="34" charset="0"/>
                </a:defRPr>
              </a:lvl1pPr>
              <a:lvl2pPr marL="37931725" indent="-37474525" eaLnBrk="0" hangingPunct="0">
                <a:defRPr sz="2400">
                  <a:solidFill>
                    <a:schemeClr val="tx1"/>
                  </a:solidFill>
                  <a:latin typeface="Arial" panose="020B0604020202020204" pitchFamily="34" charset="0"/>
                  <a:cs typeface="Arial" panose="020B0604020202020204" pitchFamily="34" charset="0"/>
                </a:defRPr>
              </a:lvl2pPr>
              <a:lvl3pPr eaLnBrk="0" hangingPunct="0">
                <a:defRPr sz="2400">
                  <a:solidFill>
                    <a:schemeClr val="tx1"/>
                  </a:solidFill>
                  <a:latin typeface="Arial" panose="020B0604020202020204" pitchFamily="34" charset="0"/>
                  <a:cs typeface="Arial" panose="020B0604020202020204" pitchFamily="34" charset="0"/>
                </a:defRPr>
              </a:lvl3pPr>
              <a:lvl4pPr eaLnBrk="0" hangingPunct="0">
                <a:defRPr sz="2400">
                  <a:solidFill>
                    <a:schemeClr val="tx1"/>
                  </a:solidFill>
                  <a:latin typeface="Arial" panose="020B0604020202020204" pitchFamily="34" charset="0"/>
                  <a:cs typeface="Arial" panose="020B0604020202020204" pitchFamily="34" charset="0"/>
                </a:defRPr>
              </a:lvl4pPr>
              <a:lvl5pPr eaLnBrk="0" hangingPunct="0">
                <a:defRPr sz="2400">
                  <a:solidFill>
                    <a:schemeClr val="tx1"/>
                  </a:solidFill>
                  <a:latin typeface="Arial" panose="020B0604020202020204" pitchFamily="34" charset="0"/>
                  <a:cs typeface="Arial" panose="020B0604020202020204" pitchFamily="34" charset="0"/>
                </a:defRPr>
              </a:lvl5pPr>
              <a:lvl6pPr marL="4572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6pPr>
              <a:lvl7pPr marL="9144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7pPr>
              <a:lvl8pPr marL="13716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8pPr>
              <a:lvl9pPr marL="18288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9pPr>
            </a:lstStyle>
            <a:p>
              <a:pPr eaLnBrk="1" latinLnBrk="1" hangingPunct="1">
                <a:defRPr/>
              </a:pPr>
              <a:endParaRPr lang="en-US" altLang="ko-KR" sz="1200" b="1">
                <a:ea typeface="맑은 고딕" panose="020B0503020000020004" pitchFamily="34" charset="-127"/>
              </a:endParaRPr>
            </a:p>
            <a:p>
              <a:pPr algn="ctr" eaLnBrk="1" latinLnBrk="1" hangingPunct="1">
                <a:defRPr/>
              </a:pPr>
              <a:endParaRPr lang="en-US" altLang="ko-KR" sz="900">
                <a:ea typeface="맑은 고딕" panose="020B0503020000020004" pitchFamily="34" charset="-127"/>
              </a:endParaRPr>
            </a:p>
            <a:p>
              <a:pPr algn="ctr" eaLnBrk="1" latinLnBrk="1" hangingPunct="1">
                <a:defRPr/>
              </a:pPr>
              <a:endParaRPr lang="en-US" altLang="ko-KR" sz="900">
                <a:ea typeface="맑은 고딕" panose="020B0503020000020004" pitchFamily="34" charset="-127"/>
              </a:endParaRPr>
            </a:p>
            <a:p>
              <a:pPr algn="ctr" eaLnBrk="1" latinLnBrk="1" hangingPunct="1">
                <a:defRPr/>
              </a:pPr>
              <a:endParaRPr lang="en-US" altLang="ko-KR" sz="900">
                <a:ea typeface="맑은 고딕" panose="020B0503020000020004" pitchFamily="34" charset="-127"/>
              </a:endParaRPr>
            </a:p>
          </p:txBody>
        </p:sp>
        <p:sp>
          <p:nvSpPr>
            <p:cNvPr id="87048" name="직사각형 10">
              <a:extLst>
                <a:ext uri="{FF2B5EF4-FFF2-40B4-BE49-F238E27FC236}">
                  <a16:creationId xmlns:a16="http://schemas.microsoft.com/office/drawing/2014/main" id="{ED5F3313-0541-4CAD-A8B4-214BB47023EB}"/>
                </a:ext>
              </a:extLst>
            </p:cNvPr>
            <p:cNvSpPr>
              <a:spLocks noChangeArrowheads="1"/>
            </p:cNvSpPr>
            <p:nvPr/>
          </p:nvSpPr>
          <p:spPr bwMode="auto">
            <a:xfrm>
              <a:off x="4011613" y="5173649"/>
              <a:ext cx="1066800" cy="236537"/>
            </a:xfrm>
            <a:prstGeom prst="roundRect">
              <a:avLst>
                <a:gd name="adj" fmla="val 8167"/>
              </a:avLst>
            </a:prstGeom>
            <a:solidFill>
              <a:srgbClr val="FFC000"/>
            </a:solidFill>
            <a:ln>
              <a:noFill/>
            </a:ln>
            <a:extLst>
              <a:ext uri="{91240B29-F687-4F45-9708-019B960494DF}">
                <a14:hiddenLine xmlns:a14="http://schemas.microsoft.com/office/drawing/2010/main" w="28575">
                  <a:solidFill>
                    <a:srgbClr val="000000"/>
                  </a:solidFill>
                  <a:round/>
                  <a:headEnd/>
                  <a:tailEnd/>
                </a14:hiddenLine>
              </a:ext>
            </a:extLst>
          </p:spPr>
          <p:txBody>
            <a:bodyPr lIns="18000" tIns="0" rIns="18000" bIns="0"/>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spcBef>
                  <a:spcPct val="0"/>
                </a:spcBef>
                <a:buClrTx/>
                <a:buSzTx/>
                <a:buFontTx/>
                <a:buNone/>
              </a:pPr>
              <a:endParaRPr lang="en-US" altLang="ko-KR" sz="1200" b="1">
                <a:solidFill>
                  <a:schemeClr val="tx1"/>
                </a:solidFill>
                <a:ea typeface="Malgun Gothic" panose="020B0503020000020004" pitchFamily="34" charset="-127"/>
                <a:cs typeface="Arial" panose="020B0604020202020204" pitchFamily="34" charset="0"/>
              </a:endParaRPr>
            </a:p>
            <a:p>
              <a:pPr algn="ctr" eaLnBrk="1" latinLnBrk="1" hangingPunct="1">
                <a:spcBef>
                  <a:spcPct val="0"/>
                </a:spcBef>
                <a:buClrTx/>
                <a:buSzTx/>
                <a:buFontTx/>
                <a:buNone/>
              </a:pPr>
              <a:endParaRPr lang="en-US" altLang="ko-KR" sz="900">
                <a:solidFill>
                  <a:schemeClr val="tx1"/>
                </a:solidFill>
                <a:ea typeface="Malgun Gothic" panose="020B0503020000020004" pitchFamily="34" charset="-127"/>
                <a:cs typeface="Arial" panose="020B0604020202020204" pitchFamily="34" charset="0"/>
              </a:endParaRPr>
            </a:p>
            <a:p>
              <a:pPr algn="ctr" eaLnBrk="1" latinLnBrk="1" hangingPunct="1">
                <a:spcBef>
                  <a:spcPct val="0"/>
                </a:spcBef>
                <a:buClrTx/>
                <a:buSzTx/>
                <a:buFontTx/>
                <a:buNone/>
              </a:pPr>
              <a:endParaRPr lang="en-US" altLang="ko-KR" sz="900">
                <a:solidFill>
                  <a:schemeClr val="tx1"/>
                </a:solidFill>
                <a:ea typeface="Malgun Gothic" panose="020B0503020000020004" pitchFamily="34" charset="-127"/>
                <a:cs typeface="Arial" panose="020B0604020202020204" pitchFamily="34" charset="0"/>
              </a:endParaRPr>
            </a:p>
            <a:p>
              <a:pPr algn="ctr" eaLnBrk="1" latinLnBrk="1" hangingPunct="1">
                <a:spcBef>
                  <a:spcPct val="0"/>
                </a:spcBef>
                <a:buClrTx/>
                <a:buSzTx/>
                <a:buFontTx/>
                <a:buNone/>
              </a:pPr>
              <a:r>
                <a:rPr lang="en-US" altLang="ko-KR" sz="900">
                  <a:solidFill>
                    <a:schemeClr val="tx1"/>
                  </a:solidFill>
                  <a:ea typeface="Malgun Gothic" panose="020B0503020000020004" pitchFamily="34" charset="-127"/>
                  <a:cs typeface="Arial" panose="020B0604020202020204" pitchFamily="34" charset="0"/>
                </a:rPr>
                <a:t>z</a:t>
              </a:r>
            </a:p>
          </p:txBody>
        </p:sp>
        <p:sp>
          <p:nvSpPr>
            <p:cNvPr id="87049" name="직사각형 629">
              <a:extLst>
                <a:ext uri="{FF2B5EF4-FFF2-40B4-BE49-F238E27FC236}">
                  <a16:creationId xmlns:a16="http://schemas.microsoft.com/office/drawing/2014/main" id="{32ECE0E0-E2D2-474D-8A82-6966EC95A1BE}"/>
                </a:ext>
              </a:extLst>
            </p:cNvPr>
            <p:cNvSpPr>
              <a:spLocks noChangeArrowheads="1"/>
            </p:cNvSpPr>
            <p:nvPr/>
          </p:nvSpPr>
          <p:spPr bwMode="auto">
            <a:xfrm>
              <a:off x="4011613" y="5235561"/>
              <a:ext cx="0" cy="115888"/>
            </a:xfrm>
            <a:prstGeom prst="rect">
              <a:avLst/>
            </a:prstGeom>
            <a:solidFill>
              <a:srgbClr val="376092"/>
            </a:solidFill>
            <a:ln w="28575">
              <a:solidFill>
                <a:srgbClr val="385D8A"/>
              </a:solidFill>
              <a:round/>
              <a:headEnd/>
              <a:tailEnd/>
            </a:ln>
          </p:spPr>
          <p:txBody>
            <a:bodyPr lIns="18000" tIns="0" rIns="18000" bIns="0"/>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algn="ctr" eaLnBrk="1" latinLnBrk="1" hangingPunct="1">
                <a:spcBef>
                  <a:spcPct val="0"/>
                </a:spcBef>
                <a:buClrTx/>
                <a:buSzTx/>
                <a:buFontTx/>
                <a:buNone/>
              </a:pPr>
              <a:endParaRPr lang="ko-KR" altLang="en-US" sz="1200" b="1">
                <a:ea typeface="Malgun Gothic" panose="020B0503020000020004" pitchFamily="34" charset="-127"/>
              </a:endParaRPr>
            </a:p>
          </p:txBody>
        </p:sp>
        <p:sp>
          <p:nvSpPr>
            <p:cNvPr id="631" name="직사각형 630">
              <a:extLst>
                <a:ext uri="{FF2B5EF4-FFF2-40B4-BE49-F238E27FC236}">
                  <a16:creationId xmlns:a16="http://schemas.microsoft.com/office/drawing/2014/main" id="{CAFAED5B-9167-44A8-9E9D-F2692FE72ED6}"/>
                </a:ext>
              </a:extLst>
            </p:cNvPr>
            <p:cNvSpPr>
              <a:spLocks noChangeArrowheads="1"/>
            </p:cNvSpPr>
            <p:nvPr/>
          </p:nvSpPr>
          <p:spPr bwMode="auto">
            <a:xfrm>
              <a:off x="5078413" y="5235561"/>
              <a:ext cx="0" cy="115888"/>
            </a:xfrm>
            <a:prstGeom prst="rect">
              <a:avLst/>
            </a:prstGeom>
            <a:solidFill>
              <a:srgbClr val="376092"/>
            </a:solidFill>
            <a:ln w="28575">
              <a:solidFill>
                <a:srgbClr val="385D8A"/>
              </a:solidFill>
              <a:round/>
              <a:headEnd/>
              <a:tailEnd/>
            </a:ln>
            <a:effectLst>
              <a:outerShdw blurRad="63500" dist="38100" dir="2700000" algn="tl" rotWithShape="0">
                <a:srgbClr val="000000">
                  <a:alpha val="39998"/>
                </a:srgbClr>
              </a:outerShdw>
            </a:effectLst>
          </p:spPr>
          <p:txBody>
            <a:bodyPr lIns="18000" tIns="0" rIns="18000" bIns="0"/>
            <a:lstStyle/>
            <a:p>
              <a:pPr algn="ctr" eaLnBrk="1" latinLnBrk="1" hangingPunct="1">
                <a:defRPr/>
              </a:pPr>
              <a:endParaRPr lang="ko-KR" altLang="en-US" sz="1200" b="1">
                <a:solidFill>
                  <a:srgbClr val="000000"/>
                </a:solidFill>
                <a:latin typeface="Arial" charset="0"/>
                <a:ea typeface="맑은 고딕" pitchFamily="50" charset="-127"/>
                <a:cs typeface="맑은 고딕" pitchFamily="50" charset="-127"/>
              </a:endParaRPr>
            </a:p>
          </p:txBody>
        </p:sp>
        <p:grpSp>
          <p:nvGrpSpPr>
            <p:cNvPr id="87051" name="그룹 631">
              <a:extLst>
                <a:ext uri="{FF2B5EF4-FFF2-40B4-BE49-F238E27FC236}">
                  <a16:creationId xmlns:a16="http://schemas.microsoft.com/office/drawing/2014/main" id="{3B68BA8C-FFAE-49DE-BE32-9E69B0E2AEA4}"/>
                </a:ext>
              </a:extLst>
            </p:cNvPr>
            <p:cNvGrpSpPr>
              <a:grpSpLocks/>
            </p:cNvGrpSpPr>
            <p:nvPr/>
          </p:nvGrpSpPr>
          <p:grpSpPr bwMode="auto">
            <a:xfrm>
              <a:off x="3482975" y="5607036"/>
              <a:ext cx="450850" cy="449263"/>
              <a:chOff x="5095876" y="5143512"/>
              <a:chExt cx="500062" cy="500063"/>
            </a:xfrm>
          </p:grpSpPr>
          <p:pic>
            <p:nvPicPr>
              <p:cNvPr id="16999" name="Picture 153" descr="005">
                <a:extLst>
                  <a:ext uri="{FF2B5EF4-FFF2-40B4-BE49-F238E27FC236}">
                    <a16:creationId xmlns:a16="http://schemas.microsoft.com/office/drawing/2014/main" id="{6A12299D-DA07-484D-8266-D71789940052}"/>
                  </a:ext>
                </a:extLst>
              </p:cNvPr>
              <p:cNvPicPr>
                <a:picLocks noChangeAspect="1" noChangeArrowheads="1"/>
              </p:cNvPicPr>
              <p:nvPr/>
            </p:nvPicPr>
            <p:blipFill>
              <a:blip r:embed="rId3">
                <a:lum bright="-10000" contrast="10000"/>
              </a:blip>
              <a:srcRect/>
              <a:stretch>
                <a:fillRect/>
              </a:stretch>
            </p:blipFill>
            <p:spPr bwMode="auto">
              <a:xfrm>
                <a:off x="5095876" y="5357320"/>
                <a:ext cx="500062" cy="286255"/>
              </a:xfrm>
              <a:prstGeom prst="rect">
                <a:avLst/>
              </a:prstGeom>
              <a:noFill/>
              <a:ln>
                <a:noFill/>
              </a:ln>
              <a:effectLst>
                <a:outerShdw blurRad="63500" dist="12700" dir="5400000" algn="ctr" rotWithShape="0">
                  <a:srgbClr val="000000">
                    <a:alpha val="74998"/>
                  </a:srgbClr>
                </a:outerShdw>
              </a:effectLst>
            </p:spPr>
          </p:pic>
          <p:pic>
            <p:nvPicPr>
              <p:cNvPr id="17000" name="Picture 153" descr="005">
                <a:extLst>
                  <a:ext uri="{FF2B5EF4-FFF2-40B4-BE49-F238E27FC236}">
                    <a16:creationId xmlns:a16="http://schemas.microsoft.com/office/drawing/2014/main" id="{7A02150F-B3FB-4071-A19D-DF09FB44FAC6}"/>
                  </a:ext>
                </a:extLst>
              </p:cNvPr>
              <p:cNvPicPr>
                <a:picLocks noChangeAspect="1" noChangeArrowheads="1"/>
              </p:cNvPicPr>
              <p:nvPr/>
            </p:nvPicPr>
            <p:blipFill>
              <a:blip r:embed="rId3">
                <a:lum bright="-10000" contrast="10000"/>
              </a:blip>
              <a:srcRect/>
              <a:stretch>
                <a:fillRect/>
              </a:stretch>
            </p:blipFill>
            <p:spPr bwMode="auto">
              <a:xfrm>
                <a:off x="5095876" y="5143512"/>
                <a:ext cx="500062" cy="286255"/>
              </a:xfrm>
              <a:prstGeom prst="rect">
                <a:avLst/>
              </a:prstGeom>
              <a:noFill/>
              <a:ln>
                <a:noFill/>
              </a:ln>
              <a:effectLst>
                <a:outerShdw blurRad="63500" dist="12700" dir="5400000" algn="ctr" rotWithShape="0">
                  <a:srgbClr val="000000">
                    <a:alpha val="74998"/>
                  </a:srgbClr>
                </a:outerShdw>
              </a:effectLst>
            </p:spPr>
          </p:pic>
        </p:grpSp>
        <p:grpSp>
          <p:nvGrpSpPr>
            <p:cNvPr id="87052" name="그룹 632">
              <a:extLst>
                <a:ext uri="{FF2B5EF4-FFF2-40B4-BE49-F238E27FC236}">
                  <a16:creationId xmlns:a16="http://schemas.microsoft.com/office/drawing/2014/main" id="{D32DF839-220E-443B-9BA6-FCDEDAF4B8DB}"/>
                </a:ext>
              </a:extLst>
            </p:cNvPr>
            <p:cNvGrpSpPr>
              <a:grpSpLocks/>
            </p:cNvGrpSpPr>
            <p:nvPr/>
          </p:nvGrpSpPr>
          <p:grpSpPr bwMode="auto">
            <a:xfrm>
              <a:off x="4251325" y="5607036"/>
              <a:ext cx="450850" cy="449263"/>
              <a:chOff x="5095876" y="5143512"/>
              <a:chExt cx="500062" cy="500063"/>
            </a:xfrm>
          </p:grpSpPr>
          <p:pic>
            <p:nvPicPr>
              <p:cNvPr id="16997" name="Picture 153" descr="005">
                <a:extLst>
                  <a:ext uri="{FF2B5EF4-FFF2-40B4-BE49-F238E27FC236}">
                    <a16:creationId xmlns:a16="http://schemas.microsoft.com/office/drawing/2014/main" id="{157F93EF-B2D7-4CC2-86E2-D0169244F54D}"/>
                  </a:ext>
                </a:extLst>
              </p:cNvPr>
              <p:cNvPicPr>
                <a:picLocks noChangeAspect="1" noChangeArrowheads="1"/>
              </p:cNvPicPr>
              <p:nvPr/>
            </p:nvPicPr>
            <p:blipFill>
              <a:blip r:embed="rId3">
                <a:lum bright="-10000" contrast="10000"/>
              </a:blip>
              <a:srcRect/>
              <a:stretch>
                <a:fillRect/>
              </a:stretch>
            </p:blipFill>
            <p:spPr bwMode="auto">
              <a:xfrm>
                <a:off x="5095876" y="5357320"/>
                <a:ext cx="500062" cy="286255"/>
              </a:xfrm>
              <a:prstGeom prst="rect">
                <a:avLst/>
              </a:prstGeom>
              <a:noFill/>
              <a:ln>
                <a:noFill/>
              </a:ln>
              <a:effectLst>
                <a:outerShdw blurRad="63500" dist="12700" dir="5400000" algn="ctr" rotWithShape="0">
                  <a:srgbClr val="000000">
                    <a:alpha val="74998"/>
                  </a:srgbClr>
                </a:outerShdw>
              </a:effectLst>
            </p:spPr>
          </p:pic>
          <p:pic>
            <p:nvPicPr>
              <p:cNvPr id="16998" name="Picture 153" descr="005">
                <a:extLst>
                  <a:ext uri="{FF2B5EF4-FFF2-40B4-BE49-F238E27FC236}">
                    <a16:creationId xmlns:a16="http://schemas.microsoft.com/office/drawing/2014/main" id="{2190C57E-6E01-487D-8F7F-CD4100C92201}"/>
                  </a:ext>
                </a:extLst>
              </p:cNvPr>
              <p:cNvPicPr>
                <a:picLocks noChangeAspect="1" noChangeArrowheads="1"/>
              </p:cNvPicPr>
              <p:nvPr/>
            </p:nvPicPr>
            <p:blipFill>
              <a:blip r:embed="rId3">
                <a:lum bright="-10000" contrast="10000"/>
              </a:blip>
              <a:srcRect/>
              <a:stretch>
                <a:fillRect/>
              </a:stretch>
            </p:blipFill>
            <p:spPr bwMode="auto">
              <a:xfrm>
                <a:off x="5095876" y="5143512"/>
                <a:ext cx="500062" cy="286255"/>
              </a:xfrm>
              <a:prstGeom prst="rect">
                <a:avLst/>
              </a:prstGeom>
              <a:noFill/>
              <a:ln>
                <a:noFill/>
              </a:ln>
              <a:effectLst>
                <a:outerShdw blurRad="63500" dist="12700" dir="5400000" algn="ctr" rotWithShape="0">
                  <a:srgbClr val="000000">
                    <a:alpha val="74998"/>
                  </a:srgbClr>
                </a:outerShdw>
              </a:effectLst>
            </p:spPr>
          </p:pic>
        </p:grpSp>
        <p:sp>
          <p:nvSpPr>
            <p:cNvPr id="87053" name="TextBox 638">
              <a:extLst>
                <a:ext uri="{FF2B5EF4-FFF2-40B4-BE49-F238E27FC236}">
                  <a16:creationId xmlns:a16="http://schemas.microsoft.com/office/drawing/2014/main" id="{5A05885F-9EF6-4C76-8A89-34372DA2F39A}"/>
                </a:ext>
              </a:extLst>
            </p:cNvPr>
            <p:cNvSpPr txBox="1">
              <a:spLocks noChangeArrowheads="1"/>
            </p:cNvSpPr>
            <p:nvPr/>
          </p:nvSpPr>
          <p:spPr bwMode="auto">
            <a:xfrm>
              <a:off x="3549592" y="4103316"/>
              <a:ext cx="1936750"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spcBef>
                  <a:spcPct val="0"/>
                </a:spcBef>
                <a:buClrTx/>
                <a:buSzTx/>
                <a:buFont typeface="Wingdings" panose="05000000000000000000" pitchFamily="2" charset="2"/>
                <a:buChar char="v"/>
              </a:pPr>
              <a:r>
                <a:rPr lang="en-US" altLang="ko-KR" sz="1000">
                  <a:ea typeface="Malgun Gothic" panose="020B0503020000020004" pitchFamily="34" charset="-127"/>
                  <a:cs typeface="Arial" panose="020B0604020202020204" pitchFamily="34" charset="0"/>
                </a:rPr>
                <a:t> IPAS</a:t>
              </a:r>
            </a:p>
            <a:p>
              <a:pPr eaLnBrk="1" latinLnBrk="1" hangingPunct="1">
                <a:spcBef>
                  <a:spcPct val="0"/>
                </a:spcBef>
                <a:buClrTx/>
                <a:buSzTx/>
                <a:buFont typeface="Wingdings" panose="05000000000000000000" pitchFamily="2" charset="2"/>
                <a:buChar char="v"/>
              </a:pPr>
              <a:r>
                <a:rPr lang="en-US" altLang="ko-KR" sz="1000">
                  <a:ea typeface="Malgun Gothic" panose="020B0503020000020004" pitchFamily="34" charset="-127"/>
                  <a:cs typeface="Arial" panose="020B0604020202020204" pitchFamily="34" charset="0"/>
                </a:rPr>
                <a:t> IPAS EDMS</a:t>
              </a:r>
            </a:p>
            <a:p>
              <a:pPr eaLnBrk="1" latinLnBrk="1" hangingPunct="1">
                <a:spcBef>
                  <a:spcPct val="0"/>
                </a:spcBef>
                <a:buClrTx/>
                <a:buSzTx/>
                <a:buFont typeface="Wingdings" panose="05000000000000000000" pitchFamily="2" charset="2"/>
                <a:buChar char="v"/>
              </a:pPr>
              <a:r>
                <a:rPr lang="en-US" altLang="ko-KR" sz="1000">
                  <a:ea typeface="Malgun Gothic" panose="020B0503020000020004" pitchFamily="34" charset="-127"/>
                  <a:cs typeface="Arial" panose="020B0604020202020204" pitchFamily="34" charset="0"/>
                </a:rPr>
                <a:t> IPAS Publication Server</a:t>
              </a:r>
            </a:p>
            <a:p>
              <a:pPr eaLnBrk="1" latinLnBrk="1" hangingPunct="1">
                <a:spcBef>
                  <a:spcPct val="0"/>
                </a:spcBef>
                <a:buClrTx/>
                <a:buSzTx/>
                <a:buFont typeface="Wingdings" panose="05000000000000000000" pitchFamily="2" charset="2"/>
                <a:buChar char="v"/>
              </a:pPr>
              <a:r>
                <a:rPr lang="en-US" altLang="ko-KR" sz="1000">
                  <a:ea typeface="Malgun Gothic" panose="020B0503020000020004" pitchFamily="34" charset="-127"/>
                  <a:cs typeface="Arial" panose="020B0604020202020204" pitchFamily="34" charset="0"/>
                </a:rPr>
                <a:t> IPAS Work Flow Designer</a:t>
              </a:r>
            </a:p>
            <a:p>
              <a:pPr eaLnBrk="1" latinLnBrk="1" hangingPunct="1">
                <a:spcBef>
                  <a:spcPct val="0"/>
                </a:spcBef>
                <a:buClrTx/>
                <a:buSzTx/>
                <a:buFont typeface="Wingdings" panose="05000000000000000000" pitchFamily="2" charset="2"/>
                <a:buChar char="v"/>
              </a:pPr>
              <a:r>
                <a:rPr lang="en-US" altLang="ko-KR" sz="1000">
                  <a:ea typeface="Malgun Gothic" panose="020B0503020000020004" pitchFamily="34" charset="-127"/>
                  <a:cs typeface="Arial" panose="020B0604020202020204" pitchFamily="34" charset="0"/>
                </a:rPr>
                <a:t> WIPOFILE</a:t>
              </a:r>
            </a:p>
            <a:p>
              <a:pPr eaLnBrk="1" latinLnBrk="1" hangingPunct="1">
                <a:spcBef>
                  <a:spcPct val="0"/>
                </a:spcBef>
                <a:buClrTx/>
                <a:buSzTx/>
                <a:buFont typeface="Wingdings" panose="05000000000000000000" pitchFamily="2" charset="2"/>
                <a:buChar char="v"/>
              </a:pPr>
              <a:r>
                <a:rPr lang="en-US" altLang="ko-KR" sz="1000">
                  <a:ea typeface="Malgun Gothic" panose="020B0503020000020004" pitchFamily="34" charset="-127"/>
                  <a:cs typeface="Arial" panose="020B0604020202020204" pitchFamily="34" charset="0"/>
                </a:rPr>
                <a:t> IPAS+ (Reception, PCT, etc)</a:t>
              </a:r>
            </a:p>
            <a:p>
              <a:pPr eaLnBrk="1" latinLnBrk="1" hangingPunct="1">
                <a:spcBef>
                  <a:spcPct val="0"/>
                </a:spcBef>
                <a:buClrTx/>
                <a:buSzTx/>
                <a:buFont typeface="Wingdings" panose="05000000000000000000" pitchFamily="2" charset="2"/>
                <a:buChar char="v"/>
              </a:pPr>
              <a:r>
                <a:rPr lang="en-US" altLang="ko-KR" sz="1000">
                  <a:ea typeface="Malgun Gothic" panose="020B0503020000020004" pitchFamily="34" charset="-127"/>
                  <a:cs typeface="Arial" panose="020B0604020202020204" pitchFamily="34" charset="0"/>
                </a:rPr>
                <a:t> Madrid Module</a:t>
              </a:r>
            </a:p>
          </p:txBody>
        </p:sp>
        <p:sp>
          <p:nvSpPr>
            <p:cNvPr id="87054" name="직사각형 634">
              <a:extLst>
                <a:ext uri="{FF2B5EF4-FFF2-40B4-BE49-F238E27FC236}">
                  <a16:creationId xmlns:a16="http://schemas.microsoft.com/office/drawing/2014/main" id="{9600A0A6-5A2D-4D94-B6F6-9EDA8E5A0102}"/>
                </a:ext>
              </a:extLst>
            </p:cNvPr>
            <p:cNvSpPr>
              <a:spLocks noChangeArrowheads="1"/>
            </p:cNvSpPr>
            <p:nvPr/>
          </p:nvSpPr>
          <p:spPr bwMode="auto">
            <a:xfrm>
              <a:off x="4828225" y="5351429"/>
              <a:ext cx="118173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spcBef>
                  <a:spcPct val="0"/>
                </a:spcBef>
                <a:buClrTx/>
                <a:buSzTx/>
                <a:buFontTx/>
                <a:buNone/>
              </a:pPr>
              <a:r>
                <a:rPr lang="en-US" altLang="ko-KR" sz="1100" b="1">
                  <a:ea typeface="Malgun Gothic" panose="020B0503020000020004" pitchFamily="34" charset="-127"/>
                  <a:cs typeface="Arial" panose="020B0604020202020204" pitchFamily="34" charset="0"/>
                </a:rPr>
                <a:t>IPAS Database</a:t>
              </a:r>
            </a:p>
          </p:txBody>
        </p:sp>
        <p:sp>
          <p:nvSpPr>
            <p:cNvPr id="87055" name="TextBox 1066">
              <a:extLst>
                <a:ext uri="{FF2B5EF4-FFF2-40B4-BE49-F238E27FC236}">
                  <a16:creationId xmlns:a16="http://schemas.microsoft.com/office/drawing/2014/main" id="{74DCAA2A-27B9-4DEE-9A56-E81F92FBC4A0}"/>
                </a:ext>
              </a:extLst>
            </p:cNvPr>
            <p:cNvSpPr txBox="1">
              <a:spLocks noChangeArrowheads="1"/>
            </p:cNvSpPr>
            <p:nvPr/>
          </p:nvSpPr>
          <p:spPr bwMode="auto">
            <a:xfrm>
              <a:off x="3419475" y="6059474"/>
              <a:ext cx="742950"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lnSpc>
                  <a:spcPts val="800"/>
                </a:lnSpc>
                <a:spcBef>
                  <a:spcPct val="0"/>
                </a:spcBef>
                <a:buClrTx/>
                <a:buSzTx/>
                <a:buFontTx/>
                <a:buNone/>
              </a:pPr>
              <a:r>
                <a:rPr kumimoji="1" lang="en-US" altLang="ko-KR" sz="900">
                  <a:solidFill>
                    <a:schemeClr val="tx1"/>
                  </a:solidFill>
                  <a:ea typeface="산돌고딕 M"/>
                  <a:cs typeface="Arial" panose="020B0604020202020204" pitchFamily="34" charset="0"/>
                </a:rPr>
                <a:t>Document </a:t>
              </a:r>
            </a:p>
            <a:p>
              <a:pPr eaLnBrk="1" latinLnBrk="1" hangingPunct="1">
                <a:lnSpc>
                  <a:spcPts val="800"/>
                </a:lnSpc>
                <a:spcBef>
                  <a:spcPct val="0"/>
                </a:spcBef>
                <a:buClrTx/>
                <a:buSzTx/>
                <a:buFontTx/>
                <a:buNone/>
              </a:pPr>
              <a:r>
                <a:rPr kumimoji="1" lang="en-US" altLang="ko-KR" sz="900">
                  <a:solidFill>
                    <a:schemeClr val="tx1"/>
                  </a:solidFill>
                  <a:ea typeface="산돌고딕 M"/>
                  <a:cs typeface="Arial" panose="020B0604020202020204" pitchFamily="34" charset="0"/>
                </a:rPr>
                <a:t>Archive</a:t>
              </a:r>
            </a:p>
          </p:txBody>
        </p:sp>
        <p:sp>
          <p:nvSpPr>
            <p:cNvPr id="87056" name="직사각형 636">
              <a:extLst>
                <a:ext uri="{FF2B5EF4-FFF2-40B4-BE49-F238E27FC236}">
                  <a16:creationId xmlns:a16="http://schemas.microsoft.com/office/drawing/2014/main" id="{3A9179BE-4F18-4487-A878-0F6E3E050181}"/>
                </a:ext>
              </a:extLst>
            </p:cNvPr>
            <p:cNvSpPr>
              <a:spLocks noChangeArrowheads="1"/>
            </p:cNvSpPr>
            <p:nvPr/>
          </p:nvSpPr>
          <p:spPr bwMode="auto">
            <a:xfrm>
              <a:off x="3487554" y="3883824"/>
              <a:ext cx="20927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spcBef>
                  <a:spcPct val="0"/>
                </a:spcBef>
                <a:buClrTx/>
                <a:buSzTx/>
                <a:buFontTx/>
                <a:buNone/>
              </a:pPr>
              <a:r>
                <a:rPr lang="en-US" altLang="ko-KR" sz="1200" b="1">
                  <a:ea typeface="Malgun Gothic" panose="020B0503020000020004" pitchFamily="34" charset="-127"/>
                  <a:cs typeface="Arial" panose="020B0604020202020204" pitchFamily="34" charset="0"/>
                </a:rPr>
                <a:t>IPAS Automation Platform</a:t>
              </a:r>
            </a:p>
          </p:txBody>
        </p:sp>
        <p:sp>
          <p:nvSpPr>
            <p:cNvPr id="87057" name="TextBox 1066">
              <a:extLst>
                <a:ext uri="{FF2B5EF4-FFF2-40B4-BE49-F238E27FC236}">
                  <a16:creationId xmlns:a16="http://schemas.microsoft.com/office/drawing/2014/main" id="{AF0105E1-A9C0-43FA-BA07-339486619356}"/>
                </a:ext>
              </a:extLst>
            </p:cNvPr>
            <p:cNvSpPr txBox="1">
              <a:spLocks noChangeArrowheads="1"/>
            </p:cNvSpPr>
            <p:nvPr/>
          </p:nvSpPr>
          <p:spPr bwMode="auto">
            <a:xfrm>
              <a:off x="4181475" y="6059474"/>
              <a:ext cx="550863"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lnSpc>
                  <a:spcPts val="800"/>
                </a:lnSpc>
                <a:spcBef>
                  <a:spcPct val="0"/>
                </a:spcBef>
                <a:buClrTx/>
                <a:buSzTx/>
                <a:buFontTx/>
                <a:buNone/>
              </a:pPr>
              <a:r>
                <a:rPr kumimoji="1" lang="en-US" altLang="ko-KR" sz="900">
                  <a:solidFill>
                    <a:schemeClr val="tx1"/>
                  </a:solidFill>
                  <a:ea typeface="산돌고딕 M"/>
                  <a:cs typeface="Arial" panose="020B0604020202020204" pitchFamily="34" charset="0"/>
                </a:rPr>
                <a:t>Search</a:t>
              </a:r>
            </a:p>
            <a:p>
              <a:pPr eaLnBrk="1" latinLnBrk="1" hangingPunct="1">
                <a:lnSpc>
                  <a:spcPts val="800"/>
                </a:lnSpc>
                <a:spcBef>
                  <a:spcPct val="0"/>
                </a:spcBef>
                <a:buClrTx/>
                <a:buSzTx/>
                <a:buFontTx/>
                <a:buNone/>
              </a:pPr>
              <a:r>
                <a:rPr kumimoji="1" lang="en-US" altLang="ko-KR" sz="900">
                  <a:solidFill>
                    <a:schemeClr val="tx1"/>
                  </a:solidFill>
                  <a:ea typeface="산돌고딕 M"/>
                  <a:cs typeface="Arial" panose="020B0604020202020204" pitchFamily="34" charset="0"/>
                </a:rPr>
                <a:t>Index</a:t>
              </a:r>
            </a:p>
          </p:txBody>
        </p:sp>
        <p:sp>
          <p:nvSpPr>
            <p:cNvPr id="87058" name="TextBox 1066">
              <a:extLst>
                <a:ext uri="{FF2B5EF4-FFF2-40B4-BE49-F238E27FC236}">
                  <a16:creationId xmlns:a16="http://schemas.microsoft.com/office/drawing/2014/main" id="{947E46E8-B26A-49B4-A792-6A257A9386FC}"/>
                </a:ext>
              </a:extLst>
            </p:cNvPr>
            <p:cNvSpPr txBox="1">
              <a:spLocks noChangeArrowheads="1"/>
            </p:cNvSpPr>
            <p:nvPr/>
          </p:nvSpPr>
          <p:spPr bwMode="auto">
            <a:xfrm>
              <a:off x="4953000" y="6059474"/>
              <a:ext cx="869950"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lnSpc>
                  <a:spcPts val="800"/>
                </a:lnSpc>
                <a:spcBef>
                  <a:spcPct val="0"/>
                </a:spcBef>
                <a:buClrTx/>
                <a:buSzTx/>
                <a:buFontTx/>
                <a:buNone/>
              </a:pPr>
              <a:r>
                <a:rPr kumimoji="1" lang="en-US" altLang="ko-KR" sz="900">
                  <a:solidFill>
                    <a:schemeClr val="tx1"/>
                  </a:solidFill>
                  <a:ea typeface="산돌고딕 M"/>
                  <a:cs typeface="Arial" panose="020B0604020202020204" pitchFamily="34" charset="0"/>
                </a:rPr>
                <a:t>System</a:t>
              </a:r>
            </a:p>
            <a:p>
              <a:pPr eaLnBrk="1" latinLnBrk="1" hangingPunct="1">
                <a:lnSpc>
                  <a:spcPts val="800"/>
                </a:lnSpc>
                <a:spcBef>
                  <a:spcPct val="0"/>
                </a:spcBef>
                <a:buClrTx/>
                <a:buSzTx/>
                <a:buFontTx/>
                <a:buNone/>
              </a:pPr>
              <a:r>
                <a:rPr kumimoji="1" lang="en-US" altLang="ko-KR" sz="900">
                  <a:solidFill>
                    <a:schemeClr val="tx1"/>
                  </a:solidFill>
                  <a:ea typeface="산돌고딕 M"/>
                  <a:cs typeface="Arial" panose="020B0604020202020204" pitchFamily="34" charset="0"/>
                </a:rPr>
                <a:t>Configuration</a:t>
              </a:r>
            </a:p>
          </p:txBody>
        </p:sp>
        <p:grpSp>
          <p:nvGrpSpPr>
            <p:cNvPr id="87059" name="그룹 639">
              <a:extLst>
                <a:ext uri="{FF2B5EF4-FFF2-40B4-BE49-F238E27FC236}">
                  <a16:creationId xmlns:a16="http://schemas.microsoft.com/office/drawing/2014/main" id="{133615A5-E54F-419E-90F7-3670DA74A57E}"/>
                </a:ext>
              </a:extLst>
            </p:cNvPr>
            <p:cNvGrpSpPr>
              <a:grpSpLocks/>
            </p:cNvGrpSpPr>
            <p:nvPr/>
          </p:nvGrpSpPr>
          <p:grpSpPr bwMode="auto">
            <a:xfrm>
              <a:off x="5029200" y="5607036"/>
              <a:ext cx="450850" cy="449263"/>
              <a:chOff x="5095876" y="5143512"/>
              <a:chExt cx="500062" cy="500063"/>
            </a:xfrm>
          </p:grpSpPr>
          <p:pic>
            <p:nvPicPr>
              <p:cNvPr id="16995" name="Picture 153" descr="005">
                <a:extLst>
                  <a:ext uri="{FF2B5EF4-FFF2-40B4-BE49-F238E27FC236}">
                    <a16:creationId xmlns:a16="http://schemas.microsoft.com/office/drawing/2014/main" id="{BE615C98-7A36-4BCB-9FD7-D60AF233FAEB}"/>
                  </a:ext>
                </a:extLst>
              </p:cNvPr>
              <p:cNvPicPr>
                <a:picLocks noChangeAspect="1" noChangeArrowheads="1"/>
              </p:cNvPicPr>
              <p:nvPr/>
            </p:nvPicPr>
            <p:blipFill>
              <a:blip r:embed="rId3">
                <a:lum bright="-10000" contrast="10000"/>
              </a:blip>
              <a:srcRect/>
              <a:stretch>
                <a:fillRect/>
              </a:stretch>
            </p:blipFill>
            <p:spPr bwMode="auto">
              <a:xfrm>
                <a:off x="5095876" y="5357320"/>
                <a:ext cx="500062" cy="286255"/>
              </a:xfrm>
              <a:prstGeom prst="rect">
                <a:avLst/>
              </a:prstGeom>
              <a:noFill/>
              <a:ln>
                <a:noFill/>
              </a:ln>
              <a:effectLst>
                <a:outerShdw blurRad="63500" dist="12700" dir="5400000" algn="ctr" rotWithShape="0">
                  <a:srgbClr val="000000">
                    <a:alpha val="74998"/>
                  </a:srgbClr>
                </a:outerShdw>
              </a:effectLst>
            </p:spPr>
          </p:pic>
          <p:pic>
            <p:nvPicPr>
              <p:cNvPr id="16996" name="Picture 153" descr="005">
                <a:extLst>
                  <a:ext uri="{FF2B5EF4-FFF2-40B4-BE49-F238E27FC236}">
                    <a16:creationId xmlns:a16="http://schemas.microsoft.com/office/drawing/2014/main" id="{15576846-7466-437E-B52D-B3FD47ACBC78}"/>
                  </a:ext>
                </a:extLst>
              </p:cNvPr>
              <p:cNvPicPr>
                <a:picLocks noChangeAspect="1" noChangeArrowheads="1"/>
              </p:cNvPicPr>
              <p:nvPr/>
            </p:nvPicPr>
            <p:blipFill>
              <a:blip r:embed="rId3">
                <a:lum bright="-10000" contrast="10000"/>
              </a:blip>
              <a:srcRect/>
              <a:stretch>
                <a:fillRect/>
              </a:stretch>
            </p:blipFill>
            <p:spPr bwMode="auto">
              <a:xfrm>
                <a:off x="5095876" y="5143512"/>
                <a:ext cx="500062" cy="286255"/>
              </a:xfrm>
              <a:prstGeom prst="rect">
                <a:avLst/>
              </a:prstGeom>
              <a:noFill/>
              <a:ln>
                <a:noFill/>
              </a:ln>
              <a:effectLst>
                <a:outerShdw blurRad="63500" dist="12700" dir="5400000" algn="ctr" rotWithShape="0">
                  <a:srgbClr val="000000">
                    <a:alpha val="74998"/>
                  </a:srgbClr>
                </a:outerShdw>
              </a:effectLst>
            </p:spPr>
          </p:pic>
        </p:grpSp>
        <p:grpSp>
          <p:nvGrpSpPr>
            <p:cNvPr id="87060" name="Group 437">
              <a:extLst>
                <a:ext uri="{FF2B5EF4-FFF2-40B4-BE49-F238E27FC236}">
                  <a16:creationId xmlns:a16="http://schemas.microsoft.com/office/drawing/2014/main" id="{EC62D8C7-B352-44F8-B2E1-B25EC5C752A3}"/>
                </a:ext>
              </a:extLst>
            </p:cNvPr>
            <p:cNvGrpSpPr>
              <a:grpSpLocks/>
            </p:cNvGrpSpPr>
            <p:nvPr/>
          </p:nvGrpSpPr>
          <p:grpSpPr bwMode="auto">
            <a:xfrm flipH="1">
              <a:off x="3730625" y="5735624"/>
              <a:ext cx="280988" cy="266700"/>
              <a:chOff x="4646" y="2453"/>
              <a:chExt cx="317" cy="258"/>
            </a:xfrm>
          </p:grpSpPr>
          <p:sp>
            <p:nvSpPr>
              <p:cNvPr id="87642" name="Freeform 424">
                <a:extLst>
                  <a:ext uri="{FF2B5EF4-FFF2-40B4-BE49-F238E27FC236}">
                    <a16:creationId xmlns:a16="http://schemas.microsoft.com/office/drawing/2014/main" id="{C143404C-28D0-4D40-8EC6-0EC48B49E872}"/>
                  </a:ext>
                </a:extLst>
              </p:cNvPr>
              <p:cNvSpPr>
                <a:spLocks/>
              </p:cNvSpPr>
              <p:nvPr/>
            </p:nvSpPr>
            <p:spPr bwMode="auto">
              <a:xfrm>
                <a:off x="4658" y="2465"/>
                <a:ext cx="297" cy="246"/>
              </a:xfrm>
              <a:custGeom>
                <a:avLst/>
                <a:gdLst>
                  <a:gd name="T0" fmla="*/ 1 w 594"/>
                  <a:gd name="T1" fmla="*/ 0 h 493"/>
                  <a:gd name="T2" fmla="*/ 1 w 594"/>
                  <a:gd name="T3" fmla="*/ 0 h 493"/>
                  <a:gd name="T4" fmla="*/ 1 w 594"/>
                  <a:gd name="T5" fmla="*/ 0 h 493"/>
                  <a:gd name="T6" fmla="*/ 1 w 594"/>
                  <a:gd name="T7" fmla="*/ 0 h 493"/>
                  <a:gd name="T8" fmla="*/ 1 w 594"/>
                  <a:gd name="T9" fmla="*/ 0 h 493"/>
                  <a:gd name="T10" fmla="*/ 1 w 594"/>
                  <a:gd name="T11" fmla="*/ 0 h 493"/>
                  <a:gd name="T12" fmla="*/ 1 w 594"/>
                  <a:gd name="T13" fmla="*/ 0 h 493"/>
                  <a:gd name="T14" fmla="*/ 1 w 594"/>
                  <a:gd name="T15" fmla="*/ 0 h 493"/>
                  <a:gd name="T16" fmla="*/ 1 w 594"/>
                  <a:gd name="T17" fmla="*/ 0 h 493"/>
                  <a:gd name="T18" fmla="*/ 1 w 594"/>
                  <a:gd name="T19" fmla="*/ 0 h 493"/>
                  <a:gd name="T20" fmla="*/ 1 w 594"/>
                  <a:gd name="T21" fmla="*/ 0 h 493"/>
                  <a:gd name="T22" fmla="*/ 1 w 594"/>
                  <a:gd name="T23" fmla="*/ 0 h 493"/>
                  <a:gd name="T24" fmla="*/ 1 w 594"/>
                  <a:gd name="T25" fmla="*/ 0 h 493"/>
                  <a:gd name="T26" fmla="*/ 1 w 594"/>
                  <a:gd name="T27" fmla="*/ 0 h 493"/>
                  <a:gd name="T28" fmla="*/ 1 w 594"/>
                  <a:gd name="T29" fmla="*/ 0 h 493"/>
                  <a:gd name="T30" fmla="*/ 1 w 594"/>
                  <a:gd name="T31" fmla="*/ 0 h 493"/>
                  <a:gd name="T32" fmla="*/ 1 w 594"/>
                  <a:gd name="T33" fmla="*/ 0 h 493"/>
                  <a:gd name="T34" fmla="*/ 1 w 594"/>
                  <a:gd name="T35" fmla="*/ 0 h 493"/>
                  <a:gd name="T36" fmla="*/ 1 w 594"/>
                  <a:gd name="T37" fmla="*/ 0 h 493"/>
                  <a:gd name="T38" fmla="*/ 1 w 594"/>
                  <a:gd name="T39" fmla="*/ 0 h 493"/>
                  <a:gd name="T40" fmla="*/ 1 w 594"/>
                  <a:gd name="T41" fmla="*/ 0 h 493"/>
                  <a:gd name="T42" fmla="*/ 0 w 594"/>
                  <a:gd name="T43" fmla="*/ 0 h 493"/>
                  <a:gd name="T44" fmla="*/ 1 w 594"/>
                  <a:gd name="T45" fmla="*/ 0 h 493"/>
                  <a:gd name="T46" fmla="*/ 1 w 594"/>
                  <a:gd name="T47" fmla="*/ 0 h 493"/>
                  <a:gd name="T48" fmla="*/ 1 w 594"/>
                  <a:gd name="T49" fmla="*/ 0 h 493"/>
                  <a:gd name="T50" fmla="*/ 1 w 594"/>
                  <a:gd name="T51" fmla="*/ 0 h 493"/>
                  <a:gd name="T52" fmla="*/ 1 w 594"/>
                  <a:gd name="T53" fmla="*/ 0 h 493"/>
                  <a:gd name="T54" fmla="*/ 1 w 594"/>
                  <a:gd name="T55" fmla="*/ 0 h 493"/>
                  <a:gd name="T56" fmla="*/ 1 w 594"/>
                  <a:gd name="T57" fmla="*/ 0 h 493"/>
                  <a:gd name="T58" fmla="*/ 1 w 594"/>
                  <a:gd name="T59" fmla="*/ 0 h 493"/>
                  <a:gd name="T60" fmla="*/ 1 w 594"/>
                  <a:gd name="T61" fmla="*/ 0 h 493"/>
                  <a:gd name="T62" fmla="*/ 1 w 594"/>
                  <a:gd name="T63" fmla="*/ 0 h 493"/>
                  <a:gd name="T64" fmla="*/ 1 w 594"/>
                  <a:gd name="T65" fmla="*/ 0 h 493"/>
                  <a:gd name="T66" fmla="*/ 1 w 594"/>
                  <a:gd name="T67" fmla="*/ 0 h 493"/>
                  <a:gd name="T68" fmla="*/ 1 w 594"/>
                  <a:gd name="T69" fmla="*/ 0 h 493"/>
                  <a:gd name="T70" fmla="*/ 1 w 594"/>
                  <a:gd name="T71" fmla="*/ 0 h 493"/>
                  <a:gd name="T72" fmla="*/ 1 w 594"/>
                  <a:gd name="T73" fmla="*/ 0 h 493"/>
                  <a:gd name="T74" fmla="*/ 1 w 594"/>
                  <a:gd name="T75" fmla="*/ 0 h 493"/>
                  <a:gd name="T76" fmla="*/ 1 w 594"/>
                  <a:gd name="T77" fmla="*/ 0 h 493"/>
                  <a:gd name="T78" fmla="*/ 1 w 594"/>
                  <a:gd name="T79" fmla="*/ 0 h 493"/>
                  <a:gd name="T80" fmla="*/ 1 w 594"/>
                  <a:gd name="T81" fmla="*/ 0 h 493"/>
                  <a:gd name="T82" fmla="*/ 1 w 594"/>
                  <a:gd name="T83" fmla="*/ 0 h 493"/>
                  <a:gd name="T84" fmla="*/ 1 w 594"/>
                  <a:gd name="T85" fmla="*/ 0 h 493"/>
                  <a:gd name="T86" fmla="*/ 1 w 594"/>
                  <a:gd name="T87" fmla="*/ 0 h 493"/>
                  <a:gd name="T88" fmla="*/ 1 w 594"/>
                  <a:gd name="T89" fmla="*/ 0 h 493"/>
                  <a:gd name="T90" fmla="*/ 1 w 594"/>
                  <a:gd name="T91" fmla="*/ 0 h 493"/>
                  <a:gd name="T92" fmla="*/ 1 w 594"/>
                  <a:gd name="T93" fmla="*/ 0 h 493"/>
                  <a:gd name="T94" fmla="*/ 1 w 594"/>
                  <a:gd name="T95" fmla="*/ 0 h 493"/>
                  <a:gd name="T96" fmla="*/ 1 w 594"/>
                  <a:gd name="T97" fmla="*/ 0 h 493"/>
                  <a:gd name="T98" fmla="*/ 1 w 594"/>
                  <a:gd name="T99" fmla="*/ 0 h 493"/>
                  <a:gd name="T100" fmla="*/ 1 w 594"/>
                  <a:gd name="T101" fmla="*/ 0 h 493"/>
                  <a:gd name="T102" fmla="*/ 1 w 594"/>
                  <a:gd name="T103" fmla="*/ 0 h 4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4"/>
                  <a:gd name="T157" fmla="*/ 0 h 493"/>
                  <a:gd name="T158" fmla="*/ 594 w 594"/>
                  <a:gd name="T159" fmla="*/ 493 h 4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4" h="493">
                    <a:moveTo>
                      <a:pt x="280" y="0"/>
                    </a:moveTo>
                    <a:lnTo>
                      <a:pt x="277" y="1"/>
                    </a:lnTo>
                    <a:lnTo>
                      <a:pt x="268" y="4"/>
                    </a:lnTo>
                    <a:lnTo>
                      <a:pt x="255" y="8"/>
                    </a:lnTo>
                    <a:lnTo>
                      <a:pt x="240" y="15"/>
                    </a:lnTo>
                    <a:lnTo>
                      <a:pt x="224" y="26"/>
                    </a:lnTo>
                    <a:lnTo>
                      <a:pt x="207" y="38"/>
                    </a:lnTo>
                    <a:lnTo>
                      <a:pt x="191" y="54"/>
                    </a:lnTo>
                    <a:lnTo>
                      <a:pt x="177" y="74"/>
                    </a:lnTo>
                    <a:lnTo>
                      <a:pt x="164" y="102"/>
                    </a:lnTo>
                    <a:lnTo>
                      <a:pt x="158" y="132"/>
                    </a:lnTo>
                    <a:lnTo>
                      <a:pt x="160" y="165"/>
                    </a:lnTo>
                    <a:lnTo>
                      <a:pt x="168" y="201"/>
                    </a:lnTo>
                    <a:lnTo>
                      <a:pt x="173" y="247"/>
                    </a:lnTo>
                    <a:lnTo>
                      <a:pt x="167" y="286"/>
                    </a:lnTo>
                    <a:lnTo>
                      <a:pt x="150" y="320"/>
                    </a:lnTo>
                    <a:lnTo>
                      <a:pt x="129" y="348"/>
                    </a:lnTo>
                    <a:lnTo>
                      <a:pt x="104" y="371"/>
                    </a:lnTo>
                    <a:lnTo>
                      <a:pt x="82" y="387"/>
                    </a:lnTo>
                    <a:lnTo>
                      <a:pt x="66" y="397"/>
                    </a:lnTo>
                    <a:lnTo>
                      <a:pt x="58" y="402"/>
                    </a:lnTo>
                    <a:lnTo>
                      <a:pt x="0" y="431"/>
                    </a:lnTo>
                    <a:lnTo>
                      <a:pt x="338" y="493"/>
                    </a:lnTo>
                    <a:lnTo>
                      <a:pt x="344" y="491"/>
                    </a:lnTo>
                    <a:lnTo>
                      <a:pt x="358" y="484"/>
                    </a:lnTo>
                    <a:lnTo>
                      <a:pt x="371" y="476"/>
                    </a:lnTo>
                    <a:lnTo>
                      <a:pt x="386" y="465"/>
                    </a:lnTo>
                    <a:lnTo>
                      <a:pt x="401" y="453"/>
                    </a:lnTo>
                    <a:lnTo>
                      <a:pt x="416" y="440"/>
                    </a:lnTo>
                    <a:lnTo>
                      <a:pt x="431" y="425"/>
                    </a:lnTo>
                    <a:lnTo>
                      <a:pt x="445" y="409"/>
                    </a:lnTo>
                    <a:lnTo>
                      <a:pt x="458" y="392"/>
                    </a:lnTo>
                    <a:lnTo>
                      <a:pt x="487" y="317"/>
                    </a:lnTo>
                    <a:lnTo>
                      <a:pt x="488" y="297"/>
                    </a:lnTo>
                    <a:lnTo>
                      <a:pt x="488" y="277"/>
                    </a:lnTo>
                    <a:lnTo>
                      <a:pt x="485" y="255"/>
                    </a:lnTo>
                    <a:lnTo>
                      <a:pt x="480" y="233"/>
                    </a:lnTo>
                    <a:lnTo>
                      <a:pt x="474" y="205"/>
                    </a:lnTo>
                    <a:lnTo>
                      <a:pt x="473" y="179"/>
                    </a:lnTo>
                    <a:lnTo>
                      <a:pt x="477" y="157"/>
                    </a:lnTo>
                    <a:lnTo>
                      <a:pt x="485" y="136"/>
                    </a:lnTo>
                    <a:lnTo>
                      <a:pt x="493" y="125"/>
                    </a:lnTo>
                    <a:lnTo>
                      <a:pt x="503" y="114"/>
                    </a:lnTo>
                    <a:lnTo>
                      <a:pt x="514" y="105"/>
                    </a:lnTo>
                    <a:lnTo>
                      <a:pt x="527" y="96"/>
                    </a:lnTo>
                    <a:lnTo>
                      <a:pt x="541" y="89"/>
                    </a:lnTo>
                    <a:lnTo>
                      <a:pt x="554" y="82"/>
                    </a:lnTo>
                    <a:lnTo>
                      <a:pt x="568" y="76"/>
                    </a:lnTo>
                    <a:lnTo>
                      <a:pt x="582" y="72"/>
                    </a:lnTo>
                    <a:lnTo>
                      <a:pt x="594" y="42"/>
                    </a:lnTo>
                    <a:lnTo>
                      <a:pt x="284" y="0"/>
                    </a:lnTo>
                    <a:lnTo>
                      <a:pt x="280" y="0"/>
                    </a:lnTo>
                    <a:close/>
                  </a:path>
                </a:pathLst>
              </a:custGeom>
              <a:solidFill>
                <a:srgbClr val="99A58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43" name="Freeform 425">
                <a:extLst>
                  <a:ext uri="{FF2B5EF4-FFF2-40B4-BE49-F238E27FC236}">
                    <a16:creationId xmlns:a16="http://schemas.microsoft.com/office/drawing/2014/main" id="{26F2D7FB-6CF6-4BEC-AD68-E41BCE89D48B}"/>
                  </a:ext>
                </a:extLst>
              </p:cNvPr>
              <p:cNvSpPr>
                <a:spLocks/>
              </p:cNvSpPr>
              <p:nvPr/>
            </p:nvSpPr>
            <p:spPr bwMode="auto">
              <a:xfrm>
                <a:off x="4646" y="2453"/>
                <a:ext cx="317" cy="246"/>
              </a:xfrm>
              <a:custGeom>
                <a:avLst/>
                <a:gdLst>
                  <a:gd name="T0" fmla="*/ 0 w 635"/>
                  <a:gd name="T1" fmla="*/ 0 h 493"/>
                  <a:gd name="T2" fmla="*/ 0 w 635"/>
                  <a:gd name="T3" fmla="*/ 0 h 493"/>
                  <a:gd name="T4" fmla="*/ 0 w 635"/>
                  <a:gd name="T5" fmla="*/ 0 h 493"/>
                  <a:gd name="T6" fmla="*/ 0 w 635"/>
                  <a:gd name="T7" fmla="*/ 0 h 493"/>
                  <a:gd name="T8" fmla="*/ 0 w 635"/>
                  <a:gd name="T9" fmla="*/ 0 h 493"/>
                  <a:gd name="T10" fmla="*/ 0 w 635"/>
                  <a:gd name="T11" fmla="*/ 0 h 493"/>
                  <a:gd name="T12" fmla="*/ 0 w 635"/>
                  <a:gd name="T13" fmla="*/ 0 h 493"/>
                  <a:gd name="T14" fmla="*/ 0 w 635"/>
                  <a:gd name="T15" fmla="*/ 0 h 493"/>
                  <a:gd name="T16" fmla="*/ 0 w 635"/>
                  <a:gd name="T17" fmla="*/ 0 h 493"/>
                  <a:gd name="T18" fmla="*/ 0 w 635"/>
                  <a:gd name="T19" fmla="*/ 0 h 493"/>
                  <a:gd name="T20" fmla="*/ 0 w 635"/>
                  <a:gd name="T21" fmla="*/ 0 h 493"/>
                  <a:gd name="T22" fmla="*/ 0 w 635"/>
                  <a:gd name="T23" fmla="*/ 0 h 493"/>
                  <a:gd name="T24" fmla="*/ 0 w 635"/>
                  <a:gd name="T25" fmla="*/ 0 h 493"/>
                  <a:gd name="T26" fmla="*/ 0 w 635"/>
                  <a:gd name="T27" fmla="*/ 0 h 493"/>
                  <a:gd name="T28" fmla="*/ 0 w 635"/>
                  <a:gd name="T29" fmla="*/ 0 h 493"/>
                  <a:gd name="T30" fmla="*/ 0 w 635"/>
                  <a:gd name="T31" fmla="*/ 0 h 493"/>
                  <a:gd name="T32" fmla="*/ 0 w 635"/>
                  <a:gd name="T33" fmla="*/ 0 h 493"/>
                  <a:gd name="T34" fmla="*/ 0 w 635"/>
                  <a:gd name="T35" fmla="*/ 0 h 493"/>
                  <a:gd name="T36" fmla="*/ 0 w 635"/>
                  <a:gd name="T37" fmla="*/ 0 h 493"/>
                  <a:gd name="T38" fmla="*/ 0 w 635"/>
                  <a:gd name="T39" fmla="*/ 0 h 493"/>
                  <a:gd name="T40" fmla="*/ 0 w 635"/>
                  <a:gd name="T41" fmla="*/ 0 h 493"/>
                  <a:gd name="T42" fmla="*/ 0 w 635"/>
                  <a:gd name="T43" fmla="*/ 0 h 493"/>
                  <a:gd name="T44" fmla="*/ 0 w 635"/>
                  <a:gd name="T45" fmla="*/ 0 h 493"/>
                  <a:gd name="T46" fmla="*/ 0 w 635"/>
                  <a:gd name="T47" fmla="*/ 0 h 493"/>
                  <a:gd name="T48" fmla="*/ 0 w 635"/>
                  <a:gd name="T49" fmla="*/ 0 h 493"/>
                  <a:gd name="T50" fmla="*/ 0 w 635"/>
                  <a:gd name="T51" fmla="*/ 0 h 493"/>
                  <a:gd name="T52" fmla="*/ 0 w 635"/>
                  <a:gd name="T53" fmla="*/ 0 h 493"/>
                  <a:gd name="T54" fmla="*/ 0 w 635"/>
                  <a:gd name="T55" fmla="*/ 0 h 493"/>
                  <a:gd name="T56" fmla="*/ 0 w 635"/>
                  <a:gd name="T57" fmla="*/ 0 h 493"/>
                  <a:gd name="T58" fmla="*/ 0 w 635"/>
                  <a:gd name="T59" fmla="*/ 0 h 493"/>
                  <a:gd name="T60" fmla="*/ 0 w 635"/>
                  <a:gd name="T61" fmla="*/ 0 h 493"/>
                  <a:gd name="T62" fmla="*/ 0 w 635"/>
                  <a:gd name="T63" fmla="*/ 0 h 493"/>
                  <a:gd name="T64" fmla="*/ 0 w 635"/>
                  <a:gd name="T65" fmla="*/ 0 h 493"/>
                  <a:gd name="T66" fmla="*/ 0 w 635"/>
                  <a:gd name="T67" fmla="*/ 0 h 493"/>
                  <a:gd name="T68" fmla="*/ 0 w 635"/>
                  <a:gd name="T69" fmla="*/ 0 h 493"/>
                  <a:gd name="T70" fmla="*/ 0 w 635"/>
                  <a:gd name="T71" fmla="*/ 0 h 493"/>
                  <a:gd name="T72" fmla="*/ 0 w 635"/>
                  <a:gd name="T73" fmla="*/ 0 h 493"/>
                  <a:gd name="T74" fmla="*/ 0 w 635"/>
                  <a:gd name="T75" fmla="*/ 0 h 493"/>
                  <a:gd name="T76" fmla="*/ 0 w 635"/>
                  <a:gd name="T77" fmla="*/ 0 h 493"/>
                  <a:gd name="T78" fmla="*/ 0 w 635"/>
                  <a:gd name="T79" fmla="*/ 0 h 493"/>
                  <a:gd name="T80" fmla="*/ 0 w 635"/>
                  <a:gd name="T81" fmla="*/ 0 h 493"/>
                  <a:gd name="T82" fmla="*/ 0 w 635"/>
                  <a:gd name="T83" fmla="*/ 0 h 493"/>
                  <a:gd name="T84" fmla="*/ 0 w 635"/>
                  <a:gd name="T85" fmla="*/ 0 h 493"/>
                  <a:gd name="T86" fmla="*/ 0 w 635"/>
                  <a:gd name="T87" fmla="*/ 0 h 493"/>
                  <a:gd name="T88" fmla="*/ 0 w 635"/>
                  <a:gd name="T89" fmla="*/ 0 h 493"/>
                  <a:gd name="T90" fmla="*/ 0 w 635"/>
                  <a:gd name="T91" fmla="*/ 0 h 493"/>
                  <a:gd name="T92" fmla="*/ 0 w 635"/>
                  <a:gd name="T93" fmla="*/ 0 h 49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35"/>
                  <a:gd name="T142" fmla="*/ 0 h 493"/>
                  <a:gd name="T143" fmla="*/ 635 w 635"/>
                  <a:gd name="T144" fmla="*/ 493 h 49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35" h="493">
                    <a:moveTo>
                      <a:pt x="635" y="59"/>
                    </a:moveTo>
                    <a:lnTo>
                      <a:pt x="631" y="47"/>
                    </a:lnTo>
                    <a:lnTo>
                      <a:pt x="286" y="0"/>
                    </a:lnTo>
                    <a:lnTo>
                      <a:pt x="282" y="1"/>
                    </a:lnTo>
                    <a:lnTo>
                      <a:pt x="278" y="2"/>
                    </a:lnTo>
                    <a:lnTo>
                      <a:pt x="270" y="5"/>
                    </a:lnTo>
                    <a:lnTo>
                      <a:pt x="257" y="9"/>
                    </a:lnTo>
                    <a:lnTo>
                      <a:pt x="242" y="16"/>
                    </a:lnTo>
                    <a:lnTo>
                      <a:pt x="225" y="25"/>
                    </a:lnTo>
                    <a:lnTo>
                      <a:pt x="208" y="38"/>
                    </a:lnTo>
                    <a:lnTo>
                      <a:pt x="192" y="54"/>
                    </a:lnTo>
                    <a:lnTo>
                      <a:pt x="178" y="74"/>
                    </a:lnTo>
                    <a:lnTo>
                      <a:pt x="166" y="103"/>
                    </a:lnTo>
                    <a:lnTo>
                      <a:pt x="160" y="132"/>
                    </a:lnTo>
                    <a:lnTo>
                      <a:pt x="162" y="166"/>
                    </a:lnTo>
                    <a:lnTo>
                      <a:pt x="169" y="202"/>
                    </a:lnTo>
                    <a:lnTo>
                      <a:pt x="174" y="248"/>
                    </a:lnTo>
                    <a:lnTo>
                      <a:pt x="169" y="287"/>
                    </a:lnTo>
                    <a:lnTo>
                      <a:pt x="152" y="321"/>
                    </a:lnTo>
                    <a:lnTo>
                      <a:pt x="131" y="349"/>
                    </a:lnTo>
                    <a:lnTo>
                      <a:pt x="106" y="372"/>
                    </a:lnTo>
                    <a:lnTo>
                      <a:pt x="84" y="388"/>
                    </a:lnTo>
                    <a:lnTo>
                      <a:pt x="68" y="398"/>
                    </a:lnTo>
                    <a:lnTo>
                      <a:pt x="60" y="403"/>
                    </a:lnTo>
                    <a:lnTo>
                      <a:pt x="0" y="431"/>
                    </a:lnTo>
                    <a:lnTo>
                      <a:pt x="339" y="493"/>
                    </a:lnTo>
                    <a:lnTo>
                      <a:pt x="345" y="491"/>
                    </a:lnTo>
                    <a:lnTo>
                      <a:pt x="371" y="477"/>
                    </a:lnTo>
                    <a:lnTo>
                      <a:pt x="399" y="457"/>
                    </a:lnTo>
                    <a:lnTo>
                      <a:pt x="426" y="432"/>
                    </a:lnTo>
                    <a:lnTo>
                      <a:pt x="453" y="402"/>
                    </a:lnTo>
                    <a:lnTo>
                      <a:pt x="472" y="366"/>
                    </a:lnTo>
                    <a:lnTo>
                      <a:pt x="486" y="326"/>
                    </a:lnTo>
                    <a:lnTo>
                      <a:pt x="490" y="281"/>
                    </a:lnTo>
                    <a:lnTo>
                      <a:pt x="482" y="233"/>
                    </a:lnTo>
                    <a:lnTo>
                      <a:pt x="476" y="205"/>
                    </a:lnTo>
                    <a:lnTo>
                      <a:pt x="475" y="180"/>
                    </a:lnTo>
                    <a:lnTo>
                      <a:pt x="479" y="158"/>
                    </a:lnTo>
                    <a:lnTo>
                      <a:pt x="487" y="137"/>
                    </a:lnTo>
                    <a:lnTo>
                      <a:pt x="502" y="116"/>
                    </a:lnTo>
                    <a:lnTo>
                      <a:pt x="523" y="100"/>
                    </a:lnTo>
                    <a:lnTo>
                      <a:pt x="547" y="86"/>
                    </a:lnTo>
                    <a:lnTo>
                      <a:pt x="573" y="76"/>
                    </a:lnTo>
                    <a:lnTo>
                      <a:pt x="596" y="68"/>
                    </a:lnTo>
                    <a:lnTo>
                      <a:pt x="616" y="62"/>
                    </a:lnTo>
                    <a:lnTo>
                      <a:pt x="630" y="60"/>
                    </a:lnTo>
                    <a:lnTo>
                      <a:pt x="635"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44" name="Freeform 426">
                <a:extLst>
                  <a:ext uri="{FF2B5EF4-FFF2-40B4-BE49-F238E27FC236}">
                    <a16:creationId xmlns:a16="http://schemas.microsoft.com/office/drawing/2014/main" id="{C937FF5B-7D05-4053-92C3-3C66B69CF700}"/>
                  </a:ext>
                </a:extLst>
              </p:cNvPr>
              <p:cNvSpPr>
                <a:spLocks/>
              </p:cNvSpPr>
              <p:nvPr/>
            </p:nvSpPr>
            <p:spPr bwMode="auto">
              <a:xfrm>
                <a:off x="4680" y="2463"/>
                <a:ext cx="248" cy="225"/>
              </a:xfrm>
              <a:custGeom>
                <a:avLst/>
                <a:gdLst>
                  <a:gd name="T0" fmla="*/ 0 w 498"/>
                  <a:gd name="T1" fmla="*/ 1 h 449"/>
                  <a:gd name="T2" fmla="*/ 0 w 498"/>
                  <a:gd name="T3" fmla="*/ 1 h 449"/>
                  <a:gd name="T4" fmla="*/ 0 w 498"/>
                  <a:gd name="T5" fmla="*/ 1 h 449"/>
                  <a:gd name="T6" fmla="*/ 0 w 498"/>
                  <a:gd name="T7" fmla="*/ 1 h 449"/>
                  <a:gd name="T8" fmla="*/ 0 w 498"/>
                  <a:gd name="T9" fmla="*/ 1 h 449"/>
                  <a:gd name="T10" fmla="*/ 0 w 498"/>
                  <a:gd name="T11" fmla="*/ 1 h 449"/>
                  <a:gd name="T12" fmla="*/ 0 w 498"/>
                  <a:gd name="T13" fmla="*/ 1 h 449"/>
                  <a:gd name="T14" fmla="*/ 0 w 498"/>
                  <a:gd name="T15" fmla="*/ 1 h 449"/>
                  <a:gd name="T16" fmla="*/ 0 w 498"/>
                  <a:gd name="T17" fmla="*/ 1 h 449"/>
                  <a:gd name="T18" fmla="*/ 0 w 498"/>
                  <a:gd name="T19" fmla="*/ 1 h 449"/>
                  <a:gd name="T20" fmla="*/ 0 w 498"/>
                  <a:gd name="T21" fmla="*/ 1 h 449"/>
                  <a:gd name="T22" fmla="*/ 0 w 498"/>
                  <a:gd name="T23" fmla="*/ 1 h 449"/>
                  <a:gd name="T24" fmla="*/ 0 w 498"/>
                  <a:gd name="T25" fmla="*/ 1 h 449"/>
                  <a:gd name="T26" fmla="*/ 0 w 498"/>
                  <a:gd name="T27" fmla="*/ 1 h 449"/>
                  <a:gd name="T28" fmla="*/ 0 w 498"/>
                  <a:gd name="T29" fmla="*/ 1 h 449"/>
                  <a:gd name="T30" fmla="*/ 0 w 498"/>
                  <a:gd name="T31" fmla="*/ 1 h 449"/>
                  <a:gd name="T32" fmla="*/ 0 w 498"/>
                  <a:gd name="T33" fmla="*/ 1 h 449"/>
                  <a:gd name="T34" fmla="*/ 0 w 498"/>
                  <a:gd name="T35" fmla="*/ 1 h 449"/>
                  <a:gd name="T36" fmla="*/ 0 w 498"/>
                  <a:gd name="T37" fmla="*/ 1 h 449"/>
                  <a:gd name="T38" fmla="*/ 0 w 498"/>
                  <a:gd name="T39" fmla="*/ 1 h 449"/>
                  <a:gd name="T40" fmla="*/ 0 w 498"/>
                  <a:gd name="T41" fmla="*/ 1 h 449"/>
                  <a:gd name="T42" fmla="*/ 0 w 498"/>
                  <a:gd name="T43" fmla="*/ 1 h 449"/>
                  <a:gd name="T44" fmla="*/ 0 w 498"/>
                  <a:gd name="T45" fmla="*/ 1 h 449"/>
                  <a:gd name="T46" fmla="*/ 0 w 498"/>
                  <a:gd name="T47" fmla="*/ 1 h 449"/>
                  <a:gd name="T48" fmla="*/ 0 w 498"/>
                  <a:gd name="T49" fmla="*/ 1 h 449"/>
                  <a:gd name="T50" fmla="*/ 0 w 498"/>
                  <a:gd name="T51" fmla="*/ 1 h 449"/>
                  <a:gd name="T52" fmla="*/ 0 w 498"/>
                  <a:gd name="T53" fmla="*/ 1 h 449"/>
                  <a:gd name="T54" fmla="*/ 0 w 498"/>
                  <a:gd name="T55" fmla="*/ 1 h 449"/>
                  <a:gd name="T56" fmla="*/ 0 w 498"/>
                  <a:gd name="T57" fmla="*/ 1 h 449"/>
                  <a:gd name="T58" fmla="*/ 0 w 498"/>
                  <a:gd name="T59" fmla="*/ 1 h 449"/>
                  <a:gd name="T60" fmla="*/ 0 w 498"/>
                  <a:gd name="T61" fmla="*/ 1 h 449"/>
                  <a:gd name="T62" fmla="*/ 0 w 498"/>
                  <a:gd name="T63" fmla="*/ 1 h 449"/>
                  <a:gd name="T64" fmla="*/ 0 w 498"/>
                  <a:gd name="T65" fmla="*/ 1 h 449"/>
                  <a:gd name="T66" fmla="*/ 0 w 498"/>
                  <a:gd name="T67" fmla="*/ 0 h 449"/>
                  <a:gd name="T68" fmla="*/ 0 w 498"/>
                  <a:gd name="T69" fmla="*/ 1 h 44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98"/>
                  <a:gd name="T106" fmla="*/ 0 h 449"/>
                  <a:gd name="T107" fmla="*/ 498 w 498"/>
                  <a:gd name="T108" fmla="*/ 449 h 44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98" h="449">
                    <a:moveTo>
                      <a:pt x="498" y="38"/>
                    </a:moveTo>
                    <a:lnTo>
                      <a:pt x="491" y="39"/>
                    </a:lnTo>
                    <a:lnTo>
                      <a:pt x="475" y="45"/>
                    </a:lnTo>
                    <a:lnTo>
                      <a:pt x="453" y="55"/>
                    </a:lnTo>
                    <a:lnTo>
                      <a:pt x="429" y="71"/>
                    </a:lnTo>
                    <a:lnTo>
                      <a:pt x="407" y="94"/>
                    </a:lnTo>
                    <a:lnTo>
                      <a:pt x="391" y="125"/>
                    </a:lnTo>
                    <a:lnTo>
                      <a:pt x="385" y="166"/>
                    </a:lnTo>
                    <a:lnTo>
                      <a:pt x="393" y="216"/>
                    </a:lnTo>
                    <a:lnTo>
                      <a:pt x="401" y="271"/>
                    </a:lnTo>
                    <a:lnTo>
                      <a:pt x="392" y="318"/>
                    </a:lnTo>
                    <a:lnTo>
                      <a:pt x="373" y="357"/>
                    </a:lnTo>
                    <a:lnTo>
                      <a:pt x="347" y="390"/>
                    </a:lnTo>
                    <a:lnTo>
                      <a:pt x="319" y="416"/>
                    </a:lnTo>
                    <a:lnTo>
                      <a:pt x="294" y="434"/>
                    </a:lnTo>
                    <a:lnTo>
                      <a:pt x="274" y="445"/>
                    </a:lnTo>
                    <a:lnTo>
                      <a:pt x="267" y="449"/>
                    </a:lnTo>
                    <a:lnTo>
                      <a:pt x="0" y="399"/>
                    </a:lnTo>
                    <a:lnTo>
                      <a:pt x="7" y="396"/>
                    </a:lnTo>
                    <a:lnTo>
                      <a:pt x="25" y="386"/>
                    </a:lnTo>
                    <a:lnTo>
                      <a:pt x="50" y="367"/>
                    </a:lnTo>
                    <a:lnTo>
                      <a:pt x="76" y="342"/>
                    </a:lnTo>
                    <a:lnTo>
                      <a:pt x="101" y="311"/>
                    </a:lnTo>
                    <a:lnTo>
                      <a:pt x="119" y="272"/>
                    </a:lnTo>
                    <a:lnTo>
                      <a:pt x="127" y="226"/>
                    </a:lnTo>
                    <a:lnTo>
                      <a:pt x="120" y="174"/>
                    </a:lnTo>
                    <a:lnTo>
                      <a:pt x="112" y="124"/>
                    </a:lnTo>
                    <a:lnTo>
                      <a:pt x="118" y="85"/>
                    </a:lnTo>
                    <a:lnTo>
                      <a:pt x="133" y="54"/>
                    </a:lnTo>
                    <a:lnTo>
                      <a:pt x="153" y="32"/>
                    </a:lnTo>
                    <a:lnTo>
                      <a:pt x="176" y="16"/>
                    </a:lnTo>
                    <a:lnTo>
                      <a:pt x="197" y="7"/>
                    </a:lnTo>
                    <a:lnTo>
                      <a:pt x="212" y="1"/>
                    </a:lnTo>
                    <a:lnTo>
                      <a:pt x="218" y="0"/>
                    </a:lnTo>
                    <a:lnTo>
                      <a:pt x="498"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45" name="Freeform 431">
                <a:extLst>
                  <a:ext uri="{FF2B5EF4-FFF2-40B4-BE49-F238E27FC236}">
                    <a16:creationId xmlns:a16="http://schemas.microsoft.com/office/drawing/2014/main" id="{56227DFD-6FA8-47E1-B377-431543D2EA6E}"/>
                  </a:ext>
                </a:extLst>
              </p:cNvPr>
              <p:cNvSpPr>
                <a:spLocks/>
              </p:cNvSpPr>
              <p:nvPr/>
            </p:nvSpPr>
            <p:spPr bwMode="auto">
              <a:xfrm>
                <a:off x="4757" y="2507"/>
                <a:ext cx="97" cy="23"/>
              </a:xfrm>
              <a:custGeom>
                <a:avLst/>
                <a:gdLst>
                  <a:gd name="T0" fmla="*/ 1 w 193"/>
                  <a:gd name="T1" fmla="*/ 0 h 48"/>
                  <a:gd name="T2" fmla="*/ 0 w 193"/>
                  <a:gd name="T3" fmla="*/ 0 h 48"/>
                  <a:gd name="T4" fmla="*/ 1 w 193"/>
                  <a:gd name="T5" fmla="*/ 0 h 48"/>
                  <a:gd name="T6" fmla="*/ 1 w 193"/>
                  <a:gd name="T7" fmla="*/ 0 h 48"/>
                  <a:gd name="T8" fmla="*/ 1 w 193"/>
                  <a:gd name="T9" fmla="*/ 0 h 48"/>
                  <a:gd name="T10" fmla="*/ 0 60000 65536"/>
                  <a:gd name="T11" fmla="*/ 0 60000 65536"/>
                  <a:gd name="T12" fmla="*/ 0 60000 65536"/>
                  <a:gd name="T13" fmla="*/ 0 60000 65536"/>
                  <a:gd name="T14" fmla="*/ 0 60000 65536"/>
                  <a:gd name="T15" fmla="*/ 0 w 193"/>
                  <a:gd name="T16" fmla="*/ 0 h 48"/>
                  <a:gd name="T17" fmla="*/ 193 w 193"/>
                  <a:gd name="T18" fmla="*/ 48 h 48"/>
                </a:gdLst>
                <a:ahLst/>
                <a:cxnLst>
                  <a:cxn ang="T10">
                    <a:pos x="T0" y="T1"/>
                  </a:cxn>
                  <a:cxn ang="T11">
                    <a:pos x="T2" y="T3"/>
                  </a:cxn>
                  <a:cxn ang="T12">
                    <a:pos x="T4" y="T5"/>
                  </a:cxn>
                  <a:cxn ang="T13">
                    <a:pos x="T6" y="T7"/>
                  </a:cxn>
                  <a:cxn ang="T14">
                    <a:pos x="T8" y="T9"/>
                  </a:cxn>
                </a:cxnLst>
                <a:rect l="T15" t="T16" r="T17" b="T18"/>
                <a:pathLst>
                  <a:path w="193" h="48">
                    <a:moveTo>
                      <a:pt x="193" y="48"/>
                    </a:moveTo>
                    <a:lnTo>
                      <a:pt x="0" y="14"/>
                    </a:lnTo>
                    <a:lnTo>
                      <a:pt x="1" y="0"/>
                    </a:lnTo>
                    <a:lnTo>
                      <a:pt x="193" y="34"/>
                    </a:lnTo>
                    <a:lnTo>
                      <a:pt x="193"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46" name="Freeform 432">
                <a:extLst>
                  <a:ext uri="{FF2B5EF4-FFF2-40B4-BE49-F238E27FC236}">
                    <a16:creationId xmlns:a16="http://schemas.microsoft.com/office/drawing/2014/main" id="{E9D15F63-C007-4EAD-AEE4-D0B780446359}"/>
                  </a:ext>
                </a:extLst>
              </p:cNvPr>
              <p:cNvSpPr>
                <a:spLocks/>
              </p:cNvSpPr>
              <p:nvPr/>
            </p:nvSpPr>
            <p:spPr bwMode="auto">
              <a:xfrm>
                <a:off x="4752" y="2525"/>
                <a:ext cx="96" cy="23"/>
              </a:xfrm>
              <a:custGeom>
                <a:avLst/>
                <a:gdLst>
                  <a:gd name="T0" fmla="*/ 0 w 194"/>
                  <a:gd name="T1" fmla="*/ 1 h 46"/>
                  <a:gd name="T2" fmla="*/ 0 w 194"/>
                  <a:gd name="T3" fmla="*/ 1 h 46"/>
                  <a:gd name="T4" fmla="*/ 0 w 194"/>
                  <a:gd name="T5" fmla="*/ 0 h 46"/>
                  <a:gd name="T6" fmla="*/ 0 w 194"/>
                  <a:gd name="T7" fmla="*/ 1 h 46"/>
                  <a:gd name="T8" fmla="*/ 0 w 194"/>
                  <a:gd name="T9" fmla="*/ 1 h 46"/>
                  <a:gd name="T10" fmla="*/ 0 60000 65536"/>
                  <a:gd name="T11" fmla="*/ 0 60000 65536"/>
                  <a:gd name="T12" fmla="*/ 0 60000 65536"/>
                  <a:gd name="T13" fmla="*/ 0 60000 65536"/>
                  <a:gd name="T14" fmla="*/ 0 60000 65536"/>
                  <a:gd name="T15" fmla="*/ 0 w 194"/>
                  <a:gd name="T16" fmla="*/ 0 h 46"/>
                  <a:gd name="T17" fmla="*/ 194 w 194"/>
                  <a:gd name="T18" fmla="*/ 46 h 46"/>
                </a:gdLst>
                <a:ahLst/>
                <a:cxnLst>
                  <a:cxn ang="T10">
                    <a:pos x="T0" y="T1"/>
                  </a:cxn>
                  <a:cxn ang="T11">
                    <a:pos x="T2" y="T3"/>
                  </a:cxn>
                  <a:cxn ang="T12">
                    <a:pos x="T4" y="T5"/>
                  </a:cxn>
                  <a:cxn ang="T13">
                    <a:pos x="T6" y="T7"/>
                  </a:cxn>
                  <a:cxn ang="T14">
                    <a:pos x="T8" y="T9"/>
                  </a:cxn>
                </a:cxnLst>
                <a:rect l="T15" t="T16" r="T17" b="T18"/>
                <a:pathLst>
                  <a:path w="194" h="46">
                    <a:moveTo>
                      <a:pt x="192" y="46"/>
                    </a:moveTo>
                    <a:lnTo>
                      <a:pt x="0" y="14"/>
                    </a:lnTo>
                    <a:lnTo>
                      <a:pt x="1" y="0"/>
                    </a:lnTo>
                    <a:lnTo>
                      <a:pt x="194" y="34"/>
                    </a:lnTo>
                    <a:lnTo>
                      <a:pt x="192" y="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47" name="Freeform 433">
                <a:extLst>
                  <a:ext uri="{FF2B5EF4-FFF2-40B4-BE49-F238E27FC236}">
                    <a16:creationId xmlns:a16="http://schemas.microsoft.com/office/drawing/2014/main" id="{F0657AA2-0F97-49C7-8844-BE8D3387B55B}"/>
                  </a:ext>
                </a:extLst>
              </p:cNvPr>
              <p:cNvSpPr>
                <a:spLocks/>
              </p:cNvSpPr>
              <p:nvPr/>
            </p:nvSpPr>
            <p:spPr bwMode="auto">
              <a:xfrm>
                <a:off x="4756" y="2544"/>
                <a:ext cx="96" cy="23"/>
              </a:xfrm>
              <a:custGeom>
                <a:avLst/>
                <a:gdLst>
                  <a:gd name="T0" fmla="*/ 0 w 193"/>
                  <a:gd name="T1" fmla="*/ 1 h 45"/>
                  <a:gd name="T2" fmla="*/ 0 w 193"/>
                  <a:gd name="T3" fmla="*/ 1 h 45"/>
                  <a:gd name="T4" fmla="*/ 0 w 193"/>
                  <a:gd name="T5" fmla="*/ 0 h 45"/>
                  <a:gd name="T6" fmla="*/ 0 w 193"/>
                  <a:gd name="T7" fmla="*/ 1 h 45"/>
                  <a:gd name="T8" fmla="*/ 0 w 193"/>
                  <a:gd name="T9" fmla="*/ 1 h 45"/>
                  <a:gd name="T10" fmla="*/ 0 60000 65536"/>
                  <a:gd name="T11" fmla="*/ 0 60000 65536"/>
                  <a:gd name="T12" fmla="*/ 0 60000 65536"/>
                  <a:gd name="T13" fmla="*/ 0 60000 65536"/>
                  <a:gd name="T14" fmla="*/ 0 60000 65536"/>
                  <a:gd name="T15" fmla="*/ 0 w 193"/>
                  <a:gd name="T16" fmla="*/ 0 h 45"/>
                  <a:gd name="T17" fmla="*/ 193 w 193"/>
                  <a:gd name="T18" fmla="*/ 45 h 45"/>
                </a:gdLst>
                <a:ahLst/>
                <a:cxnLst>
                  <a:cxn ang="T10">
                    <a:pos x="T0" y="T1"/>
                  </a:cxn>
                  <a:cxn ang="T11">
                    <a:pos x="T2" y="T3"/>
                  </a:cxn>
                  <a:cxn ang="T12">
                    <a:pos x="T4" y="T5"/>
                  </a:cxn>
                  <a:cxn ang="T13">
                    <a:pos x="T6" y="T7"/>
                  </a:cxn>
                  <a:cxn ang="T14">
                    <a:pos x="T8" y="T9"/>
                  </a:cxn>
                </a:cxnLst>
                <a:rect l="T15" t="T16" r="T17" b="T18"/>
                <a:pathLst>
                  <a:path w="193" h="45">
                    <a:moveTo>
                      <a:pt x="193" y="45"/>
                    </a:moveTo>
                    <a:lnTo>
                      <a:pt x="0" y="13"/>
                    </a:lnTo>
                    <a:lnTo>
                      <a:pt x="0" y="0"/>
                    </a:lnTo>
                    <a:lnTo>
                      <a:pt x="193" y="31"/>
                    </a:lnTo>
                    <a:lnTo>
                      <a:pt x="193"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48" name="Freeform 434">
                <a:extLst>
                  <a:ext uri="{FF2B5EF4-FFF2-40B4-BE49-F238E27FC236}">
                    <a16:creationId xmlns:a16="http://schemas.microsoft.com/office/drawing/2014/main" id="{43C1F766-E0E0-4823-B944-FC50E27D6FC2}"/>
                  </a:ext>
                </a:extLst>
              </p:cNvPr>
              <p:cNvSpPr>
                <a:spLocks/>
              </p:cNvSpPr>
              <p:nvPr/>
            </p:nvSpPr>
            <p:spPr bwMode="auto">
              <a:xfrm>
                <a:off x="4755" y="2603"/>
                <a:ext cx="99" cy="24"/>
              </a:xfrm>
              <a:custGeom>
                <a:avLst/>
                <a:gdLst>
                  <a:gd name="T0" fmla="*/ 0 w 197"/>
                  <a:gd name="T1" fmla="*/ 1 h 48"/>
                  <a:gd name="T2" fmla="*/ 1 w 197"/>
                  <a:gd name="T3" fmla="*/ 1 h 48"/>
                  <a:gd name="T4" fmla="*/ 1 w 197"/>
                  <a:gd name="T5" fmla="*/ 1 h 48"/>
                  <a:gd name="T6" fmla="*/ 1 w 197"/>
                  <a:gd name="T7" fmla="*/ 0 h 48"/>
                  <a:gd name="T8" fmla="*/ 0 w 197"/>
                  <a:gd name="T9" fmla="*/ 1 h 48"/>
                  <a:gd name="T10" fmla="*/ 0 60000 65536"/>
                  <a:gd name="T11" fmla="*/ 0 60000 65536"/>
                  <a:gd name="T12" fmla="*/ 0 60000 65536"/>
                  <a:gd name="T13" fmla="*/ 0 60000 65536"/>
                  <a:gd name="T14" fmla="*/ 0 60000 65536"/>
                  <a:gd name="T15" fmla="*/ 0 w 197"/>
                  <a:gd name="T16" fmla="*/ 0 h 48"/>
                  <a:gd name="T17" fmla="*/ 197 w 197"/>
                  <a:gd name="T18" fmla="*/ 48 h 48"/>
                </a:gdLst>
                <a:ahLst/>
                <a:cxnLst>
                  <a:cxn ang="T10">
                    <a:pos x="T0" y="T1"/>
                  </a:cxn>
                  <a:cxn ang="T11">
                    <a:pos x="T2" y="T3"/>
                  </a:cxn>
                  <a:cxn ang="T12">
                    <a:pos x="T4" y="T5"/>
                  </a:cxn>
                  <a:cxn ang="T13">
                    <a:pos x="T6" y="T7"/>
                  </a:cxn>
                  <a:cxn ang="T14">
                    <a:pos x="T8" y="T9"/>
                  </a:cxn>
                </a:cxnLst>
                <a:rect l="T15" t="T16" r="T17" b="T18"/>
                <a:pathLst>
                  <a:path w="197" h="48">
                    <a:moveTo>
                      <a:pt x="0" y="13"/>
                    </a:moveTo>
                    <a:lnTo>
                      <a:pt x="192" y="48"/>
                    </a:lnTo>
                    <a:lnTo>
                      <a:pt x="197" y="35"/>
                    </a:lnTo>
                    <a:lnTo>
                      <a:pt x="5" y="0"/>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49" name="Freeform 435">
                <a:extLst>
                  <a:ext uri="{FF2B5EF4-FFF2-40B4-BE49-F238E27FC236}">
                    <a16:creationId xmlns:a16="http://schemas.microsoft.com/office/drawing/2014/main" id="{E9A3476A-824E-42D9-9F33-83684E39A02F}"/>
                  </a:ext>
                </a:extLst>
              </p:cNvPr>
              <p:cNvSpPr>
                <a:spLocks/>
              </p:cNvSpPr>
              <p:nvPr/>
            </p:nvSpPr>
            <p:spPr bwMode="auto">
              <a:xfrm>
                <a:off x="4750" y="2620"/>
                <a:ext cx="98" cy="24"/>
              </a:xfrm>
              <a:custGeom>
                <a:avLst/>
                <a:gdLst>
                  <a:gd name="T0" fmla="*/ 0 w 195"/>
                  <a:gd name="T1" fmla="*/ 1 h 48"/>
                  <a:gd name="T2" fmla="*/ 1 w 195"/>
                  <a:gd name="T3" fmla="*/ 1 h 48"/>
                  <a:gd name="T4" fmla="*/ 1 w 195"/>
                  <a:gd name="T5" fmla="*/ 1 h 48"/>
                  <a:gd name="T6" fmla="*/ 1 w 195"/>
                  <a:gd name="T7" fmla="*/ 0 h 48"/>
                  <a:gd name="T8" fmla="*/ 0 w 195"/>
                  <a:gd name="T9" fmla="*/ 1 h 48"/>
                  <a:gd name="T10" fmla="*/ 0 60000 65536"/>
                  <a:gd name="T11" fmla="*/ 0 60000 65536"/>
                  <a:gd name="T12" fmla="*/ 0 60000 65536"/>
                  <a:gd name="T13" fmla="*/ 0 60000 65536"/>
                  <a:gd name="T14" fmla="*/ 0 60000 65536"/>
                  <a:gd name="T15" fmla="*/ 0 w 195"/>
                  <a:gd name="T16" fmla="*/ 0 h 48"/>
                  <a:gd name="T17" fmla="*/ 195 w 195"/>
                  <a:gd name="T18" fmla="*/ 48 h 48"/>
                </a:gdLst>
                <a:ahLst/>
                <a:cxnLst>
                  <a:cxn ang="T10">
                    <a:pos x="T0" y="T1"/>
                  </a:cxn>
                  <a:cxn ang="T11">
                    <a:pos x="T2" y="T3"/>
                  </a:cxn>
                  <a:cxn ang="T12">
                    <a:pos x="T4" y="T5"/>
                  </a:cxn>
                  <a:cxn ang="T13">
                    <a:pos x="T6" y="T7"/>
                  </a:cxn>
                  <a:cxn ang="T14">
                    <a:pos x="T8" y="T9"/>
                  </a:cxn>
                </a:cxnLst>
                <a:rect l="T15" t="T16" r="T17" b="T18"/>
                <a:pathLst>
                  <a:path w="195" h="48">
                    <a:moveTo>
                      <a:pt x="0" y="13"/>
                    </a:moveTo>
                    <a:lnTo>
                      <a:pt x="192" y="48"/>
                    </a:lnTo>
                    <a:lnTo>
                      <a:pt x="195" y="36"/>
                    </a:lnTo>
                    <a:lnTo>
                      <a:pt x="4" y="0"/>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50" name="Freeform 436">
                <a:extLst>
                  <a:ext uri="{FF2B5EF4-FFF2-40B4-BE49-F238E27FC236}">
                    <a16:creationId xmlns:a16="http://schemas.microsoft.com/office/drawing/2014/main" id="{2481D239-2FA1-4682-B103-663C7395316D}"/>
                  </a:ext>
                </a:extLst>
              </p:cNvPr>
              <p:cNvSpPr>
                <a:spLocks/>
              </p:cNvSpPr>
              <p:nvPr/>
            </p:nvSpPr>
            <p:spPr bwMode="auto">
              <a:xfrm>
                <a:off x="4731" y="2633"/>
                <a:ext cx="98" cy="25"/>
              </a:xfrm>
              <a:custGeom>
                <a:avLst/>
                <a:gdLst>
                  <a:gd name="T0" fmla="*/ 0 w 197"/>
                  <a:gd name="T1" fmla="*/ 1 h 49"/>
                  <a:gd name="T2" fmla="*/ 0 w 197"/>
                  <a:gd name="T3" fmla="*/ 1 h 49"/>
                  <a:gd name="T4" fmla="*/ 0 w 197"/>
                  <a:gd name="T5" fmla="*/ 1 h 49"/>
                  <a:gd name="T6" fmla="*/ 0 w 197"/>
                  <a:gd name="T7" fmla="*/ 0 h 49"/>
                  <a:gd name="T8" fmla="*/ 0 w 197"/>
                  <a:gd name="T9" fmla="*/ 1 h 49"/>
                  <a:gd name="T10" fmla="*/ 0 60000 65536"/>
                  <a:gd name="T11" fmla="*/ 0 60000 65536"/>
                  <a:gd name="T12" fmla="*/ 0 60000 65536"/>
                  <a:gd name="T13" fmla="*/ 0 60000 65536"/>
                  <a:gd name="T14" fmla="*/ 0 60000 65536"/>
                  <a:gd name="T15" fmla="*/ 0 w 197"/>
                  <a:gd name="T16" fmla="*/ 0 h 49"/>
                  <a:gd name="T17" fmla="*/ 197 w 197"/>
                  <a:gd name="T18" fmla="*/ 49 h 49"/>
                </a:gdLst>
                <a:ahLst/>
                <a:cxnLst>
                  <a:cxn ang="T10">
                    <a:pos x="T0" y="T1"/>
                  </a:cxn>
                  <a:cxn ang="T11">
                    <a:pos x="T2" y="T3"/>
                  </a:cxn>
                  <a:cxn ang="T12">
                    <a:pos x="T4" y="T5"/>
                  </a:cxn>
                  <a:cxn ang="T13">
                    <a:pos x="T6" y="T7"/>
                  </a:cxn>
                  <a:cxn ang="T14">
                    <a:pos x="T8" y="T9"/>
                  </a:cxn>
                </a:cxnLst>
                <a:rect l="T15" t="T16" r="T17" b="T18"/>
                <a:pathLst>
                  <a:path w="197" h="49">
                    <a:moveTo>
                      <a:pt x="0" y="13"/>
                    </a:moveTo>
                    <a:lnTo>
                      <a:pt x="192" y="49"/>
                    </a:lnTo>
                    <a:lnTo>
                      <a:pt x="197" y="35"/>
                    </a:lnTo>
                    <a:lnTo>
                      <a:pt x="4" y="0"/>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87061" name="Group 4">
              <a:extLst>
                <a:ext uri="{FF2B5EF4-FFF2-40B4-BE49-F238E27FC236}">
                  <a16:creationId xmlns:a16="http://schemas.microsoft.com/office/drawing/2014/main" id="{25033BF4-53A0-498B-819C-B0EDB5C44941}"/>
                </a:ext>
              </a:extLst>
            </p:cNvPr>
            <p:cNvGrpSpPr>
              <a:grpSpLocks noChangeAspect="1"/>
            </p:cNvGrpSpPr>
            <p:nvPr/>
          </p:nvGrpSpPr>
          <p:grpSpPr bwMode="auto">
            <a:xfrm>
              <a:off x="4511675" y="5783249"/>
              <a:ext cx="257175" cy="255587"/>
              <a:chOff x="927" y="149"/>
              <a:chExt cx="1042" cy="1044"/>
            </a:xfrm>
          </p:grpSpPr>
          <p:sp>
            <p:nvSpPr>
              <p:cNvPr id="87618" name="Freeform 5">
                <a:extLst>
                  <a:ext uri="{FF2B5EF4-FFF2-40B4-BE49-F238E27FC236}">
                    <a16:creationId xmlns:a16="http://schemas.microsoft.com/office/drawing/2014/main" id="{705BD72F-70C6-4B53-8274-E8896F32B55A}"/>
                  </a:ext>
                </a:extLst>
              </p:cNvPr>
              <p:cNvSpPr>
                <a:spLocks/>
              </p:cNvSpPr>
              <p:nvPr/>
            </p:nvSpPr>
            <p:spPr bwMode="auto">
              <a:xfrm>
                <a:off x="927" y="149"/>
                <a:ext cx="1042" cy="1044"/>
              </a:xfrm>
              <a:custGeom>
                <a:avLst/>
                <a:gdLst>
                  <a:gd name="T0" fmla="*/ 106 w 1042"/>
                  <a:gd name="T1" fmla="*/ 618 h 1044"/>
                  <a:gd name="T2" fmla="*/ 152 w 1042"/>
                  <a:gd name="T3" fmla="*/ 658 h 1044"/>
                  <a:gd name="T4" fmla="*/ 204 w 1042"/>
                  <a:gd name="T5" fmla="*/ 688 h 1044"/>
                  <a:gd name="T6" fmla="*/ 258 w 1042"/>
                  <a:gd name="T7" fmla="*/ 710 h 1044"/>
                  <a:gd name="T8" fmla="*/ 316 w 1042"/>
                  <a:gd name="T9" fmla="*/ 722 h 1044"/>
                  <a:gd name="T10" fmla="*/ 374 w 1042"/>
                  <a:gd name="T11" fmla="*/ 726 h 1044"/>
                  <a:gd name="T12" fmla="*/ 432 w 1042"/>
                  <a:gd name="T13" fmla="*/ 718 h 1044"/>
                  <a:gd name="T14" fmla="*/ 490 w 1042"/>
                  <a:gd name="T15" fmla="*/ 702 h 1044"/>
                  <a:gd name="T16" fmla="*/ 544 w 1042"/>
                  <a:gd name="T17" fmla="*/ 676 h 1044"/>
                  <a:gd name="T18" fmla="*/ 548 w 1042"/>
                  <a:gd name="T19" fmla="*/ 680 h 1044"/>
                  <a:gd name="T20" fmla="*/ 554 w 1042"/>
                  <a:gd name="T21" fmla="*/ 684 h 1044"/>
                  <a:gd name="T22" fmla="*/ 566 w 1042"/>
                  <a:gd name="T23" fmla="*/ 690 h 1044"/>
                  <a:gd name="T24" fmla="*/ 588 w 1042"/>
                  <a:gd name="T25" fmla="*/ 690 h 1044"/>
                  <a:gd name="T26" fmla="*/ 602 w 1042"/>
                  <a:gd name="T27" fmla="*/ 684 h 1044"/>
                  <a:gd name="T28" fmla="*/ 598 w 1042"/>
                  <a:gd name="T29" fmla="*/ 694 h 1044"/>
                  <a:gd name="T30" fmla="*/ 598 w 1042"/>
                  <a:gd name="T31" fmla="*/ 710 h 1044"/>
                  <a:gd name="T32" fmla="*/ 604 w 1042"/>
                  <a:gd name="T33" fmla="*/ 734 h 1044"/>
                  <a:gd name="T34" fmla="*/ 894 w 1042"/>
                  <a:gd name="T35" fmla="*/ 1028 h 1044"/>
                  <a:gd name="T36" fmla="*/ 904 w 1042"/>
                  <a:gd name="T37" fmla="*/ 1036 h 1044"/>
                  <a:gd name="T38" fmla="*/ 928 w 1042"/>
                  <a:gd name="T39" fmla="*/ 1044 h 1044"/>
                  <a:gd name="T40" fmla="*/ 950 w 1042"/>
                  <a:gd name="T41" fmla="*/ 1042 h 1044"/>
                  <a:gd name="T42" fmla="*/ 968 w 1042"/>
                  <a:gd name="T43" fmla="*/ 1034 h 1044"/>
                  <a:gd name="T44" fmla="*/ 1026 w 1042"/>
                  <a:gd name="T45" fmla="*/ 976 h 1044"/>
                  <a:gd name="T46" fmla="*/ 1034 w 1042"/>
                  <a:gd name="T47" fmla="*/ 966 h 1044"/>
                  <a:gd name="T48" fmla="*/ 1042 w 1042"/>
                  <a:gd name="T49" fmla="*/ 942 h 1044"/>
                  <a:gd name="T50" fmla="*/ 1040 w 1042"/>
                  <a:gd name="T51" fmla="*/ 920 h 1044"/>
                  <a:gd name="T52" fmla="*/ 1032 w 1042"/>
                  <a:gd name="T53" fmla="*/ 902 h 1044"/>
                  <a:gd name="T54" fmla="*/ 746 w 1042"/>
                  <a:gd name="T55" fmla="*/ 616 h 1044"/>
                  <a:gd name="T56" fmla="*/ 738 w 1042"/>
                  <a:gd name="T57" fmla="*/ 608 h 1044"/>
                  <a:gd name="T58" fmla="*/ 722 w 1042"/>
                  <a:gd name="T59" fmla="*/ 600 h 1044"/>
                  <a:gd name="T60" fmla="*/ 706 w 1042"/>
                  <a:gd name="T61" fmla="*/ 598 h 1044"/>
                  <a:gd name="T62" fmla="*/ 684 w 1042"/>
                  <a:gd name="T63" fmla="*/ 604 h 1044"/>
                  <a:gd name="T64" fmla="*/ 688 w 1042"/>
                  <a:gd name="T65" fmla="*/ 596 h 1044"/>
                  <a:gd name="T66" fmla="*/ 692 w 1042"/>
                  <a:gd name="T67" fmla="*/ 582 h 1044"/>
                  <a:gd name="T68" fmla="*/ 690 w 1042"/>
                  <a:gd name="T69" fmla="*/ 568 h 1044"/>
                  <a:gd name="T70" fmla="*/ 684 w 1042"/>
                  <a:gd name="T71" fmla="*/ 554 h 1044"/>
                  <a:gd name="T72" fmla="*/ 678 w 1042"/>
                  <a:gd name="T73" fmla="*/ 548 h 1044"/>
                  <a:gd name="T74" fmla="*/ 676 w 1042"/>
                  <a:gd name="T75" fmla="*/ 544 h 1044"/>
                  <a:gd name="T76" fmla="*/ 702 w 1042"/>
                  <a:gd name="T77" fmla="*/ 490 h 1044"/>
                  <a:gd name="T78" fmla="*/ 718 w 1042"/>
                  <a:gd name="T79" fmla="*/ 432 h 1044"/>
                  <a:gd name="T80" fmla="*/ 726 w 1042"/>
                  <a:gd name="T81" fmla="*/ 374 h 1044"/>
                  <a:gd name="T82" fmla="*/ 722 w 1042"/>
                  <a:gd name="T83" fmla="*/ 316 h 1044"/>
                  <a:gd name="T84" fmla="*/ 710 w 1042"/>
                  <a:gd name="T85" fmla="*/ 260 h 1044"/>
                  <a:gd name="T86" fmla="*/ 690 w 1042"/>
                  <a:gd name="T87" fmla="*/ 204 h 1044"/>
                  <a:gd name="T88" fmla="*/ 660 w 1042"/>
                  <a:gd name="T89" fmla="*/ 152 h 1044"/>
                  <a:gd name="T90" fmla="*/ 620 w 1042"/>
                  <a:gd name="T91" fmla="*/ 106 h 1044"/>
                  <a:gd name="T92" fmla="*/ 592 w 1042"/>
                  <a:gd name="T93" fmla="*/ 82 h 1044"/>
                  <a:gd name="T94" fmla="*/ 532 w 1042"/>
                  <a:gd name="T95" fmla="*/ 42 h 1044"/>
                  <a:gd name="T96" fmla="*/ 466 w 1042"/>
                  <a:gd name="T97" fmla="*/ 14 h 1044"/>
                  <a:gd name="T98" fmla="*/ 398 w 1042"/>
                  <a:gd name="T99" fmla="*/ 2 h 1044"/>
                  <a:gd name="T100" fmla="*/ 328 w 1042"/>
                  <a:gd name="T101" fmla="*/ 0 h 1044"/>
                  <a:gd name="T102" fmla="*/ 260 w 1042"/>
                  <a:gd name="T103" fmla="*/ 14 h 1044"/>
                  <a:gd name="T104" fmla="*/ 194 w 1042"/>
                  <a:gd name="T105" fmla="*/ 40 h 1044"/>
                  <a:gd name="T106" fmla="*/ 134 w 1042"/>
                  <a:gd name="T107" fmla="*/ 80 h 1044"/>
                  <a:gd name="T108" fmla="*/ 106 w 1042"/>
                  <a:gd name="T109" fmla="*/ 106 h 1044"/>
                  <a:gd name="T110" fmla="*/ 60 w 1042"/>
                  <a:gd name="T111" fmla="*/ 162 h 1044"/>
                  <a:gd name="T112" fmla="*/ 26 w 1042"/>
                  <a:gd name="T113" fmla="*/ 224 h 1044"/>
                  <a:gd name="T114" fmla="*/ 6 w 1042"/>
                  <a:gd name="T115" fmla="*/ 292 h 1044"/>
                  <a:gd name="T116" fmla="*/ 0 w 1042"/>
                  <a:gd name="T117" fmla="*/ 362 h 1044"/>
                  <a:gd name="T118" fmla="*/ 6 w 1042"/>
                  <a:gd name="T119" fmla="*/ 430 h 1044"/>
                  <a:gd name="T120" fmla="*/ 26 w 1042"/>
                  <a:gd name="T121" fmla="*/ 498 h 1044"/>
                  <a:gd name="T122" fmla="*/ 60 w 1042"/>
                  <a:gd name="T123" fmla="*/ 562 h 1044"/>
                  <a:gd name="T124" fmla="*/ 106 w 1042"/>
                  <a:gd name="T125" fmla="*/ 618 h 10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42"/>
                  <a:gd name="T190" fmla="*/ 0 h 1044"/>
                  <a:gd name="T191" fmla="*/ 1042 w 1042"/>
                  <a:gd name="T192" fmla="*/ 1044 h 10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42" h="1044">
                    <a:moveTo>
                      <a:pt x="106" y="618"/>
                    </a:moveTo>
                    <a:lnTo>
                      <a:pt x="106" y="618"/>
                    </a:lnTo>
                    <a:lnTo>
                      <a:pt x="128" y="640"/>
                    </a:lnTo>
                    <a:lnTo>
                      <a:pt x="152" y="658"/>
                    </a:lnTo>
                    <a:lnTo>
                      <a:pt x="178" y="674"/>
                    </a:lnTo>
                    <a:lnTo>
                      <a:pt x="204" y="688"/>
                    </a:lnTo>
                    <a:lnTo>
                      <a:pt x="230" y="700"/>
                    </a:lnTo>
                    <a:lnTo>
                      <a:pt x="258" y="710"/>
                    </a:lnTo>
                    <a:lnTo>
                      <a:pt x="286" y="718"/>
                    </a:lnTo>
                    <a:lnTo>
                      <a:pt x="316" y="722"/>
                    </a:lnTo>
                    <a:lnTo>
                      <a:pt x="344" y="724"/>
                    </a:lnTo>
                    <a:lnTo>
                      <a:pt x="374" y="726"/>
                    </a:lnTo>
                    <a:lnTo>
                      <a:pt x="402" y="724"/>
                    </a:lnTo>
                    <a:lnTo>
                      <a:pt x="432" y="718"/>
                    </a:lnTo>
                    <a:lnTo>
                      <a:pt x="460" y="712"/>
                    </a:lnTo>
                    <a:lnTo>
                      <a:pt x="490" y="702"/>
                    </a:lnTo>
                    <a:lnTo>
                      <a:pt x="516" y="690"/>
                    </a:lnTo>
                    <a:lnTo>
                      <a:pt x="544" y="676"/>
                    </a:lnTo>
                    <a:lnTo>
                      <a:pt x="548" y="680"/>
                    </a:lnTo>
                    <a:lnTo>
                      <a:pt x="554" y="684"/>
                    </a:lnTo>
                    <a:lnTo>
                      <a:pt x="560" y="688"/>
                    </a:lnTo>
                    <a:lnTo>
                      <a:pt x="566" y="690"/>
                    </a:lnTo>
                    <a:lnTo>
                      <a:pt x="574" y="692"/>
                    </a:lnTo>
                    <a:lnTo>
                      <a:pt x="588" y="690"/>
                    </a:lnTo>
                    <a:lnTo>
                      <a:pt x="594" y="688"/>
                    </a:lnTo>
                    <a:lnTo>
                      <a:pt x="602" y="684"/>
                    </a:lnTo>
                    <a:lnTo>
                      <a:pt x="598" y="694"/>
                    </a:lnTo>
                    <a:lnTo>
                      <a:pt x="598" y="702"/>
                    </a:lnTo>
                    <a:lnTo>
                      <a:pt x="598" y="710"/>
                    </a:lnTo>
                    <a:lnTo>
                      <a:pt x="598" y="718"/>
                    </a:lnTo>
                    <a:lnTo>
                      <a:pt x="604" y="734"/>
                    </a:lnTo>
                    <a:lnTo>
                      <a:pt x="614" y="746"/>
                    </a:lnTo>
                    <a:lnTo>
                      <a:pt x="894" y="1028"/>
                    </a:lnTo>
                    <a:lnTo>
                      <a:pt x="904" y="1036"/>
                    </a:lnTo>
                    <a:lnTo>
                      <a:pt x="916" y="1042"/>
                    </a:lnTo>
                    <a:lnTo>
                      <a:pt x="928" y="1044"/>
                    </a:lnTo>
                    <a:lnTo>
                      <a:pt x="938" y="1044"/>
                    </a:lnTo>
                    <a:lnTo>
                      <a:pt x="950" y="1042"/>
                    </a:lnTo>
                    <a:lnTo>
                      <a:pt x="960" y="1038"/>
                    </a:lnTo>
                    <a:lnTo>
                      <a:pt x="968" y="1034"/>
                    </a:lnTo>
                    <a:lnTo>
                      <a:pt x="974" y="1028"/>
                    </a:lnTo>
                    <a:lnTo>
                      <a:pt x="1026" y="976"/>
                    </a:lnTo>
                    <a:lnTo>
                      <a:pt x="1034" y="966"/>
                    </a:lnTo>
                    <a:lnTo>
                      <a:pt x="1040" y="954"/>
                    </a:lnTo>
                    <a:lnTo>
                      <a:pt x="1042" y="942"/>
                    </a:lnTo>
                    <a:lnTo>
                      <a:pt x="1042" y="932"/>
                    </a:lnTo>
                    <a:lnTo>
                      <a:pt x="1040" y="920"/>
                    </a:lnTo>
                    <a:lnTo>
                      <a:pt x="1036" y="912"/>
                    </a:lnTo>
                    <a:lnTo>
                      <a:pt x="1032" y="902"/>
                    </a:lnTo>
                    <a:lnTo>
                      <a:pt x="1026" y="896"/>
                    </a:lnTo>
                    <a:lnTo>
                      <a:pt x="746" y="616"/>
                    </a:lnTo>
                    <a:lnTo>
                      <a:pt x="738" y="608"/>
                    </a:lnTo>
                    <a:lnTo>
                      <a:pt x="730" y="604"/>
                    </a:lnTo>
                    <a:lnTo>
                      <a:pt x="722" y="600"/>
                    </a:lnTo>
                    <a:lnTo>
                      <a:pt x="714" y="598"/>
                    </a:lnTo>
                    <a:lnTo>
                      <a:pt x="706" y="598"/>
                    </a:lnTo>
                    <a:lnTo>
                      <a:pt x="698" y="598"/>
                    </a:lnTo>
                    <a:lnTo>
                      <a:pt x="684" y="604"/>
                    </a:lnTo>
                    <a:lnTo>
                      <a:pt x="688" y="596"/>
                    </a:lnTo>
                    <a:lnTo>
                      <a:pt x="690" y="590"/>
                    </a:lnTo>
                    <a:lnTo>
                      <a:pt x="692" y="582"/>
                    </a:lnTo>
                    <a:lnTo>
                      <a:pt x="692" y="574"/>
                    </a:lnTo>
                    <a:lnTo>
                      <a:pt x="690" y="568"/>
                    </a:lnTo>
                    <a:lnTo>
                      <a:pt x="688" y="560"/>
                    </a:lnTo>
                    <a:lnTo>
                      <a:pt x="684" y="554"/>
                    </a:lnTo>
                    <a:lnTo>
                      <a:pt x="678" y="548"/>
                    </a:lnTo>
                    <a:lnTo>
                      <a:pt x="676" y="544"/>
                    </a:lnTo>
                    <a:lnTo>
                      <a:pt x="690" y="518"/>
                    </a:lnTo>
                    <a:lnTo>
                      <a:pt x="702" y="490"/>
                    </a:lnTo>
                    <a:lnTo>
                      <a:pt x="712" y="462"/>
                    </a:lnTo>
                    <a:lnTo>
                      <a:pt x="718" y="432"/>
                    </a:lnTo>
                    <a:lnTo>
                      <a:pt x="724" y="404"/>
                    </a:lnTo>
                    <a:lnTo>
                      <a:pt x="726" y="374"/>
                    </a:lnTo>
                    <a:lnTo>
                      <a:pt x="726" y="346"/>
                    </a:lnTo>
                    <a:lnTo>
                      <a:pt x="722" y="316"/>
                    </a:lnTo>
                    <a:lnTo>
                      <a:pt x="718" y="288"/>
                    </a:lnTo>
                    <a:lnTo>
                      <a:pt x="710" y="260"/>
                    </a:lnTo>
                    <a:lnTo>
                      <a:pt x="702" y="232"/>
                    </a:lnTo>
                    <a:lnTo>
                      <a:pt x="690" y="204"/>
                    </a:lnTo>
                    <a:lnTo>
                      <a:pt x="676" y="178"/>
                    </a:lnTo>
                    <a:lnTo>
                      <a:pt x="660" y="152"/>
                    </a:lnTo>
                    <a:lnTo>
                      <a:pt x="640" y="128"/>
                    </a:lnTo>
                    <a:lnTo>
                      <a:pt x="620" y="106"/>
                    </a:lnTo>
                    <a:lnTo>
                      <a:pt x="592" y="82"/>
                    </a:lnTo>
                    <a:lnTo>
                      <a:pt x="564" y="60"/>
                    </a:lnTo>
                    <a:lnTo>
                      <a:pt x="532" y="42"/>
                    </a:lnTo>
                    <a:lnTo>
                      <a:pt x="500" y="26"/>
                    </a:lnTo>
                    <a:lnTo>
                      <a:pt x="466" y="14"/>
                    </a:lnTo>
                    <a:lnTo>
                      <a:pt x="432" y="6"/>
                    </a:lnTo>
                    <a:lnTo>
                      <a:pt x="398" y="2"/>
                    </a:lnTo>
                    <a:lnTo>
                      <a:pt x="364" y="0"/>
                    </a:lnTo>
                    <a:lnTo>
                      <a:pt x="328" y="0"/>
                    </a:lnTo>
                    <a:lnTo>
                      <a:pt x="294" y="6"/>
                    </a:lnTo>
                    <a:lnTo>
                      <a:pt x="260" y="14"/>
                    </a:lnTo>
                    <a:lnTo>
                      <a:pt x="226" y="26"/>
                    </a:lnTo>
                    <a:lnTo>
                      <a:pt x="194" y="40"/>
                    </a:lnTo>
                    <a:lnTo>
                      <a:pt x="164" y="58"/>
                    </a:lnTo>
                    <a:lnTo>
                      <a:pt x="134" y="80"/>
                    </a:lnTo>
                    <a:lnTo>
                      <a:pt x="106" y="106"/>
                    </a:lnTo>
                    <a:lnTo>
                      <a:pt x="82" y="132"/>
                    </a:lnTo>
                    <a:lnTo>
                      <a:pt x="60" y="162"/>
                    </a:lnTo>
                    <a:lnTo>
                      <a:pt x="42" y="192"/>
                    </a:lnTo>
                    <a:lnTo>
                      <a:pt x="26" y="224"/>
                    </a:lnTo>
                    <a:lnTo>
                      <a:pt x="14" y="258"/>
                    </a:lnTo>
                    <a:lnTo>
                      <a:pt x="6" y="292"/>
                    </a:lnTo>
                    <a:lnTo>
                      <a:pt x="2" y="326"/>
                    </a:lnTo>
                    <a:lnTo>
                      <a:pt x="0" y="362"/>
                    </a:lnTo>
                    <a:lnTo>
                      <a:pt x="2" y="396"/>
                    </a:lnTo>
                    <a:lnTo>
                      <a:pt x="6" y="430"/>
                    </a:lnTo>
                    <a:lnTo>
                      <a:pt x="14" y="464"/>
                    </a:lnTo>
                    <a:lnTo>
                      <a:pt x="26" y="498"/>
                    </a:lnTo>
                    <a:lnTo>
                      <a:pt x="40" y="530"/>
                    </a:lnTo>
                    <a:lnTo>
                      <a:pt x="60" y="562"/>
                    </a:lnTo>
                    <a:lnTo>
                      <a:pt x="80" y="590"/>
                    </a:lnTo>
                    <a:lnTo>
                      <a:pt x="106" y="6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19" name="Freeform 6">
                <a:extLst>
                  <a:ext uri="{FF2B5EF4-FFF2-40B4-BE49-F238E27FC236}">
                    <a16:creationId xmlns:a16="http://schemas.microsoft.com/office/drawing/2014/main" id="{3F5A1D1A-349D-4FF3-A2C3-AEEB640BBBDD}"/>
                  </a:ext>
                </a:extLst>
              </p:cNvPr>
              <p:cNvSpPr>
                <a:spLocks/>
              </p:cNvSpPr>
              <p:nvPr/>
            </p:nvSpPr>
            <p:spPr bwMode="auto">
              <a:xfrm>
                <a:off x="955" y="177"/>
                <a:ext cx="670" cy="670"/>
              </a:xfrm>
              <a:custGeom>
                <a:avLst/>
                <a:gdLst>
                  <a:gd name="T0" fmla="*/ 98 w 670"/>
                  <a:gd name="T1" fmla="*/ 96 h 670"/>
                  <a:gd name="T2" fmla="*/ 56 w 670"/>
                  <a:gd name="T3" fmla="*/ 150 h 670"/>
                  <a:gd name="T4" fmla="*/ 24 w 670"/>
                  <a:gd name="T5" fmla="*/ 208 h 670"/>
                  <a:gd name="T6" fmla="*/ 6 w 670"/>
                  <a:gd name="T7" fmla="*/ 270 h 670"/>
                  <a:gd name="T8" fmla="*/ 0 w 670"/>
                  <a:gd name="T9" fmla="*/ 334 h 670"/>
                  <a:gd name="T10" fmla="*/ 6 w 670"/>
                  <a:gd name="T11" fmla="*/ 398 h 670"/>
                  <a:gd name="T12" fmla="*/ 24 w 670"/>
                  <a:gd name="T13" fmla="*/ 460 h 670"/>
                  <a:gd name="T14" fmla="*/ 54 w 670"/>
                  <a:gd name="T15" fmla="*/ 518 h 670"/>
                  <a:gd name="T16" fmla="*/ 98 w 670"/>
                  <a:gd name="T17" fmla="*/ 570 h 670"/>
                  <a:gd name="T18" fmla="*/ 122 w 670"/>
                  <a:gd name="T19" fmla="*/ 594 h 670"/>
                  <a:gd name="T20" fmla="*/ 178 w 670"/>
                  <a:gd name="T21" fmla="*/ 630 h 670"/>
                  <a:gd name="T22" fmla="*/ 238 w 670"/>
                  <a:gd name="T23" fmla="*/ 656 h 670"/>
                  <a:gd name="T24" fmla="*/ 302 w 670"/>
                  <a:gd name="T25" fmla="*/ 668 h 670"/>
                  <a:gd name="T26" fmla="*/ 366 w 670"/>
                  <a:gd name="T27" fmla="*/ 668 h 670"/>
                  <a:gd name="T28" fmla="*/ 430 w 670"/>
                  <a:gd name="T29" fmla="*/ 656 h 670"/>
                  <a:gd name="T30" fmla="*/ 490 w 670"/>
                  <a:gd name="T31" fmla="*/ 632 h 670"/>
                  <a:gd name="T32" fmla="*/ 546 w 670"/>
                  <a:gd name="T33" fmla="*/ 594 h 670"/>
                  <a:gd name="T34" fmla="*/ 572 w 670"/>
                  <a:gd name="T35" fmla="*/ 572 h 670"/>
                  <a:gd name="T36" fmla="*/ 614 w 670"/>
                  <a:gd name="T37" fmla="*/ 520 h 670"/>
                  <a:gd name="T38" fmla="*/ 644 w 670"/>
                  <a:gd name="T39" fmla="*/ 460 h 670"/>
                  <a:gd name="T40" fmla="*/ 664 w 670"/>
                  <a:gd name="T41" fmla="*/ 398 h 670"/>
                  <a:gd name="T42" fmla="*/ 670 w 670"/>
                  <a:gd name="T43" fmla="*/ 334 h 670"/>
                  <a:gd name="T44" fmla="*/ 664 w 670"/>
                  <a:gd name="T45" fmla="*/ 270 h 670"/>
                  <a:gd name="T46" fmla="*/ 646 w 670"/>
                  <a:gd name="T47" fmla="*/ 208 h 670"/>
                  <a:gd name="T48" fmla="*/ 614 w 670"/>
                  <a:gd name="T49" fmla="*/ 150 h 670"/>
                  <a:gd name="T50" fmla="*/ 572 w 670"/>
                  <a:gd name="T51" fmla="*/ 98 h 670"/>
                  <a:gd name="T52" fmla="*/ 546 w 670"/>
                  <a:gd name="T53" fmla="*/ 74 h 670"/>
                  <a:gd name="T54" fmla="*/ 492 w 670"/>
                  <a:gd name="T55" fmla="*/ 38 h 670"/>
                  <a:gd name="T56" fmla="*/ 430 w 670"/>
                  <a:gd name="T57" fmla="*/ 14 h 670"/>
                  <a:gd name="T58" fmla="*/ 368 w 670"/>
                  <a:gd name="T59" fmla="*/ 0 h 670"/>
                  <a:gd name="T60" fmla="*/ 304 w 670"/>
                  <a:gd name="T61" fmla="*/ 0 h 670"/>
                  <a:gd name="T62" fmla="*/ 240 w 670"/>
                  <a:gd name="T63" fmla="*/ 12 h 670"/>
                  <a:gd name="T64" fmla="*/ 180 w 670"/>
                  <a:gd name="T65" fmla="*/ 38 h 670"/>
                  <a:gd name="T66" fmla="*/ 124 w 670"/>
                  <a:gd name="T67" fmla="*/ 74 h 670"/>
                  <a:gd name="T68" fmla="*/ 98 w 670"/>
                  <a:gd name="T69" fmla="*/ 96 h 67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70"/>
                  <a:gd name="T106" fmla="*/ 0 h 670"/>
                  <a:gd name="T107" fmla="*/ 670 w 670"/>
                  <a:gd name="T108" fmla="*/ 670 h 67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70" h="670">
                    <a:moveTo>
                      <a:pt x="98" y="96"/>
                    </a:moveTo>
                    <a:lnTo>
                      <a:pt x="98" y="96"/>
                    </a:lnTo>
                    <a:lnTo>
                      <a:pt x="76" y="122"/>
                    </a:lnTo>
                    <a:lnTo>
                      <a:pt x="56" y="150"/>
                    </a:lnTo>
                    <a:lnTo>
                      <a:pt x="38" y="178"/>
                    </a:lnTo>
                    <a:lnTo>
                      <a:pt x="24" y="208"/>
                    </a:lnTo>
                    <a:lnTo>
                      <a:pt x="14" y="238"/>
                    </a:lnTo>
                    <a:lnTo>
                      <a:pt x="6" y="270"/>
                    </a:lnTo>
                    <a:lnTo>
                      <a:pt x="2" y="302"/>
                    </a:lnTo>
                    <a:lnTo>
                      <a:pt x="0" y="334"/>
                    </a:lnTo>
                    <a:lnTo>
                      <a:pt x="2" y="366"/>
                    </a:lnTo>
                    <a:lnTo>
                      <a:pt x="6" y="398"/>
                    </a:lnTo>
                    <a:lnTo>
                      <a:pt x="14" y="428"/>
                    </a:lnTo>
                    <a:lnTo>
                      <a:pt x="24" y="460"/>
                    </a:lnTo>
                    <a:lnTo>
                      <a:pt x="38" y="490"/>
                    </a:lnTo>
                    <a:lnTo>
                      <a:pt x="54" y="518"/>
                    </a:lnTo>
                    <a:lnTo>
                      <a:pt x="74" y="546"/>
                    </a:lnTo>
                    <a:lnTo>
                      <a:pt x="98" y="570"/>
                    </a:lnTo>
                    <a:lnTo>
                      <a:pt x="122" y="594"/>
                    </a:lnTo>
                    <a:lnTo>
                      <a:pt x="150" y="614"/>
                    </a:lnTo>
                    <a:lnTo>
                      <a:pt x="178" y="630"/>
                    </a:lnTo>
                    <a:lnTo>
                      <a:pt x="208" y="644"/>
                    </a:lnTo>
                    <a:lnTo>
                      <a:pt x="238" y="656"/>
                    </a:lnTo>
                    <a:lnTo>
                      <a:pt x="270" y="662"/>
                    </a:lnTo>
                    <a:lnTo>
                      <a:pt x="302" y="668"/>
                    </a:lnTo>
                    <a:lnTo>
                      <a:pt x="334" y="670"/>
                    </a:lnTo>
                    <a:lnTo>
                      <a:pt x="366" y="668"/>
                    </a:lnTo>
                    <a:lnTo>
                      <a:pt x="398" y="664"/>
                    </a:lnTo>
                    <a:lnTo>
                      <a:pt x="430" y="656"/>
                    </a:lnTo>
                    <a:lnTo>
                      <a:pt x="460" y="644"/>
                    </a:lnTo>
                    <a:lnTo>
                      <a:pt x="490" y="632"/>
                    </a:lnTo>
                    <a:lnTo>
                      <a:pt x="518" y="614"/>
                    </a:lnTo>
                    <a:lnTo>
                      <a:pt x="546" y="594"/>
                    </a:lnTo>
                    <a:lnTo>
                      <a:pt x="572" y="572"/>
                    </a:lnTo>
                    <a:lnTo>
                      <a:pt x="594" y="546"/>
                    </a:lnTo>
                    <a:lnTo>
                      <a:pt x="614" y="520"/>
                    </a:lnTo>
                    <a:lnTo>
                      <a:pt x="630" y="490"/>
                    </a:lnTo>
                    <a:lnTo>
                      <a:pt x="644" y="460"/>
                    </a:lnTo>
                    <a:lnTo>
                      <a:pt x="656" y="430"/>
                    </a:lnTo>
                    <a:lnTo>
                      <a:pt x="664" y="398"/>
                    </a:lnTo>
                    <a:lnTo>
                      <a:pt x="668" y="368"/>
                    </a:lnTo>
                    <a:lnTo>
                      <a:pt x="670" y="334"/>
                    </a:lnTo>
                    <a:lnTo>
                      <a:pt x="668" y="302"/>
                    </a:lnTo>
                    <a:lnTo>
                      <a:pt x="664" y="270"/>
                    </a:lnTo>
                    <a:lnTo>
                      <a:pt x="656" y="240"/>
                    </a:lnTo>
                    <a:lnTo>
                      <a:pt x="646" y="208"/>
                    </a:lnTo>
                    <a:lnTo>
                      <a:pt x="632" y="178"/>
                    </a:lnTo>
                    <a:lnTo>
                      <a:pt x="614" y="150"/>
                    </a:lnTo>
                    <a:lnTo>
                      <a:pt x="594" y="124"/>
                    </a:lnTo>
                    <a:lnTo>
                      <a:pt x="572" y="98"/>
                    </a:lnTo>
                    <a:lnTo>
                      <a:pt x="546" y="74"/>
                    </a:lnTo>
                    <a:lnTo>
                      <a:pt x="520" y="54"/>
                    </a:lnTo>
                    <a:lnTo>
                      <a:pt x="492" y="38"/>
                    </a:lnTo>
                    <a:lnTo>
                      <a:pt x="462" y="24"/>
                    </a:lnTo>
                    <a:lnTo>
                      <a:pt x="430" y="14"/>
                    </a:lnTo>
                    <a:lnTo>
                      <a:pt x="400" y="6"/>
                    </a:lnTo>
                    <a:lnTo>
                      <a:pt x="368" y="0"/>
                    </a:lnTo>
                    <a:lnTo>
                      <a:pt x="336" y="0"/>
                    </a:lnTo>
                    <a:lnTo>
                      <a:pt x="304" y="0"/>
                    </a:lnTo>
                    <a:lnTo>
                      <a:pt x="272" y="6"/>
                    </a:lnTo>
                    <a:lnTo>
                      <a:pt x="240" y="12"/>
                    </a:lnTo>
                    <a:lnTo>
                      <a:pt x="210" y="24"/>
                    </a:lnTo>
                    <a:lnTo>
                      <a:pt x="180" y="38"/>
                    </a:lnTo>
                    <a:lnTo>
                      <a:pt x="150" y="54"/>
                    </a:lnTo>
                    <a:lnTo>
                      <a:pt x="124" y="74"/>
                    </a:lnTo>
                    <a:lnTo>
                      <a:pt x="98" y="96"/>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20" name="Freeform 7">
                <a:extLst>
                  <a:ext uri="{FF2B5EF4-FFF2-40B4-BE49-F238E27FC236}">
                    <a16:creationId xmlns:a16="http://schemas.microsoft.com/office/drawing/2014/main" id="{ACB375EA-3EC2-4F5F-BD9E-3924462AAA28}"/>
                  </a:ext>
                </a:extLst>
              </p:cNvPr>
              <p:cNvSpPr>
                <a:spLocks/>
              </p:cNvSpPr>
              <p:nvPr/>
            </p:nvSpPr>
            <p:spPr bwMode="auto">
              <a:xfrm>
                <a:off x="965" y="187"/>
                <a:ext cx="650" cy="650"/>
              </a:xfrm>
              <a:custGeom>
                <a:avLst/>
                <a:gdLst>
                  <a:gd name="T0" fmla="*/ 96 w 650"/>
                  <a:gd name="T1" fmla="*/ 94 h 650"/>
                  <a:gd name="T2" fmla="*/ 54 w 650"/>
                  <a:gd name="T3" fmla="*/ 144 h 650"/>
                  <a:gd name="T4" fmla="*/ 24 w 650"/>
                  <a:gd name="T5" fmla="*/ 202 h 650"/>
                  <a:gd name="T6" fmla="*/ 6 w 650"/>
                  <a:gd name="T7" fmla="*/ 262 h 650"/>
                  <a:gd name="T8" fmla="*/ 0 w 650"/>
                  <a:gd name="T9" fmla="*/ 324 h 650"/>
                  <a:gd name="T10" fmla="*/ 6 w 650"/>
                  <a:gd name="T11" fmla="*/ 386 h 650"/>
                  <a:gd name="T12" fmla="*/ 24 w 650"/>
                  <a:gd name="T13" fmla="*/ 446 h 650"/>
                  <a:gd name="T14" fmla="*/ 52 w 650"/>
                  <a:gd name="T15" fmla="*/ 502 h 650"/>
                  <a:gd name="T16" fmla="*/ 94 w 650"/>
                  <a:gd name="T17" fmla="*/ 554 h 650"/>
                  <a:gd name="T18" fmla="*/ 118 w 650"/>
                  <a:gd name="T19" fmla="*/ 576 h 650"/>
                  <a:gd name="T20" fmla="*/ 172 w 650"/>
                  <a:gd name="T21" fmla="*/ 612 h 650"/>
                  <a:gd name="T22" fmla="*/ 232 w 650"/>
                  <a:gd name="T23" fmla="*/ 636 h 650"/>
                  <a:gd name="T24" fmla="*/ 292 w 650"/>
                  <a:gd name="T25" fmla="*/ 648 h 650"/>
                  <a:gd name="T26" fmla="*/ 356 w 650"/>
                  <a:gd name="T27" fmla="*/ 648 h 650"/>
                  <a:gd name="T28" fmla="*/ 416 w 650"/>
                  <a:gd name="T29" fmla="*/ 636 h 650"/>
                  <a:gd name="T30" fmla="*/ 476 w 650"/>
                  <a:gd name="T31" fmla="*/ 612 h 650"/>
                  <a:gd name="T32" fmla="*/ 530 w 650"/>
                  <a:gd name="T33" fmla="*/ 576 h 650"/>
                  <a:gd name="T34" fmla="*/ 554 w 650"/>
                  <a:gd name="T35" fmla="*/ 554 h 650"/>
                  <a:gd name="T36" fmla="*/ 596 w 650"/>
                  <a:gd name="T37" fmla="*/ 504 h 650"/>
                  <a:gd name="T38" fmla="*/ 626 w 650"/>
                  <a:gd name="T39" fmla="*/ 448 h 650"/>
                  <a:gd name="T40" fmla="*/ 644 w 650"/>
                  <a:gd name="T41" fmla="*/ 386 h 650"/>
                  <a:gd name="T42" fmla="*/ 650 w 650"/>
                  <a:gd name="T43" fmla="*/ 324 h 650"/>
                  <a:gd name="T44" fmla="*/ 644 w 650"/>
                  <a:gd name="T45" fmla="*/ 262 h 650"/>
                  <a:gd name="T46" fmla="*/ 626 w 650"/>
                  <a:gd name="T47" fmla="*/ 202 h 650"/>
                  <a:gd name="T48" fmla="*/ 596 w 650"/>
                  <a:gd name="T49" fmla="*/ 146 h 650"/>
                  <a:gd name="T50" fmla="*/ 554 w 650"/>
                  <a:gd name="T51" fmla="*/ 94 h 650"/>
                  <a:gd name="T52" fmla="*/ 530 w 650"/>
                  <a:gd name="T53" fmla="*/ 72 h 650"/>
                  <a:gd name="T54" fmla="*/ 476 w 650"/>
                  <a:gd name="T55" fmla="*/ 36 h 650"/>
                  <a:gd name="T56" fmla="*/ 418 w 650"/>
                  <a:gd name="T57" fmla="*/ 12 h 650"/>
                  <a:gd name="T58" fmla="*/ 356 w 650"/>
                  <a:gd name="T59" fmla="*/ 0 h 650"/>
                  <a:gd name="T60" fmla="*/ 294 w 650"/>
                  <a:gd name="T61" fmla="*/ 0 h 650"/>
                  <a:gd name="T62" fmla="*/ 232 w 650"/>
                  <a:gd name="T63" fmla="*/ 12 h 650"/>
                  <a:gd name="T64" fmla="*/ 174 w 650"/>
                  <a:gd name="T65" fmla="*/ 36 h 650"/>
                  <a:gd name="T66" fmla="*/ 120 w 650"/>
                  <a:gd name="T67" fmla="*/ 72 h 650"/>
                  <a:gd name="T68" fmla="*/ 96 w 650"/>
                  <a:gd name="T69" fmla="*/ 94 h 6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50"/>
                  <a:gd name="T106" fmla="*/ 0 h 650"/>
                  <a:gd name="T107" fmla="*/ 650 w 650"/>
                  <a:gd name="T108" fmla="*/ 650 h 65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50" h="650">
                    <a:moveTo>
                      <a:pt x="96" y="94"/>
                    </a:moveTo>
                    <a:lnTo>
                      <a:pt x="96" y="94"/>
                    </a:lnTo>
                    <a:lnTo>
                      <a:pt x="72" y="118"/>
                    </a:lnTo>
                    <a:lnTo>
                      <a:pt x="54" y="144"/>
                    </a:lnTo>
                    <a:lnTo>
                      <a:pt x="38" y="172"/>
                    </a:lnTo>
                    <a:lnTo>
                      <a:pt x="24" y="202"/>
                    </a:lnTo>
                    <a:lnTo>
                      <a:pt x="14" y="232"/>
                    </a:lnTo>
                    <a:lnTo>
                      <a:pt x="6" y="262"/>
                    </a:lnTo>
                    <a:lnTo>
                      <a:pt x="2" y="292"/>
                    </a:lnTo>
                    <a:lnTo>
                      <a:pt x="0" y="324"/>
                    </a:lnTo>
                    <a:lnTo>
                      <a:pt x="2" y="354"/>
                    </a:lnTo>
                    <a:lnTo>
                      <a:pt x="6" y="386"/>
                    </a:lnTo>
                    <a:lnTo>
                      <a:pt x="12" y="416"/>
                    </a:lnTo>
                    <a:lnTo>
                      <a:pt x="24" y="446"/>
                    </a:lnTo>
                    <a:lnTo>
                      <a:pt x="36" y="474"/>
                    </a:lnTo>
                    <a:lnTo>
                      <a:pt x="52" y="502"/>
                    </a:lnTo>
                    <a:lnTo>
                      <a:pt x="72" y="528"/>
                    </a:lnTo>
                    <a:lnTo>
                      <a:pt x="94" y="554"/>
                    </a:lnTo>
                    <a:lnTo>
                      <a:pt x="118" y="576"/>
                    </a:lnTo>
                    <a:lnTo>
                      <a:pt x="146" y="596"/>
                    </a:lnTo>
                    <a:lnTo>
                      <a:pt x="172" y="612"/>
                    </a:lnTo>
                    <a:lnTo>
                      <a:pt x="202" y="626"/>
                    </a:lnTo>
                    <a:lnTo>
                      <a:pt x="232" y="636"/>
                    </a:lnTo>
                    <a:lnTo>
                      <a:pt x="262" y="642"/>
                    </a:lnTo>
                    <a:lnTo>
                      <a:pt x="292" y="648"/>
                    </a:lnTo>
                    <a:lnTo>
                      <a:pt x="324" y="650"/>
                    </a:lnTo>
                    <a:lnTo>
                      <a:pt x="356" y="648"/>
                    </a:lnTo>
                    <a:lnTo>
                      <a:pt x="386" y="644"/>
                    </a:lnTo>
                    <a:lnTo>
                      <a:pt x="416" y="636"/>
                    </a:lnTo>
                    <a:lnTo>
                      <a:pt x="446" y="626"/>
                    </a:lnTo>
                    <a:lnTo>
                      <a:pt x="476" y="612"/>
                    </a:lnTo>
                    <a:lnTo>
                      <a:pt x="502" y="596"/>
                    </a:lnTo>
                    <a:lnTo>
                      <a:pt x="530" y="576"/>
                    </a:lnTo>
                    <a:lnTo>
                      <a:pt x="554" y="554"/>
                    </a:lnTo>
                    <a:lnTo>
                      <a:pt x="576" y="530"/>
                    </a:lnTo>
                    <a:lnTo>
                      <a:pt x="596" y="504"/>
                    </a:lnTo>
                    <a:lnTo>
                      <a:pt x="612" y="476"/>
                    </a:lnTo>
                    <a:lnTo>
                      <a:pt x="626" y="448"/>
                    </a:lnTo>
                    <a:lnTo>
                      <a:pt x="636" y="418"/>
                    </a:lnTo>
                    <a:lnTo>
                      <a:pt x="644" y="386"/>
                    </a:lnTo>
                    <a:lnTo>
                      <a:pt x="648" y="356"/>
                    </a:lnTo>
                    <a:lnTo>
                      <a:pt x="650" y="324"/>
                    </a:lnTo>
                    <a:lnTo>
                      <a:pt x="648" y="294"/>
                    </a:lnTo>
                    <a:lnTo>
                      <a:pt x="644" y="262"/>
                    </a:lnTo>
                    <a:lnTo>
                      <a:pt x="636" y="232"/>
                    </a:lnTo>
                    <a:lnTo>
                      <a:pt x="626" y="202"/>
                    </a:lnTo>
                    <a:lnTo>
                      <a:pt x="612" y="174"/>
                    </a:lnTo>
                    <a:lnTo>
                      <a:pt x="596" y="146"/>
                    </a:lnTo>
                    <a:lnTo>
                      <a:pt x="578" y="120"/>
                    </a:lnTo>
                    <a:lnTo>
                      <a:pt x="554" y="94"/>
                    </a:lnTo>
                    <a:lnTo>
                      <a:pt x="530" y="72"/>
                    </a:lnTo>
                    <a:lnTo>
                      <a:pt x="504" y="54"/>
                    </a:lnTo>
                    <a:lnTo>
                      <a:pt x="476" y="36"/>
                    </a:lnTo>
                    <a:lnTo>
                      <a:pt x="448" y="24"/>
                    </a:lnTo>
                    <a:lnTo>
                      <a:pt x="418" y="12"/>
                    </a:lnTo>
                    <a:lnTo>
                      <a:pt x="388" y="6"/>
                    </a:lnTo>
                    <a:lnTo>
                      <a:pt x="356" y="0"/>
                    </a:lnTo>
                    <a:lnTo>
                      <a:pt x="326" y="0"/>
                    </a:lnTo>
                    <a:lnTo>
                      <a:pt x="294" y="0"/>
                    </a:lnTo>
                    <a:lnTo>
                      <a:pt x="264" y="6"/>
                    </a:lnTo>
                    <a:lnTo>
                      <a:pt x="232" y="12"/>
                    </a:lnTo>
                    <a:lnTo>
                      <a:pt x="202" y="22"/>
                    </a:lnTo>
                    <a:lnTo>
                      <a:pt x="174" y="36"/>
                    </a:lnTo>
                    <a:lnTo>
                      <a:pt x="146" y="52"/>
                    </a:lnTo>
                    <a:lnTo>
                      <a:pt x="120" y="72"/>
                    </a:lnTo>
                    <a:lnTo>
                      <a:pt x="96" y="9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21" name="Freeform 8">
                <a:extLst>
                  <a:ext uri="{FF2B5EF4-FFF2-40B4-BE49-F238E27FC236}">
                    <a16:creationId xmlns:a16="http://schemas.microsoft.com/office/drawing/2014/main" id="{ABBA5E83-84BB-4F58-B48E-671D121BBD59}"/>
                  </a:ext>
                </a:extLst>
              </p:cNvPr>
              <p:cNvSpPr>
                <a:spLocks/>
              </p:cNvSpPr>
              <p:nvPr/>
            </p:nvSpPr>
            <p:spPr bwMode="auto">
              <a:xfrm>
                <a:off x="987" y="209"/>
                <a:ext cx="604" cy="604"/>
              </a:xfrm>
              <a:custGeom>
                <a:avLst/>
                <a:gdLst>
                  <a:gd name="T0" fmla="*/ 90 w 604"/>
                  <a:gd name="T1" fmla="*/ 88 h 604"/>
                  <a:gd name="T2" fmla="*/ 50 w 604"/>
                  <a:gd name="T3" fmla="*/ 136 h 604"/>
                  <a:gd name="T4" fmla="*/ 22 w 604"/>
                  <a:gd name="T5" fmla="*/ 188 h 604"/>
                  <a:gd name="T6" fmla="*/ 6 w 604"/>
                  <a:gd name="T7" fmla="*/ 244 h 604"/>
                  <a:gd name="T8" fmla="*/ 0 w 604"/>
                  <a:gd name="T9" fmla="*/ 302 h 604"/>
                  <a:gd name="T10" fmla="*/ 6 w 604"/>
                  <a:gd name="T11" fmla="*/ 360 h 604"/>
                  <a:gd name="T12" fmla="*/ 22 w 604"/>
                  <a:gd name="T13" fmla="*/ 416 h 604"/>
                  <a:gd name="T14" fmla="*/ 50 w 604"/>
                  <a:gd name="T15" fmla="*/ 468 h 604"/>
                  <a:gd name="T16" fmla="*/ 88 w 604"/>
                  <a:gd name="T17" fmla="*/ 516 h 604"/>
                  <a:gd name="T18" fmla="*/ 112 w 604"/>
                  <a:gd name="T19" fmla="*/ 536 h 604"/>
                  <a:gd name="T20" fmla="*/ 162 w 604"/>
                  <a:gd name="T21" fmla="*/ 570 h 604"/>
                  <a:gd name="T22" fmla="*/ 216 w 604"/>
                  <a:gd name="T23" fmla="*/ 592 h 604"/>
                  <a:gd name="T24" fmla="*/ 274 w 604"/>
                  <a:gd name="T25" fmla="*/ 602 h 604"/>
                  <a:gd name="T26" fmla="*/ 330 w 604"/>
                  <a:gd name="T27" fmla="*/ 602 h 604"/>
                  <a:gd name="T28" fmla="*/ 388 w 604"/>
                  <a:gd name="T29" fmla="*/ 592 h 604"/>
                  <a:gd name="T30" fmla="*/ 442 w 604"/>
                  <a:gd name="T31" fmla="*/ 570 h 604"/>
                  <a:gd name="T32" fmla="*/ 492 w 604"/>
                  <a:gd name="T33" fmla="*/ 538 h 604"/>
                  <a:gd name="T34" fmla="*/ 516 w 604"/>
                  <a:gd name="T35" fmla="*/ 516 h 604"/>
                  <a:gd name="T36" fmla="*/ 554 w 604"/>
                  <a:gd name="T37" fmla="*/ 470 h 604"/>
                  <a:gd name="T38" fmla="*/ 582 w 604"/>
                  <a:gd name="T39" fmla="*/ 416 h 604"/>
                  <a:gd name="T40" fmla="*/ 600 w 604"/>
                  <a:gd name="T41" fmla="*/ 360 h 604"/>
                  <a:gd name="T42" fmla="*/ 604 w 604"/>
                  <a:gd name="T43" fmla="*/ 302 h 604"/>
                  <a:gd name="T44" fmla="*/ 600 w 604"/>
                  <a:gd name="T45" fmla="*/ 246 h 604"/>
                  <a:gd name="T46" fmla="*/ 582 w 604"/>
                  <a:gd name="T47" fmla="*/ 190 h 604"/>
                  <a:gd name="T48" fmla="*/ 556 w 604"/>
                  <a:gd name="T49" fmla="*/ 136 h 604"/>
                  <a:gd name="T50" fmla="*/ 516 w 604"/>
                  <a:gd name="T51" fmla="*/ 88 h 604"/>
                  <a:gd name="T52" fmla="*/ 494 w 604"/>
                  <a:gd name="T53" fmla="*/ 68 h 604"/>
                  <a:gd name="T54" fmla="*/ 444 w 604"/>
                  <a:gd name="T55" fmla="*/ 34 h 604"/>
                  <a:gd name="T56" fmla="*/ 390 w 604"/>
                  <a:gd name="T57" fmla="*/ 12 h 604"/>
                  <a:gd name="T58" fmla="*/ 332 w 604"/>
                  <a:gd name="T59" fmla="*/ 2 h 604"/>
                  <a:gd name="T60" fmla="*/ 274 w 604"/>
                  <a:gd name="T61" fmla="*/ 2 h 604"/>
                  <a:gd name="T62" fmla="*/ 218 w 604"/>
                  <a:gd name="T63" fmla="*/ 12 h 604"/>
                  <a:gd name="T64" fmla="*/ 162 w 604"/>
                  <a:gd name="T65" fmla="*/ 34 h 604"/>
                  <a:gd name="T66" fmla="*/ 112 w 604"/>
                  <a:gd name="T67" fmla="*/ 68 h 604"/>
                  <a:gd name="T68" fmla="*/ 90 w 604"/>
                  <a:gd name="T69" fmla="*/ 88 h 60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04"/>
                  <a:gd name="T106" fmla="*/ 0 h 604"/>
                  <a:gd name="T107" fmla="*/ 604 w 604"/>
                  <a:gd name="T108" fmla="*/ 604 h 60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04" h="604">
                    <a:moveTo>
                      <a:pt x="90" y="88"/>
                    </a:moveTo>
                    <a:lnTo>
                      <a:pt x="90" y="88"/>
                    </a:lnTo>
                    <a:lnTo>
                      <a:pt x="68" y="110"/>
                    </a:lnTo>
                    <a:lnTo>
                      <a:pt x="50" y="136"/>
                    </a:lnTo>
                    <a:lnTo>
                      <a:pt x="36" y="162"/>
                    </a:lnTo>
                    <a:lnTo>
                      <a:pt x="22" y="188"/>
                    </a:lnTo>
                    <a:lnTo>
                      <a:pt x="14" y="216"/>
                    </a:lnTo>
                    <a:lnTo>
                      <a:pt x="6" y="244"/>
                    </a:lnTo>
                    <a:lnTo>
                      <a:pt x="2" y="272"/>
                    </a:lnTo>
                    <a:lnTo>
                      <a:pt x="0" y="302"/>
                    </a:lnTo>
                    <a:lnTo>
                      <a:pt x="2" y="330"/>
                    </a:lnTo>
                    <a:lnTo>
                      <a:pt x="6" y="360"/>
                    </a:lnTo>
                    <a:lnTo>
                      <a:pt x="12" y="388"/>
                    </a:lnTo>
                    <a:lnTo>
                      <a:pt x="22" y="416"/>
                    </a:lnTo>
                    <a:lnTo>
                      <a:pt x="34" y="442"/>
                    </a:lnTo>
                    <a:lnTo>
                      <a:pt x="50" y="468"/>
                    </a:lnTo>
                    <a:lnTo>
                      <a:pt x="68" y="492"/>
                    </a:lnTo>
                    <a:lnTo>
                      <a:pt x="88" y="516"/>
                    </a:lnTo>
                    <a:lnTo>
                      <a:pt x="112" y="536"/>
                    </a:lnTo>
                    <a:lnTo>
                      <a:pt x="136" y="554"/>
                    </a:lnTo>
                    <a:lnTo>
                      <a:pt x="162" y="570"/>
                    </a:lnTo>
                    <a:lnTo>
                      <a:pt x="188" y="582"/>
                    </a:lnTo>
                    <a:lnTo>
                      <a:pt x="216" y="592"/>
                    </a:lnTo>
                    <a:lnTo>
                      <a:pt x="244" y="598"/>
                    </a:lnTo>
                    <a:lnTo>
                      <a:pt x="274" y="602"/>
                    </a:lnTo>
                    <a:lnTo>
                      <a:pt x="302" y="604"/>
                    </a:lnTo>
                    <a:lnTo>
                      <a:pt x="330" y="602"/>
                    </a:lnTo>
                    <a:lnTo>
                      <a:pt x="360" y="598"/>
                    </a:lnTo>
                    <a:lnTo>
                      <a:pt x="388" y="592"/>
                    </a:lnTo>
                    <a:lnTo>
                      <a:pt x="416" y="582"/>
                    </a:lnTo>
                    <a:lnTo>
                      <a:pt x="442" y="570"/>
                    </a:lnTo>
                    <a:lnTo>
                      <a:pt x="468" y="554"/>
                    </a:lnTo>
                    <a:lnTo>
                      <a:pt x="492" y="538"/>
                    </a:lnTo>
                    <a:lnTo>
                      <a:pt x="516" y="516"/>
                    </a:lnTo>
                    <a:lnTo>
                      <a:pt x="536" y="494"/>
                    </a:lnTo>
                    <a:lnTo>
                      <a:pt x="554" y="470"/>
                    </a:lnTo>
                    <a:lnTo>
                      <a:pt x="570" y="444"/>
                    </a:lnTo>
                    <a:lnTo>
                      <a:pt x="582" y="416"/>
                    </a:lnTo>
                    <a:lnTo>
                      <a:pt x="592" y="388"/>
                    </a:lnTo>
                    <a:lnTo>
                      <a:pt x="600" y="360"/>
                    </a:lnTo>
                    <a:lnTo>
                      <a:pt x="604" y="332"/>
                    </a:lnTo>
                    <a:lnTo>
                      <a:pt x="604" y="302"/>
                    </a:lnTo>
                    <a:lnTo>
                      <a:pt x="604" y="274"/>
                    </a:lnTo>
                    <a:lnTo>
                      <a:pt x="600" y="246"/>
                    </a:lnTo>
                    <a:lnTo>
                      <a:pt x="592" y="216"/>
                    </a:lnTo>
                    <a:lnTo>
                      <a:pt x="582" y="190"/>
                    </a:lnTo>
                    <a:lnTo>
                      <a:pt x="570" y="162"/>
                    </a:lnTo>
                    <a:lnTo>
                      <a:pt x="556" y="136"/>
                    </a:lnTo>
                    <a:lnTo>
                      <a:pt x="538" y="112"/>
                    </a:lnTo>
                    <a:lnTo>
                      <a:pt x="516" y="88"/>
                    </a:lnTo>
                    <a:lnTo>
                      <a:pt x="494" y="68"/>
                    </a:lnTo>
                    <a:lnTo>
                      <a:pt x="470" y="50"/>
                    </a:lnTo>
                    <a:lnTo>
                      <a:pt x="444" y="34"/>
                    </a:lnTo>
                    <a:lnTo>
                      <a:pt x="416" y="22"/>
                    </a:lnTo>
                    <a:lnTo>
                      <a:pt x="390" y="12"/>
                    </a:lnTo>
                    <a:lnTo>
                      <a:pt x="360" y="6"/>
                    </a:lnTo>
                    <a:lnTo>
                      <a:pt x="332" y="2"/>
                    </a:lnTo>
                    <a:lnTo>
                      <a:pt x="304" y="0"/>
                    </a:lnTo>
                    <a:lnTo>
                      <a:pt x="274" y="2"/>
                    </a:lnTo>
                    <a:lnTo>
                      <a:pt x="246" y="6"/>
                    </a:lnTo>
                    <a:lnTo>
                      <a:pt x="218" y="12"/>
                    </a:lnTo>
                    <a:lnTo>
                      <a:pt x="190" y="22"/>
                    </a:lnTo>
                    <a:lnTo>
                      <a:pt x="162" y="34"/>
                    </a:lnTo>
                    <a:lnTo>
                      <a:pt x="136" y="50"/>
                    </a:lnTo>
                    <a:lnTo>
                      <a:pt x="112" y="68"/>
                    </a:lnTo>
                    <a:lnTo>
                      <a:pt x="90" y="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22" name="Freeform 9">
                <a:extLst>
                  <a:ext uri="{FF2B5EF4-FFF2-40B4-BE49-F238E27FC236}">
                    <a16:creationId xmlns:a16="http://schemas.microsoft.com/office/drawing/2014/main" id="{F5AA40AB-FC40-40F7-AFE2-8D768CB2D253}"/>
                  </a:ext>
                </a:extLst>
              </p:cNvPr>
              <p:cNvSpPr>
                <a:spLocks/>
              </p:cNvSpPr>
              <p:nvPr/>
            </p:nvSpPr>
            <p:spPr bwMode="auto">
              <a:xfrm>
                <a:off x="1485" y="701"/>
                <a:ext cx="106" cy="112"/>
              </a:xfrm>
              <a:custGeom>
                <a:avLst/>
                <a:gdLst>
                  <a:gd name="T0" fmla="*/ 102 w 106"/>
                  <a:gd name="T1" fmla="*/ 16 h 112"/>
                  <a:gd name="T2" fmla="*/ 100 w 106"/>
                  <a:gd name="T3" fmla="*/ 16 h 112"/>
                  <a:gd name="T4" fmla="*/ 100 w 106"/>
                  <a:gd name="T5" fmla="*/ 16 h 112"/>
                  <a:gd name="T6" fmla="*/ 96 w 106"/>
                  <a:gd name="T7" fmla="*/ 10 h 112"/>
                  <a:gd name="T8" fmla="*/ 88 w 106"/>
                  <a:gd name="T9" fmla="*/ 0 h 112"/>
                  <a:gd name="T10" fmla="*/ 88 w 106"/>
                  <a:gd name="T11" fmla="*/ 0 h 112"/>
                  <a:gd name="T12" fmla="*/ 70 w 106"/>
                  <a:gd name="T13" fmla="*/ 24 h 112"/>
                  <a:gd name="T14" fmla="*/ 50 w 106"/>
                  <a:gd name="T15" fmla="*/ 46 h 112"/>
                  <a:gd name="T16" fmla="*/ 50 w 106"/>
                  <a:gd name="T17" fmla="*/ 46 h 112"/>
                  <a:gd name="T18" fmla="*/ 28 w 106"/>
                  <a:gd name="T19" fmla="*/ 66 h 112"/>
                  <a:gd name="T20" fmla="*/ 4 w 106"/>
                  <a:gd name="T21" fmla="*/ 84 h 112"/>
                  <a:gd name="T22" fmla="*/ 12 w 106"/>
                  <a:gd name="T23" fmla="*/ 92 h 112"/>
                  <a:gd name="T24" fmla="*/ 12 w 106"/>
                  <a:gd name="T25" fmla="*/ 92 h 112"/>
                  <a:gd name="T26" fmla="*/ 0 w 106"/>
                  <a:gd name="T27" fmla="*/ 100 h 112"/>
                  <a:gd name="T28" fmla="*/ 10 w 106"/>
                  <a:gd name="T29" fmla="*/ 108 h 112"/>
                  <a:gd name="T30" fmla="*/ 10 w 106"/>
                  <a:gd name="T31" fmla="*/ 108 h 112"/>
                  <a:gd name="T32" fmla="*/ 14 w 106"/>
                  <a:gd name="T33" fmla="*/ 112 h 112"/>
                  <a:gd name="T34" fmla="*/ 20 w 106"/>
                  <a:gd name="T35" fmla="*/ 112 h 112"/>
                  <a:gd name="T36" fmla="*/ 26 w 106"/>
                  <a:gd name="T37" fmla="*/ 112 h 112"/>
                  <a:gd name="T38" fmla="*/ 32 w 106"/>
                  <a:gd name="T39" fmla="*/ 108 h 112"/>
                  <a:gd name="T40" fmla="*/ 36 w 106"/>
                  <a:gd name="T41" fmla="*/ 104 h 112"/>
                  <a:gd name="T42" fmla="*/ 92 w 106"/>
                  <a:gd name="T43" fmla="*/ 48 h 112"/>
                  <a:gd name="T44" fmla="*/ 96 w 106"/>
                  <a:gd name="T45" fmla="*/ 42 h 112"/>
                  <a:gd name="T46" fmla="*/ 102 w 106"/>
                  <a:gd name="T47" fmla="*/ 38 h 112"/>
                  <a:gd name="T48" fmla="*/ 102 w 106"/>
                  <a:gd name="T49" fmla="*/ 38 h 112"/>
                  <a:gd name="T50" fmla="*/ 104 w 106"/>
                  <a:gd name="T51" fmla="*/ 34 h 112"/>
                  <a:gd name="T52" fmla="*/ 106 w 106"/>
                  <a:gd name="T53" fmla="*/ 28 h 112"/>
                  <a:gd name="T54" fmla="*/ 104 w 106"/>
                  <a:gd name="T55" fmla="*/ 22 h 112"/>
                  <a:gd name="T56" fmla="*/ 102 w 106"/>
                  <a:gd name="T57" fmla="*/ 16 h 112"/>
                  <a:gd name="T58" fmla="*/ 102 w 106"/>
                  <a:gd name="T59" fmla="*/ 16 h 11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6"/>
                  <a:gd name="T91" fmla="*/ 0 h 112"/>
                  <a:gd name="T92" fmla="*/ 106 w 106"/>
                  <a:gd name="T93" fmla="*/ 112 h 11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6" h="112">
                    <a:moveTo>
                      <a:pt x="102" y="16"/>
                    </a:moveTo>
                    <a:lnTo>
                      <a:pt x="100" y="16"/>
                    </a:lnTo>
                    <a:lnTo>
                      <a:pt x="96" y="10"/>
                    </a:lnTo>
                    <a:lnTo>
                      <a:pt x="88" y="0"/>
                    </a:lnTo>
                    <a:lnTo>
                      <a:pt x="70" y="24"/>
                    </a:lnTo>
                    <a:lnTo>
                      <a:pt x="50" y="46"/>
                    </a:lnTo>
                    <a:lnTo>
                      <a:pt x="28" y="66"/>
                    </a:lnTo>
                    <a:lnTo>
                      <a:pt x="4" y="84"/>
                    </a:lnTo>
                    <a:lnTo>
                      <a:pt x="12" y="92"/>
                    </a:lnTo>
                    <a:lnTo>
                      <a:pt x="0" y="100"/>
                    </a:lnTo>
                    <a:lnTo>
                      <a:pt x="10" y="108"/>
                    </a:lnTo>
                    <a:lnTo>
                      <a:pt x="14" y="112"/>
                    </a:lnTo>
                    <a:lnTo>
                      <a:pt x="20" y="112"/>
                    </a:lnTo>
                    <a:lnTo>
                      <a:pt x="26" y="112"/>
                    </a:lnTo>
                    <a:lnTo>
                      <a:pt x="32" y="108"/>
                    </a:lnTo>
                    <a:lnTo>
                      <a:pt x="36" y="104"/>
                    </a:lnTo>
                    <a:lnTo>
                      <a:pt x="92" y="48"/>
                    </a:lnTo>
                    <a:lnTo>
                      <a:pt x="96" y="42"/>
                    </a:lnTo>
                    <a:lnTo>
                      <a:pt x="102" y="38"/>
                    </a:lnTo>
                    <a:lnTo>
                      <a:pt x="104" y="34"/>
                    </a:lnTo>
                    <a:lnTo>
                      <a:pt x="106" y="28"/>
                    </a:lnTo>
                    <a:lnTo>
                      <a:pt x="104" y="22"/>
                    </a:lnTo>
                    <a:lnTo>
                      <a:pt x="102" y="16"/>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23" name="Freeform 10">
                <a:extLst>
                  <a:ext uri="{FF2B5EF4-FFF2-40B4-BE49-F238E27FC236}">
                    <a16:creationId xmlns:a16="http://schemas.microsoft.com/office/drawing/2014/main" id="{7CFDF672-5806-4D3D-B4DC-4993E7B05855}"/>
                  </a:ext>
                </a:extLst>
              </p:cNvPr>
              <p:cNvSpPr>
                <a:spLocks/>
              </p:cNvSpPr>
              <p:nvPr/>
            </p:nvSpPr>
            <p:spPr bwMode="auto">
              <a:xfrm>
                <a:off x="1485" y="763"/>
                <a:ext cx="66" cy="50"/>
              </a:xfrm>
              <a:custGeom>
                <a:avLst/>
                <a:gdLst>
                  <a:gd name="T0" fmla="*/ 34 w 66"/>
                  <a:gd name="T1" fmla="*/ 0 h 50"/>
                  <a:gd name="T2" fmla="*/ 34 w 66"/>
                  <a:gd name="T3" fmla="*/ 0 h 50"/>
                  <a:gd name="T4" fmla="*/ 20 w 66"/>
                  <a:gd name="T5" fmla="*/ 12 h 50"/>
                  <a:gd name="T6" fmla="*/ 4 w 66"/>
                  <a:gd name="T7" fmla="*/ 22 h 50"/>
                  <a:gd name="T8" fmla="*/ 12 w 66"/>
                  <a:gd name="T9" fmla="*/ 30 h 50"/>
                  <a:gd name="T10" fmla="*/ 12 w 66"/>
                  <a:gd name="T11" fmla="*/ 30 h 50"/>
                  <a:gd name="T12" fmla="*/ 0 w 66"/>
                  <a:gd name="T13" fmla="*/ 38 h 50"/>
                  <a:gd name="T14" fmla="*/ 10 w 66"/>
                  <a:gd name="T15" fmla="*/ 46 h 50"/>
                  <a:gd name="T16" fmla="*/ 10 w 66"/>
                  <a:gd name="T17" fmla="*/ 46 h 50"/>
                  <a:gd name="T18" fmla="*/ 14 w 66"/>
                  <a:gd name="T19" fmla="*/ 50 h 50"/>
                  <a:gd name="T20" fmla="*/ 20 w 66"/>
                  <a:gd name="T21" fmla="*/ 50 h 50"/>
                  <a:gd name="T22" fmla="*/ 26 w 66"/>
                  <a:gd name="T23" fmla="*/ 50 h 50"/>
                  <a:gd name="T24" fmla="*/ 32 w 66"/>
                  <a:gd name="T25" fmla="*/ 46 h 50"/>
                  <a:gd name="T26" fmla="*/ 36 w 66"/>
                  <a:gd name="T27" fmla="*/ 42 h 50"/>
                  <a:gd name="T28" fmla="*/ 66 w 66"/>
                  <a:gd name="T29" fmla="*/ 12 h 50"/>
                  <a:gd name="T30" fmla="*/ 66 w 66"/>
                  <a:gd name="T31" fmla="*/ 12 h 50"/>
                  <a:gd name="T32" fmla="*/ 56 w 66"/>
                  <a:gd name="T33" fmla="*/ 12 h 50"/>
                  <a:gd name="T34" fmla="*/ 46 w 66"/>
                  <a:gd name="T35" fmla="*/ 10 h 50"/>
                  <a:gd name="T36" fmla="*/ 38 w 66"/>
                  <a:gd name="T37" fmla="*/ 6 h 50"/>
                  <a:gd name="T38" fmla="*/ 36 w 66"/>
                  <a:gd name="T39" fmla="*/ 4 h 50"/>
                  <a:gd name="T40" fmla="*/ 34 w 66"/>
                  <a:gd name="T41" fmla="*/ 0 h 50"/>
                  <a:gd name="T42" fmla="*/ 34 w 6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6"/>
                  <a:gd name="T67" fmla="*/ 0 h 50"/>
                  <a:gd name="T68" fmla="*/ 66 w 6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6" h="50">
                    <a:moveTo>
                      <a:pt x="34" y="0"/>
                    </a:moveTo>
                    <a:lnTo>
                      <a:pt x="34" y="0"/>
                    </a:lnTo>
                    <a:lnTo>
                      <a:pt x="20" y="12"/>
                    </a:lnTo>
                    <a:lnTo>
                      <a:pt x="4" y="22"/>
                    </a:lnTo>
                    <a:lnTo>
                      <a:pt x="12" y="30"/>
                    </a:lnTo>
                    <a:lnTo>
                      <a:pt x="0" y="38"/>
                    </a:lnTo>
                    <a:lnTo>
                      <a:pt x="10" y="46"/>
                    </a:lnTo>
                    <a:lnTo>
                      <a:pt x="14" y="50"/>
                    </a:lnTo>
                    <a:lnTo>
                      <a:pt x="20" y="50"/>
                    </a:lnTo>
                    <a:lnTo>
                      <a:pt x="26" y="50"/>
                    </a:lnTo>
                    <a:lnTo>
                      <a:pt x="32" y="46"/>
                    </a:lnTo>
                    <a:lnTo>
                      <a:pt x="36" y="42"/>
                    </a:lnTo>
                    <a:lnTo>
                      <a:pt x="66" y="12"/>
                    </a:lnTo>
                    <a:lnTo>
                      <a:pt x="56" y="12"/>
                    </a:lnTo>
                    <a:lnTo>
                      <a:pt x="46" y="10"/>
                    </a:lnTo>
                    <a:lnTo>
                      <a:pt x="38" y="6"/>
                    </a:lnTo>
                    <a:lnTo>
                      <a:pt x="36" y="4"/>
                    </a:lnTo>
                    <a:lnTo>
                      <a:pt x="34" y="0"/>
                    </a:ln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24" name="Freeform 11">
                <a:extLst>
                  <a:ext uri="{FF2B5EF4-FFF2-40B4-BE49-F238E27FC236}">
                    <a16:creationId xmlns:a16="http://schemas.microsoft.com/office/drawing/2014/main" id="{DEAA3A8E-1C30-45AB-A8F7-8BCAE05C9B40}"/>
                  </a:ext>
                </a:extLst>
              </p:cNvPr>
              <p:cNvSpPr>
                <a:spLocks noEditPoints="1"/>
              </p:cNvSpPr>
              <p:nvPr/>
            </p:nvSpPr>
            <p:spPr bwMode="auto">
              <a:xfrm>
                <a:off x="993" y="213"/>
                <a:ext cx="594" cy="596"/>
              </a:xfrm>
              <a:custGeom>
                <a:avLst/>
                <a:gdLst>
                  <a:gd name="T0" fmla="*/ 76 w 594"/>
                  <a:gd name="T1" fmla="*/ 476 h 596"/>
                  <a:gd name="T2" fmla="*/ 34 w 594"/>
                  <a:gd name="T3" fmla="*/ 404 h 596"/>
                  <a:gd name="T4" fmla="*/ 14 w 594"/>
                  <a:gd name="T5" fmla="*/ 324 h 596"/>
                  <a:gd name="T6" fmla="*/ 18 w 594"/>
                  <a:gd name="T7" fmla="*/ 244 h 596"/>
                  <a:gd name="T8" fmla="*/ 46 w 594"/>
                  <a:gd name="T9" fmla="*/ 166 h 596"/>
                  <a:gd name="T10" fmla="*/ 96 w 594"/>
                  <a:gd name="T11" fmla="*/ 98 h 596"/>
                  <a:gd name="T12" fmla="*/ 140 w 594"/>
                  <a:gd name="T13" fmla="*/ 62 h 596"/>
                  <a:gd name="T14" fmla="*/ 216 w 594"/>
                  <a:gd name="T15" fmla="*/ 26 h 596"/>
                  <a:gd name="T16" fmla="*/ 298 w 594"/>
                  <a:gd name="T17" fmla="*/ 14 h 596"/>
                  <a:gd name="T18" fmla="*/ 378 w 594"/>
                  <a:gd name="T19" fmla="*/ 26 h 596"/>
                  <a:gd name="T20" fmla="*/ 454 w 594"/>
                  <a:gd name="T21" fmla="*/ 62 h 596"/>
                  <a:gd name="T22" fmla="*/ 498 w 594"/>
                  <a:gd name="T23" fmla="*/ 98 h 596"/>
                  <a:gd name="T24" fmla="*/ 548 w 594"/>
                  <a:gd name="T25" fmla="*/ 166 h 596"/>
                  <a:gd name="T26" fmla="*/ 576 w 594"/>
                  <a:gd name="T27" fmla="*/ 244 h 596"/>
                  <a:gd name="T28" fmla="*/ 578 w 594"/>
                  <a:gd name="T29" fmla="*/ 326 h 596"/>
                  <a:gd name="T30" fmla="*/ 560 w 594"/>
                  <a:gd name="T31" fmla="*/ 406 h 596"/>
                  <a:gd name="T32" fmla="*/ 516 w 594"/>
                  <a:gd name="T33" fmla="*/ 478 h 596"/>
                  <a:gd name="T34" fmla="*/ 476 w 594"/>
                  <a:gd name="T35" fmla="*/ 518 h 596"/>
                  <a:gd name="T36" fmla="*/ 402 w 594"/>
                  <a:gd name="T37" fmla="*/ 562 h 596"/>
                  <a:gd name="T38" fmla="*/ 324 w 594"/>
                  <a:gd name="T39" fmla="*/ 580 h 596"/>
                  <a:gd name="T40" fmla="*/ 242 w 594"/>
                  <a:gd name="T41" fmla="*/ 576 h 596"/>
                  <a:gd name="T42" fmla="*/ 164 w 594"/>
                  <a:gd name="T43" fmla="*/ 550 h 596"/>
                  <a:gd name="T44" fmla="*/ 96 w 594"/>
                  <a:gd name="T45" fmla="*/ 498 h 596"/>
                  <a:gd name="T46" fmla="*/ 86 w 594"/>
                  <a:gd name="T47" fmla="*/ 508 h 596"/>
                  <a:gd name="T48" fmla="*/ 158 w 594"/>
                  <a:gd name="T49" fmla="*/ 562 h 596"/>
                  <a:gd name="T50" fmla="*/ 240 w 594"/>
                  <a:gd name="T51" fmla="*/ 590 h 596"/>
                  <a:gd name="T52" fmla="*/ 324 w 594"/>
                  <a:gd name="T53" fmla="*/ 594 h 596"/>
                  <a:gd name="T54" fmla="*/ 408 w 594"/>
                  <a:gd name="T55" fmla="*/ 574 h 596"/>
                  <a:gd name="T56" fmla="*/ 484 w 594"/>
                  <a:gd name="T57" fmla="*/ 530 h 596"/>
                  <a:gd name="T58" fmla="*/ 528 w 594"/>
                  <a:gd name="T59" fmla="*/ 486 h 596"/>
                  <a:gd name="T60" fmla="*/ 572 w 594"/>
                  <a:gd name="T61" fmla="*/ 410 h 596"/>
                  <a:gd name="T62" fmla="*/ 592 w 594"/>
                  <a:gd name="T63" fmla="*/ 328 h 596"/>
                  <a:gd name="T64" fmla="*/ 588 w 594"/>
                  <a:gd name="T65" fmla="*/ 242 h 596"/>
                  <a:gd name="T66" fmla="*/ 560 w 594"/>
                  <a:gd name="T67" fmla="*/ 160 h 596"/>
                  <a:gd name="T68" fmla="*/ 508 w 594"/>
                  <a:gd name="T69" fmla="*/ 88 h 596"/>
                  <a:gd name="T70" fmla="*/ 460 w 594"/>
                  <a:gd name="T71" fmla="*/ 50 h 596"/>
                  <a:gd name="T72" fmla="*/ 382 w 594"/>
                  <a:gd name="T73" fmla="*/ 14 h 596"/>
                  <a:gd name="T74" fmla="*/ 298 w 594"/>
                  <a:gd name="T75" fmla="*/ 0 h 596"/>
                  <a:gd name="T76" fmla="*/ 212 w 594"/>
                  <a:gd name="T77" fmla="*/ 12 h 596"/>
                  <a:gd name="T78" fmla="*/ 134 w 594"/>
                  <a:gd name="T79" fmla="*/ 50 h 596"/>
                  <a:gd name="T80" fmla="*/ 86 w 594"/>
                  <a:gd name="T81" fmla="*/ 88 h 596"/>
                  <a:gd name="T82" fmla="*/ 34 w 594"/>
                  <a:gd name="T83" fmla="*/ 160 h 596"/>
                  <a:gd name="T84" fmla="*/ 4 w 594"/>
                  <a:gd name="T85" fmla="*/ 240 h 596"/>
                  <a:gd name="T86" fmla="*/ 0 w 594"/>
                  <a:gd name="T87" fmla="*/ 326 h 596"/>
                  <a:gd name="T88" fmla="*/ 20 w 594"/>
                  <a:gd name="T89" fmla="*/ 410 h 596"/>
                  <a:gd name="T90" fmla="*/ 66 w 594"/>
                  <a:gd name="T91" fmla="*/ 486 h 59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94"/>
                  <a:gd name="T139" fmla="*/ 0 h 596"/>
                  <a:gd name="T140" fmla="*/ 594 w 594"/>
                  <a:gd name="T141" fmla="*/ 596 h 59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94" h="596">
                    <a:moveTo>
                      <a:pt x="96" y="498"/>
                    </a:moveTo>
                    <a:lnTo>
                      <a:pt x="96" y="498"/>
                    </a:lnTo>
                    <a:lnTo>
                      <a:pt x="76" y="476"/>
                    </a:lnTo>
                    <a:lnTo>
                      <a:pt x="60" y="454"/>
                    </a:lnTo>
                    <a:lnTo>
                      <a:pt x="46" y="430"/>
                    </a:lnTo>
                    <a:lnTo>
                      <a:pt x="34" y="404"/>
                    </a:lnTo>
                    <a:lnTo>
                      <a:pt x="24" y="378"/>
                    </a:lnTo>
                    <a:lnTo>
                      <a:pt x="18" y="352"/>
                    </a:lnTo>
                    <a:lnTo>
                      <a:pt x="14" y="324"/>
                    </a:lnTo>
                    <a:lnTo>
                      <a:pt x="14" y="298"/>
                    </a:lnTo>
                    <a:lnTo>
                      <a:pt x="14" y="270"/>
                    </a:lnTo>
                    <a:lnTo>
                      <a:pt x="18" y="244"/>
                    </a:lnTo>
                    <a:lnTo>
                      <a:pt x="24" y="216"/>
                    </a:lnTo>
                    <a:lnTo>
                      <a:pt x="34" y="190"/>
                    </a:lnTo>
                    <a:lnTo>
                      <a:pt x="46" y="166"/>
                    </a:lnTo>
                    <a:lnTo>
                      <a:pt x="60" y="142"/>
                    </a:lnTo>
                    <a:lnTo>
                      <a:pt x="76" y="118"/>
                    </a:lnTo>
                    <a:lnTo>
                      <a:pt x="96" y="98"/>
                    </a:lnTo>
                    <a:lnTo>
                      <a:pt x="118" y="78"/>
                    </a:lnTo>
                    <a:lnTo>
                      <a:pt x="140" y="62"/>
                    </a:lnTo>
                    <a:lnTo>
                      <a:pt x="166" y="46"/>
                    </a:lnTo>
                    <a:lnTo>
                      <a:pt x="190" y="36"/>
                    </a:lnTo>
                    <a:lnTo>
                      <a:pt x="216" y="26"/>
                    </a:lnTo>
                    <a:lnTo>
                      <a:pt x="242" y="20"/>
                    </a:lnTo>
                    <a:lnTo>
                      <a:pt x="270" y="16"/>
                    </a:lnTo>
                    <a:lnTo>
                      <a:pt x="298" y="14"/>
                    </a:lnTo>
                    <a:lnTo>
                      <a:pt x="324" y="16"/>
                    </a:lnTo>
                    <a:lnTo>
                      <a:pt x="352" y="20"/>
                    </a:lnTo>
                    <a:lnTo>
                      <a:pt x="378" y="26"/>
                    </a:lnTo>
                    <a:lnTo>
                      <a:pt x="404" y="36"/>
                    </a:lnTo>
                    <a:lnTo>
                      <a:pt x="430" y="48"/>
                    </a:lnTo>
                    <a:lnTo>
                      <a:pt x="454" y="62"/>
                    </a:lnTo>
                    <a:lnTo>
                      <a:pt x="476" y="78"/>
                    </a:lnTo>
                    <a:lnTo>
                      <a:pt x="498" y="98"/>
                    </a:lnTo>
                    <a:lnTo>
                      <a:pt x="518" y="120"/>
                    </a:lnTo>
                    <a:lnTo>
                      <a:pt x="534" y="142"/>
                    </a:lnTo>
                    <a:lnTo>
                      <a:pt x="548" y="166"/>
                    </a:lnTo>
                    <a:lnTo>
                      <a:pt x="560" y="192"/>
                    </a:lnTo>
                    <a:lnTo>
                      <a:pt x="568" y="218"/>
                    </a:lnTo>
                    <a:lnTo>
                      <a:pt x="576" y="244"/>
                    </a:lnTo>
                    <a:lnTo>
                      <a:pt x="578" y="272"/>
                    </a:lnTo>
                    <a:lnTo>
                      <a:pt x="580" y="298"/>
                    </a:lnTo>
                    <a:lnTo>
                      <a:pt x="578" y="326"/>
                    </a:lnTo>
                    <a:lnTo>
                      <a:pt x="574" y="354"/>
                    </a:lnTo>
                    <a:lnTo>
                      <a:pt x="568" y="380"/>
                    </a:lnTo>
                    <a:lnTo>
                      <a:pt x="560" y="406"/>
                    </a:lnTo>
                    <a:lnTo>
                      <a:pt x="548" y="430"/>
                    </a:lnTo>
                    <a:lnTo>
                      <a:pt x="534" y="454"/>
                    </a:lnTo>
                    <a:lnTo>
                      <a:pt x="516" y="478"/>
                    </a:lnTo>
                    <a:lnTo>
                      <a:pt x="496" y="500"/>
                    </a:lnTo>
                    <a:lnTo>
                      <a:pt x="476" y="518"/>
                    </a:lnTo>
                    <a:lnTo>
                      <a:pt x="452" y="536"/>
                    </a:lnTo>
                    <a:lnTo>
                      <a:pt x="428" y="550"/>
                    </a:lnTo>
                    <a:lnTo>
                      <a:pt x="402" y="562"/>
                    </a:lnTo>
                    <a:lnTo>
                      <a:pt x="376" y="570"/>
                    </a:lnTo>
                    <a:lnTo>
                      <a:pt x="350" y="576"/>
                    </a:lnTo>
                    <a:lnTo>
                      <a:pt x="324" y="580"/>
                    </a:lnTo>
                    <a:lnTo>
                      <a:pt x="296" y="582"/>
                    </a:lnTo>
                    <a:lnTo>
                      <a:pt x="268" y="580"/>
                    </a:lnTo>
                    <a:lnTo>
                      <a:pt x="242" y="576"/>
                    </a:lnTo>
                    <a:lnTo>
                      <a:pt x="216" y="570"/>
                    </a:lnTo>
                    <a:lnTo>
                      <a:pt x="190" y="560"/>
                    </a:lnTo>
                    <a:lnTo>
                      <a:pt x="164" y="550"/>
                    </a:lnTo>
                    <a:lnTo>
                      <a:pt x="140" y="534"/>
                    </a:lnTo>
                    <a:lnTo>
                      <a:pt x="118" y="518"/>
                    </a:lnTo>
                    <a:lnTo>
                      <a:pt x="96" y="498"/>
                    </a:lnTo>
                    <a:close/>
                    <a:moveTo>
                      <a:pt x="86" y="508"/>
                    </a:moveTo>
                    <a:lnTo>
                      <a:pt x="86" y="508"/>
                    </a:lnTo>
                    <a:lnTo>
                      <a:pt x="108" y="528"/>
                    </a:lnTo>
                    <a:lnTo>
                      <a:pt x="132" y="546"/>
                    </a:lnTo>
                    <a:lnTo>
                      <a:pt x="158" y="562"/>
                    </a:lnTo>
                    <a:lnTo>
                      <a:pt x="184" y="574"/>
                    </a:lnTo>
                    <a:lnTo>
                      <a:pt x="212" y="584"/>
                    </a:lnTo>
                    <a:lnTo>
                      <a:pt x="240" y="590"/>
                    </a:lnTo>
                    <a:lnTo>
                      <a:pt x="268" y="594"/>
                    </a:lnTo>
                    <a:lnTo>
                      <a:pt x="296" y="596"/>
                    </a:lnTo>
                    <a:lnTo>
                      <a:pt x="324" y="594"/>
                    </a:lnTo>
                    <a:lnTo>
                      <a:pt x="352" y="590"/>
                    </a:lnTo>
                    <a:lnTo>
                      <a:pt x="380" y="584"/>
                    </a:lnTo>
                    <a:lnTo>
                      <a:pt x="408" y="574"/>
                    </a:lnTo>
                    <a:lnTo>
                      <a:pt x="434" y="562"/>
                    </a:lnTo>
                    <a:lnTo>
                      <a:pt x="460" y="548"/>
                    </a:lnTo>
                    <a:lnTo>
                      <a:pt x="484" y="530"/>
                    </a:lnTo>
                    <a:lnTo>
                      <a:pt x="506" y="510"/>
                    </a:lnTo>
                    <a:lnTo>
                      <a:pt x="528" y="486"/>
                    </a:lnTo>
                    <a:lnTo>
                      <a:pt x="544" y="462"/>
                    </a:lnTo>
                    <a:lnTo>
                      <a:pt x="560" y="438"/>
                    </a:lnTo>
                    <a:lnTo>
                      <a:pt x="572" y="410"/>
                    </a:lnTo>
                    <a:lnTo>
                      <a:pt x="582" y="384"/>
                    </a:lnTo>
                    <a:lnTo>
                      <a:pt x="588" y="356"/>
                    </a:lnTo>
                    <a:lnTo>
                      <a:pt x="592" y="328"/>
                    </a:lnTo>
                    <a:lnTo>
                      <a:pt x="594" y="298"/>
                    </a:lnTo>
                    <a:lnTo>
                      <a:pt x="592" y="270"/>
                    </a:lnTo>
                    <a:lnTo>
                      <a:pt x="588" y="242"/>
                    </a:lnTo>
                    <a:lnTo>
                      <a:pt x="582" y="214"/>
                    </a:lnTo>
                    <a:lnTo>
                      <a:pt x="572" y="186"/>
                    </a:lnTo>
                    <a:lnTo>
                      <a:pt x="560" y="160"/>
                    </a:lnTo>
                    <a:lnTo>
                      <a:pt x="546" y="134"/>
                    </a:lnTo>
                    <a:lnTo>
                      <a:pt x="528" y="110"/>
                    </a:lnTo>
                    <a:lnTo>
                      <a:pt x="508" y="88"/>
                    </a:lnTo>
                    <a:lnTo>
                      <a:pt x="486" y="68"/>
                    </a:lnTo>
                    <a:lnTo>
                      <a:pt x="460" y="50"/>
                    </a:lnTo>
                    <a:lnTo>
                      <a:pt x="436" y="34"/>
                    </a:lnTo>
                    <a:lnTo>
                      <a:pt x="410" y="22"/>
                    </a:lnTo>
                    <a:lnTo>
                      <a:pt x="382" y="14"/>
                    </a:lnTo>
                    <a:lnTo>
                      <a:pt x="354" y="6"/>
                    </a:lnTo>
                    <a:lnTo>
                      <a:pt x="326" y="2"/>
                    </a:lnTo>
                    <a:lnTo>
                      <a:pt x="298" y="0"/>
                    </a:lnTo>
                    <a:lnTo>
                      <a:pt x="268" y="2"/>
                    </a:lnTo>
                    <a:lnTo>
                      <a:pt x="240" y="6"/>
                    </a:lnTo>
                    <a:lnTo>
                      <a:pt x="212" y="12"/>
                    </a:lnTo>
                    <a:lnTo>
                      <a:pt x="186" y="22"/>
                    </a:lnTo>
                    <a:lnTo>
                      <a:pt x="158" y="34"/>
                    </a:lnTo>
                    <a:lnTo>
                      <a:pt x="134" y="50"/>
                    </a:lnTo>
                    <a:lnTo>
                      <a:pt x="110" y="66"/>
                    </a:lnTo>
                    <a:lnTo>
                      <a:pt x="86" y="88"/>
                    </a:lnTo>
                    <a:lnTo>
                      <a:pt x="66" y="110"/>
                    </a:lnTo>
                    <a:lnTo>
                      <a:pt x="48" y="134"/>
                    </a:lnTo>
                    <a:lnTo>
                      <a:pt x="34" y="160"/>
                    </a:lnTo>
                    <a:lnTo>
                      <a:pt x="22" y="186"/>
                    </a:lnTo>
                    <a:lnTo>
                      <a:pt x="12" y="212"/>
                    </a:lnTo>
                    <a:lnTo>
                      <a:pt x="4" y="240"/>
                    </a:lnTo>
                    <a:lnTo>
                      <a:pt x="0" y="270"/>
                    </a:lnTo>
                    <a:lnTo>
                      <a:pt x="0" y="298"/>
                    </a:lnTo>
                    <a:lnTo>
                      <a:pt x="0" y="326"/>
                    </a:lnTo>
                    <a:lnTo>
                      <a:pt x="4" y="354"/>
                    </a:lnTo>
                    <a:lnTo>
                      <a:pt x="12" y="382"/>
                    </a:lnTo>
                    <a:lnTo>
                      <a:pt x="20" y="410"/>
                    </a:lnTo>
                    <a:lnTo>
                      <a:pt x="32" y="436"/>
                    </a:lnTo>
                    <a:lnTo>
                      <a:pt x="48" y="462"/>
                    </a:lnTo>
                    <a:lnTo>
                      <a:pt x="66" y="486"/>
                    </a:lnTo>
                    <a:lnTo>
                      <a:pt x="86" y="5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25" name="Freeform 12">
                <a:extLst>
                  <a:ext uri="{FF2B5EF4-FFF2-40B4-BE49-F238E27FC236}">
                    <a16:creationId xmlns:a16="http://schemas.microsoft.com/office/drawing/2014/main" id="{70B943A3-D1EE-4F13-91FC-7C40B5146EC6}"/>
                  </a:ext>
                </a:extLst>
              </p:cNvPr>
              <p:cNvSpPr>
                <a:spLocks/>
              </p:cNvSpPr>
              <p:nvPr/>
            </p:nvSpPr>
            <p:spPr bwMode="auto">
              <a:xfrm>
                <a:off x="1007" y="227"/>
                <a:ext cx="566" cy="568"/>
              </a:xfrm>
              <a:custGeom>
                <a:avLst/>
                <a:gdLst>
                  <a:gd name="T0" fmla="*/ 82 w 566"/>
                  <a:gd name="T1" fmla="*/ 484 h 568"/>
                  <a:gd name="T2" fmla="*/ 46 w 566"/>
                  <a:gd name="T3" fmla="*/ 440 h 568"/>
                  <a:gd name="T4" fmla="*/ 20 w 566"/>
                  <a:gd name="T5" fmla="*/ 390 h 568"/>
                  <a:gd name="T6" fmla="*/ 4 w 566"/>
                  <a:gd name="T7" fmla="*/ 338 h 568"/>
                  <a:gd name="T8" fmla="*/ 0 w 566"/>
                  <a:gd name="T9" fmla="*/ 284 h 568"/>
                  <a:gd name="T10" fmla="*/ 4 w 566"/>
                  <a:gd name="T11" fmla="*/ 230 h 568"/>
                  <a:gd name="T12" fmla="*/ 20 w 566"/>
                  <a:gd name="T13" fmla="*/ 176 h 568"/>
                  <a:gd name="T14" fmla="*/ 46 w 566"/>
                  <a:gd name="T15" fmla="*/ 128 h 568"/>
                  <a:gd name="T16" fmla="*/ 82 w 566"/>
                  <a:gd name="T17" fmla="*/ 84 h 568"/>
                  <a:gd name="T18" fmla="*/ 104 w 566"/>
                  <a:gd name="T19" fmla="*/ 64 h 568"/>
                  <a:gd name="T20" fmla="*/ 152 w 566"/>
                  <a:gd name="T21" fmla="*/ 32 h 568"/>
                  <a:gd name="T22" fmla="*/ 202 w 566"/>
                  <a:gd name="T23" fmla="*/ 12 h 568"/>
                  <a:gd name="T24" fmla="*/ 256 w 566"/>
                  <a:gd name="T25" fmla="*/ 2 h 568"/>
                  <a:gd name="T26" fmla="*/ 310 w 566"/>
                  <a:gd name="T27" fmla="*/ 2 h 568"/>
                  <a:gd name="T28" fmla="*/ 364 w 566"/>
                  <a:gd name="T29" fmla="*/ 12 h 568"/>
                  <a:gd name="T30" fmla="*/ 416 w 566"/>
                  <a:gd name="T31" fmla="*/ 34 h 568"/>
                  <a:gd name="T32" fmla="*/ 462 w 566"/>
                  <a:gd name="T33" fmla="*/ 64 h 568"/>
                  <a:gd name="T34" fmla="*/ 484 w 566"/>
                  <a:gd name="T35" fmla="*/ 84 h 568"/>
                  <a:gd name="T36" fmla="*/ 520 w 566"/>
                  <a:gd name="T37" fmla="*/ 128 h 568"/>
                  <a:gd name="T38" fmla="*/ 546 w 566"/>
                  <a:gd name="T39" fmla="*/ 178 h 568"/>
                  <a:gd name="T40" fmla="*/ 562 w 566"/>
                  <a:gd name="T41" fmla="*/ 230 h 568"/>
                  <a:gd name="T42" fmla="*/ 566 w 566"/>
                  <a:gd name="T43" fmla="*/ 284 h 568"/>
                  <a:gd name="T44" fmla="*/ 560 w 566"/>
                  <a:gd name="T45" fmla="*/ 340 h 568"/>
                  <a:gd name="T46" fmla="*/ 546 w 566"/>
                  <a:gd name="T47" fmla="*/ 392 h 568"/>
                  <a:gd name="T48" fmla="*/ 520 w 566"/>
                  <a:gd name="T49" fmla="*/ 440 h 568"/>
                  <a:gd name="T50" fmla="*/ 482 w 566"/>
                  <a:gd name="T51" fmla="*/ 486 h 568"/>
                  <a:gd name="T52" fmla="*/ 462 w 566"/>
                  <a:gd name="T53" fmla="*/ 504 h 568"/>
                  <a:gd name="T54" fmla="*/ 414 w 566"/>
                  <a:gd name="T55" fmla="*/ 536 h 568"/>
                  <a:gd name="T56" fmla="*/ 362 w 566"/>
                  <a:gd name="T57" fmla="*/ 556 h 568"/>
                  <a:gd name="T58" fmla="*/ 310 w 566"/>
                  <a:gd name="T59" fmla="*/ 566 h 568"/>
                  <a:gd name="T60" fmla="*/ 254 w 566"/>
                  <a:gd name="T61" fmla="*/ 566 h 568"/>
                  <a:gd name="T62" fmla="*/ 202 w 566"/>
                  <a:gd name="T63" fmla="*/ 556 h 568"/>
                  <a:gd name="T64" fmla="*/ 150 w 566"/>
                  <a:gd name="T65" fmla="*/ 536 h 568"/>
                  <a:gd name="T66" fmla="*/ 104 w 566"/>
                  <a:gd name="T67" fmla="*/ 504 h 568"/>
                  <a:gd name="T68" fmla="*/ 82 w 566"/>
                  <a:gd name="T69" fmla="*/ 484 h 5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66"/>
                  <a:gd name="T106" fmla="*/ 0 h 568"/>
                  <a:gd name="T107" fmla="*/ 566 w 566"/>
                  <a:gd name="T108" fmla="*/ 568 h 5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66" h="568">
                    <a:moveTo>
                      <a:pt x="82" y="484"/>
                    </a:moveTo>
                    <a:lnTo>
                      <a:pt x="82" y="484"/>
                    </a:lnTo>
                    <a:lnTo>
                      <a:pt x="62" y="462"/>
                    </a:lnTo>
                    <a:lnTo>
                      <a:pt x="46" y="440"/>
                    </a:lnTo>
                    <a:lnTo>
                      <a:pt x="32" y="416"/>
                    </a:lnTo>
                    <a:lnTo>
                      <a:pt x="20" y="390"/>
                    </a:lnTo>
                    <a:lnTo>
                      <a:pt x="10" y="364"/>
                    </a:lnTo>
                    <a:lnTo>
                      <a:pt x="4" y="338"/>
                    </a:lnTo>
                    <a:lnTo>
                      <a:pt x="0" y="310"/>
                    </a:lnTo>
                    <a:lnTo>
                      <a:pt x="0" y="284"/>
                    </a:lnTo>
                    <a:lnTo>
                      <a:pt x="0" y="256"/>
                    </a:lnTo>
                    <a:lnTo>
                      <a:pt x="4" y="230"/>
                    </a:lnTo>
                    <a:lnTo>
                      <a:pt x="10" y="202"/>
                    </a:lnTo>
                    <a:lnTo>
                      <a:pt x="20" y="176"/>
                    </a:lnTo>
                    <a:lnTo>
                      <a:pt x="32" y="152"/>
                    </a:lnTo>
                    <a:lnTo>
                      <a:pt x="46" y="128"/>
                    </a:lnTo>
                    <a:lnTo>
                      <a:pt x="62" y="104"/>
                    </a:lnTo>
                    <a:lnTo>
                      <a:pt x="82" y="84"/>
                    </a:lnTo>
                    <a:lnTo>
                      <a:pt x="104" y="64"/>
                    </a:lnTo>
                    <a:lnTo>
                      <a:pt x="126" y="48"/>
                    </a:lnTo>
                    <a:lnTo>
                      <a:pt x="152" y="32"/>
                    </a:lnTo>
                    <a:lnTo>
                      <a:pt x="176" y="22"/>
                    </a:lnTo>
                    <a:lnTo>
                      <a:pt x="202" y="12"/>
                    </a:lnTo>
                    <a:lnTo>
                      <a:pt x="228" y="6"/>
                    </a:lnTo>
                    <a:lnTo>
                      <a:pt x="256" y="2"/>
                    </a:lnTo>
                    <a:lnTo>
                      <a:pt x="284" y="0"/>
                    </a:lnTo>
                    <a:lnTo>
                      <a:pt x="310" y="2"/>
                    </a:lnTo>
                    <a:lnTo>
                      <a:pt x="338" y="6"/>
                    </a:lnTo>
                    <a:lnTo>
                      <a:pt x="364" y="12"/>
                    </a:lnTo>
                    <a:lnTo>
                      <a:pt x="390" y="22"/>
                    </a:lnTo>
                    <a:lnTo>
                      <a:pt x="416" y="34"/>
                    </a:lnTo>
                    <a:lnTo>
                      <a:pt x="440" y="48"/>
                    </a:lnTo>
                    <a:lnTo>
                      <a:pt x="462" y="64"/>
                    </a:lnTo>
                    <a:lnTo>
                      <a:pt x="484" y="84"/>
                    </a:lnTo>
                    <a:lnTo>
                      <a:pt x="504" y="106"/>
                    </a:lnTo>
                    <a:lnTo>
                      <a:pt x="520" y="128"/>
                    </a:lnTo>
                    <a:lnTo>
                      <a:pt x="534" y="152"/>
                    </a:lnTo>
                    <a:lnTo>
                      <a:pt x="546" y="178"/>
                    </a:lnTo>
                    <a:lnTo>
                      <a:pt x="554" y="204"/>
                    </a:lnTo>
                    <a:lnTo>
                      <a:pt x="562" y="230"/>
                    </a:lnTo>
                    <a:lnTo>
                      <a:pt x="564" y="258"/>
                    </a:lnTo>
                    <a:lnTo>
                      <a:pt x="566" y="284"/>
                    </a:lnTo>
                    <a:lnTo>
                      <a:pt x="564" y="312"/>
                    </a:lnTo>
                    <a:lnTo>
                      <a:pt x="560" y="340"/>
                    </a:lnTo>
                    <a:lnTo>
                      <a:pt x="554" y="366"/>
                    </a:lnTo>
                    <a:lnTo>
                      <a:pt x="546" y="392"/>
                    </a:lnTo>
                    <a:lnTo>
                      <a:pt x="534" y="416"/>
                    </a:lnTo>
                    <a:lnTo>
                      <a:pt x="520" y="440"/>
                    </a:lnTo>
                    <a:lnTo>
                      <a:pt x="502" y="464"/>
                    </a:lnTo>
                    <a:lnTo>
                      <a:pt x="482" y="486"/>
                    </a:lnTo>
                    <a:lnTo>
                      <a:pt x="462" y="504"/>
                    </a:lnTo>
                    <a:lnTo>
                      <a:pt x="438" y="522"/>
                    </a:lnTo>
                    <a:lnTo>
                      <a:pt x="414" y="536"/>
                    </a:lnTo>
                    <a:lnTo>
                      <a:pt x="388" y="548"/>
                    </a:lnTo>
                    <a:lnTo>
                      <a:pt x="362" y="556"/>
                    </a:lnTo>
                    <a:lnTo>
                      <a:pt x="336" y="562"/>
                    </a:lnTo>
                    <a:lnTo>
                      <a:pt x="310" y="566"/>
                    </a:lnTo>
                    <a:lnTo>
                      <a:pt x="282" y="568"/>
                    </a:lnTo>
                    <a:lnTo>
                      <a:pt x="254" y="566"/>
                    </a:lnTo>
                    <a:lnTo>
                      <a:pt x="228" y="562"/>
                    </a:lnTo>
                    <a:lnTo>
                      <a:pt x="202" y="556"/>
                    </a:lnTo>
                    <a:lnTo>
                      <a:pt x="176" y="546"/>
                    </a:lnTo>
                    <a:lnTo>
                      <a:pt x="150" y="536"/>
                    </a:lnTo>
                    <a:lnTo>
                      <a:pt x="126" y="520"/>
                    </a:lnTo>
                    <a:lnTo>
                      <a:pt x="104" y="504"/>
                    </a:lnTo>
                    <a:lnTo>
                      <a:pt x="82" y="484"/>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26" name="Freeform 13">
                <a:extLst>
                  <a:ext uri="{FF2B5EF4-FFF2-40B4-BE49-F238E27FC236}">
                    <a16:creationId xmlns:a16="http://schemas.microsoft.com/office/drawing/2014/main" id="{C2A58999-B038-4F60-B9D8-5C1C87391185}"/>
                  </a:ext>
                </a:extLst>
              </p:cNvPr>
              <p:cNvSpPr>
                <a:spLocks/>
              </p:cNvSpPr>
              <p:nvPr/>
            </p:nvSpPr>
            <p:spPr bwMode="auto">
              <a:xfrm>
                <a:off x="1063" y="227"/>
                <a:ext cx="510" cy="566"/>
              </a:xfrm>
              <a:custGeom>
                <a:avLst/>
                <a:gdLst>
                  <a:gd name="T0" fmla="*/ 78 w 510"/>
                  <a:gd name="T1" fmla="*/ 190 h 566"/>
                  <a:gd name="T2" fmla="*/ 128 w 510"/>
                  <a:gd name="T3" fmla="*/ 224 h 566"/>
                  <a:gd name="T4" fmla="*/ 146 w 510"/>
                  <a:gd name="T5" fmla="*/ 234 h 566"/>
                  <a:gd name="T6" fmla="*/ 200 w 510"/>
                  <a:gd name="T7" fmla="*/ 254 h 566"/>
                  <a:gd name="T8" fmla="*/ 238 w 510"/>
                  <a:gd name="T9" fmla="*/ 272 h 566"/>
                  <a:gd name="T10" fmla="*/ 250 w 510"/>
                  <a:gd name="T11" fmla="*/ 280 h 566"/>
                  <a:gd name="T12" fmla="*/ 270 w 510"/>
                  <a:gd name="T13" fmla="*/ 298 h 566"/>
                  <a:gd name="T14" fmla="*/ 282 w 510"/>
                  <a:gd name="T15" fmla="*/ 318 h 566"/>
                  <a:gd name="T16" fmla="*/ 288 w 510"/>
                  <a:gd name="T17" fmla="*/ 340 h 566"/>
                  <a:gd name="T18" fmla="*/ 290 w 510"/>
                  <a:gd name="T19" fmla="*/ 388 h 566"/>
                  <a:gd name="T20" fmla="*/ 274 w 510"/>
                  <a:gd name="T21" fmla="*/ 462 h 566"/>
                  <a:gd name="T22" fmla="*/ 260 w 510"/>
                  <a:gd name="T23" fmla="*/ 514 h 566"/>
                  <a:gd name="T24" fmla="*/ 248 w 510"/>
                  <a:gd name="T25" fmla="*/ 566 h 566"/>
                  <a:gd name="T26" fmla="*/ 272 w 510"/>
                  <a:gd name="T27" fmla="*/ 564 h 566"/>
                  <a:gd name="T28" fmla="*/ 320 w 510"/>
                  <a:gd name="T29" fmla="*/ 552 h 566"/>
                  <a:gd name="T30" fmla="*/ 366 w 510"/>
                  <a:gd name="T31" fmla="*/ 532 h 566"/>
                  <a:gd name="T32" fmla="*/ 408 w 510"/>
                  <a:gd name="T33" fmla="*/ 502 h 566"/>
                  <a:gd name="T34" fmla="*/ 426 w 510"/>
                  <a:gd name="T35" fmla="*/ 486 h 566"/>
                  <a:gd name="T36" fmla="*/ 464 w 510"/>
                  <a:gd name="T37" fmla="*/ 440 h 566"/>
                  <a:gd name="T38" fmla="*/ 490 w 510"/>
                  <a:gd name="T39" fmla="*/ 392 h 566"/>
                  <a:gd name="T40" fmla="*/ 504 w 510"/>
                  <a:gd name="T41" fmla="*/ 340 h 566"/>
                  <a:gd name="T42" fmla="*/ 510 w 510"/>
                  <a:gd name="T43" fmla="*/ 284 h 566"/>
                  <a:gd name="T44" fmla="*/ 506 w 510"/>
                  <a:gd name="T45" fmla="*/ 230 h 566"/>
                  <a:gd name="T46" fmla="*/ 490 w 510"/>
                  <a:gd name="T47" fmla="*/ 178 h 566"/>
                  <a:gd name="T48" fmla="*/ 464 w 510"/>
                  <a:gd name="T49" fmla="*/ 128 h 566"/>
                  <a:gd name="T50" fmla="*/ 428 w 510"/>
                  <a:gd name="T51" fmla="*/ 84 h 566"/>
                  <a:gd name="T52" fmla="*/ 406 w 510"/>
                  <a:gd name="T53" fmla="*/ 64 h 566"/>
                  <a:gd name="T54" fmla="*/ 360 w 510"/>
                  <a:gd name="T55" fmla="*/ 34 h 566"/>
                  <a:gd name="T56" fmla="*/ 308 w 510"/>
                  <a:gd name="T57" fmla="*/ 12 h 566"/>
                  <a:gd name="T58" fmla="*/ 254 w 510"/>
                  <a:gd name="T59" fmla="*/ 2 h 566"/>
                  <a:gd name="T60" fmla="*/ 200 w 510"/>
                  <a:gd name="T61" fmla="*/ 2 h 566"/>
                  <a:gd name="T62" fmla="*/ 146 w 510"/>
                  <a:gd name="T63" fmla="*/ 12 h 566"/>
                  <a:gd name="T64" fmla="*/ 96 w 510"/>
                  <a:gd name="T65" fmla="*/ 32 h 566"/>
                  <a:gd name="T66" fmla="*/ 48 w 510"/>
                  <a:gd name="T67" fmla="*/ 64 h 566"/>
                  <a:gd name="T68" fmla="*/ 26 w 510"/>
                  <a:gd name="T69" fmla="*/ 84 h 566"/>
                  <a:gd name="T70" fmla="*/ 0 w 510"/>
                  <a:gd name="T71" fmla="*/ 112 h 566"/>
                  <a:gd name="T72" fmla="*/ 16 w 510"/>
                  <a:gd name="T73" fmla="*/ 134 h 566"/>
                  <a:gd name="T74" fmla="*/ 56 w 510"/>
                  <a:gd name="T75" fmla="*/ 172 h 566"/>
                  <a:gd name="T76" fmla="*/ 78 w 510"/>
                  <a:gd name="T77" fmla="*/ 190 h 56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10"/>
                  <a:gd name="T118" fmla="*/ 0 h 566"/>
                  <a:gd name="T119" fmla="*/ 510 w 510"/>
                  <a:gd name="T120" fmla="*/ 566 h 56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10" h="566">
                    <a:moveTo>
                      <a:pt x="78" y="190"/>
                    </a:moveTo>
                    <a:lnTo>
                      <a:pt x="78" y="190"/>
                    </a:lnTo>
                    <a:lnTo>
                      <a:pt x="112" y="212"/>
                    </a:lnTo>
                    <a:lnTo>
                      <a:pt x="128" y="224"/>
                    </a:lnTo>
                    <a:lnTo>
                      <a:pt x="146" y="234"/>
                    </a:lnTo>
                    <a:lnTo>
                      <a:pt x="174" y="244"/>
                    </a:lnTo>
                    <a:lnTo>
                      <a:pt x="200" y="254"/>
                    </a:lnTo>
                    <a:lnTo>
                      <a:pt x="226" y="264"/>
                    </a:lnTo>
                    <a:lnTo>
                      <a:pt x="238" y="272"/>
                    </a:lnTo>
                    <a:lnTo>
                      <a:pt x="250" y="280"/>
                    </a:lnTo>
                    <a:lnTo>
                      <a:pt x="260" y="288"/>
                    </a:lnTo>
                    <a:lnTo>
                      <a:pt x="270" y="298"/>
                    </a:lnTo>
                    <a:lnTo>
                      <a:pt x="276" y="308"/>
                    </a:lnTo>
                    <a:lnTo>
                      <a:pt x="282" y="318"/>
                    </a:lnTo>
                    <a:lnTo>
                      <a:pt x="286" y="330"/>
                    </a:lnTo>
                    <a:lnTo>
                      <a:pt x="288" y="340"/>
                    </a:lnTo>
                    <a:lnTo>
                      <a:pt x="292" y="364"/>
                    </a:lnTo>
                    <a:lnTo>
                      <a:pt x="290" y="388"/>
                    </a:lnTo>
                    <a:lnTo>
                      <a:pt x="286" y="412"/>
                    </a:lnTo>
                    <a:lnTo>
                      <a:pt x="274" y="462"/>
                    </a:lnTo>
                    <a:lnTo>
                      <a:pt x="260" y="514"/>
                    </a:lnTo>
                    <a:lnTo>
                      <a:pt x="254" y="540"/>
                    </a:lnTo>
                    <a:lnTo>
                      <a:pt x="248" y="566"/>
                    </a:lnTo>
                    <a:lnTo>
                      <a:pt x="272" y="564"/>
                    </a:lnTo>
                    <a:lnTo>
                      <a:pt x="296" y="560"/>
                    </a:lnTo>
                    <a:lnTo>
                      <a:pt x="320" y="552"/>
                    </a:lnTo>
                    <a:lnTo>
                      <a:pt x="344" y="542"/>
                    </a:lnTo>
                    <a:lnTo>
                      <a:pt x="366" y="532"/>
                    </a:lnTo>
                    <a:lnTo>
                      <a:pt x="388" y="518"/>
                    </a:lnTo>
                    <a:lnTo>
                      <a:pt x="408" y="502"/>
                    </a:lnTo>
                    <a:lnTo>
                      <a:pt x="426" y="486"/>
                    </a:lnTo>
                    <a:lnTo>
                      <a:pt x="446" y="464"/>
                    </a:lnTo>
                    <a:lnTo>
                      <a:pt x="464" y="440"/>
                    </a:lnTo>
                    <a:lnTo>
                      <a:pt x="478" y="416"/>
                    </a:lnTo>
                    <a:lnTo>
                      <a:pt x="490" y="392"/>
                    </a:lnTo>
                    <a:lnTo>
                      <a:pt x="498" y="366"/>
                    </a:lnTo>
                    <a:lnTo>
                      <a:pt x="504" y="340"/>
                    </a:lnTo>
                    <a:lnTo>
                      <a:pt x="508" y="312"/>
                    </a:lnTo>
                    <a:lnTo>
                      <a:pt x="510" y="284"/>
                    </a:lnTo>
                    <a:lnTo>
                      <a:pt x="508" y="258"/>
                    </a:lnTo>
                    <a:lnTo>
                      <a:pt x="506" y="230"/>
                    </a:lnTo>
                    <a:lnTo>
                      <a:pt x="498" y="204"/>
                    </a:lnTo>
                    <a:lnTo>
                      <a:pt x="490" y="178"/>
                    </a:lnTo>
                    <a:lnTo>
                      <a:pt x="478" y="152"/>
                    </a:lnTo>
                    <a:lnTo>
                      <a:pt x="464" y="128"/>
                    </a:lnTo>
                    <a:lnTo>
                      <a:pt x="448" y="106"/>
                    </a:lnTo>
                    <a:lnTo>
                      <a:pt x="428" y="84"/>
                    </a:lnTo>
                    <a:lnTo>
                      <a:pt x="406" y="64"/>
                    </a:lnTo>
                    <a:lnTo>
                      <a:pt x="384" y="48"/>
                    </a:lnTo>
                    <a:lnTo>
                      <a:pt x="360" y="34"/>
                    </a:lnTo>
                    <a:lnTo>
                      <a:pt x="334" y="22"/>
                    </a:lnTo>
                    <a:lnTo>
                      <a:pt x="308" y="12"/>
                    </a:lnTo>
                    <a:lnTo>
                      <a:pt x="282" y="6"/>
                    </a:lnTo>
                    <a:lnTo>
                      <a:pt x="254" y="2"/>
                    </a:lnTo>
                    <a:lnTo>
                      <a:pt x="228" y="0"/>
                    </a:lnTo>
                    <a:lnTo>
                      <a:pt x="200" y="2"/>
                    </a:lnTo>
                    <a:lnTo>
                      <a:pt x="172" y="6"/>
                    </a:lnTo>
                    <a:lnTo>
                      <a:pt x="146" y="12"/>
                    </a:lnTo>
                    <a:lnTo>
                      <a:pt x="120" y="22"/>
                    </a:lnTo>
                    <a:lnTo>
                      <a:pt x="96" y="32"/>
                    </a:lnTo>
                    <a:lnTo>
                      <a:pt x="70" y="48"/>
                    </a:lnTo>
                    <a:lnTo>
                      <a:pt x="48" y="64"/>
                    </a:lnTo>
                    <a:lnTo>
                      <a:pt x="26" y="84"/>
                    </a:lnTo>
                    <a:lnTo>
                      <a:pt x="14" y="98"/>
                    </a:lnTo>
                    <a:lnTo>
                      <a:pt x="0" y="112"/>
                    </a:lnTo>
                    <a:lnTo>
                      <a:pt x="16" y="134"/>
                    </a:lnTo>
                    <a:lnTo>
                      <a:pt x="36" y="154"/>
                    </a:lnTo>
                    <a:lnTo>
                      <a:pt x="56" y="172"/>
                    </a:lnTo>
                    <a:lnTo>
                      <a:pt x="78" y="19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27" name="Freeform 14">
                <a:extLst>
                  <a:ext uri="{FF2B5EF4-FFF2-40B4-BE49-F238E27FC236}">
                    <a16:creationId xmlns:a16="http://schemas.microsoft.com/office/drawing/2014/main" id="{4F2AFFDA-6073-430E-BC8F-96793CAF2574}"/>
                  </a:ext>
                </a:extLst>
              </p:cNvPr>
              <p:cNvSpPr>
                <a:spLocks noEditPoints="1"/>
              </p:cNvSpPr>
              <p:nvPr/>
            </p:nvSpPr>
            <p:spPr bwMode="auto">
              <a:xfrm>
                <a:off x="941" y="163"/>
                <a:ext cx="1014" cy="1016"/>
              </a:xfrm>
              <a:custGeom>
                <a:avLst/>
                <a:gdLst>
                  <a:gd name="T0" fmla="*/ 504 w 1014"/>
                  <a:gd name="T1" fmla="*/ 646 h 1016"/>
                  <a:gd name="T2" fmla="*/ 348 w 1014"/>
                  <a:gd name="T3" fmla="*/ 684 h 1016"/>
                  <a:gd name="T4" fmla="*/ 192 w 1014"/>
                  <a:gd name="T5" fmla="*/ 644 h 1016"/>
                  <a:gd name="T6" fmla="*/ 88 w 1014"/>
                  <a:gd name="T7" fmla="*/ 560 h 1016"/>
                  <a:gd name="T8" fmla="*/ 20 w 1014"/>
                  <a:gd name="T9" fmla="*/ 412 h 1016"/>
                  <a:gd name="T10" fmla="*/ 28 w 1014"/>
                  <a:gd name="T11" fmla="*/ 252 h 1016"/>
                  <a:gd name="T12" fmla="*/ 112 w 1014"/>
                  <a:gd name="T13" fmla="*/ 110 h 1016"/>
                  <a:gd name="T14" fmla="*/ 224 w 1014"/>
                  <a:gd name="T15" fmla="*/ 38 h 1016"/>
                  <a:gd name="T16" fmla="*/ 382 w 1014"/>
                  <a:gd name="T17" fmla="*/ 14 h 1016"/>
                  <a:gd name="T18" fmla="*/ 534 w 1014"/>
                  <a:gd name="T19" fmla="*/ 68 h 1016"/>
                  <a:gd name="T20" fmla="*/ 628 w 1014"/>
                  <a:gd name="T21" fmla="*/ 164 h 1016"/>
                  <a:gd name="T22" fmla="*/ 682 w 1014"/>
                  <a:gd name="T23" fmla="*/ 316 h 1016"/>
                  <a:gd name="T24" fmla="*/ 658 w 1014"/>
                  <a:gd name="T25" fmla="*/ 474 h 1016"/>
                  <a:gd name="T26" fmla="*/ 586 w 1014"/>
                  <a:gd name="T27" fmla="*/ 586 h 1016"/>
                  <a:gd name="T28" fmla="*/ 648 w 1014"/>
                  <a:gd name="T29" fmla="*/ 572 h 1016"/>
                  <a:gd name="T30" fmla="*/ 576 w 1014"/>
                  <a:gd name="T31" fmla="*/ 646 h 1016"/>
                  <a:gd name="T32" fmla="*/ 554 w 1014"/>
                  <a:gd name="T33" fmla="*/ 646 h 1016"/>
                  <a:gd name="T34" fmla="*/ 594 w 1014"/>
                  <a:gd name="T35" fmla="*/ 596 h 1016"/>
                  <a:gd name="T36" fmla="*/ 616 w 1014"/>
                  <a:gd name="T37" fmla="*/ 658 h 1016"/>
                  <a:gd name="T38" fmla="*/ 640 w 1014"/>
                  <a:gd name="T39" fmla="*/ 600 h 1016"/>
                  <a:gd name="T40" fmla="*/ 618 w 1014"/>
                  <a:gd name="T41" fmla="*/ 710 h 1016"/>
                  <a:gd name="T42" fmla="*/ 616 w 1014"/>
                  <a:gd name="T43" fmla="*/ 678 h 1016"/>
                  <a:gd name="T44" fmla="*/ 684 w 1014"/>
                  <a:gd name="T45" fmla="*/ 614 h 1016"/>
                  <a:gd name="T46" fmla="*/ 710 w 1014"/>
                  <a:gd name="T47" fmla="*/ 618 h 1016"/>
                  <a:gd name="T48" fmla="*/ 928 w 1014"/>
                  <a:gd name="T49" fmla="*/ 1002 h 1016"/>
                  <a:gd name="T50" fmla="*/ 994 w 1014"/>
                  <a:gd name="T51" fmla="*/ 904 h 1016"/>
                  <a:gd name="T52" fmla="*/ 1000 w 1014"/>
                  <a:gd name="T53" fmla="*/ 932 h 1016"/>
                  <a:gd name="T54" fmla="*/ 622 w 1014"/>
                  <a:gd name="T55" fmla="*/ 716 h 1016"/>
                  <a:gd name="T56" fmla="*/ 596 w 1014"/>
                  <a:gd name="T57" fmla="*/ 102 h 1016"/>
                  <a:gd name="T58" fmla="*/ 448 w 1014"/>
                  <a:gd name="T59" fmla="*/ 14 h 1016"/>
                  <a:gd name="T60" fmla="*/ 282 w 1014"/>
                  <a:gd name="T61" fmla="*/ 6 h 1016"/>
                  <a:gd name="T62" fmla="*/ 128 w 1014"/>
                  <a:gd name="T63" fmla="*/ 78 h 1016"/>
                  <a:gd name="T64" fmla="*/ 40 w 1014"/>
                  <a:gd name="T65" fmla="*/ 186 h 1016"/>
                  <a:gd name="T66" fmla="*/ 0 w 1014"/>
                  <a:gd name="T67" fmla="*/ 348 h 1016"/>
                  <a:gd name="T68" fmla="*/ 40 w 1014"/>
                  <a:gd name="T69" fmla="*/ 510 h 1016"/>
                  <a:gd name="T70" fmla="*/ 124 w 1014"/>
                  <a:gd name="T71" fmla="*/ 616 h 1016"/>
                  <a:gd name="T72" fmla="*/ 254 w 1014"/>
                  <a:gd name="T73" fmla="*/ 684 h 1016"/>
                  <a:gd name="T74" fmla="*/ 396 w 1014"/>
                  <a:gd name="T75" fmla="*/ 694 h 1016"/>
                  <a:gd name="T76" fmla="*/ 532 w 1014"/>
                  <a:gd name="T77" fmla="*/ 644 h 1016"/>
                  <a:gd name="T78" fmla="*/ 564 w 1014"/>
                  <a:gd name="T79" fmla="*/ 664 h 1016"/>
                  <a:gd name="T80" fmla="*/ 606 w 1014"/>
                  <a:gd name="T81" fmla="*/ 668 h 1016"/>
                  <a:gd name="T82" fmla="*/ 598 w 1014"/>
                  <a:gd name="T83" fmla="*/ 700 h 1016"/>
                  <a:gd name="T84" fmla="*/ 890 w 1014"/>
                  <a:gd name="T85" fmla="*/ 1004 h 1016"/>
                  <a:gd name="T86" fmla="*/ 932 w 1014"/>
                  <a:gd name="T87" fmla="*/ 1014 h 1016"/>
                  <a:gd name="T88" fmla="*/ 1008 w 1014"/>
                  <a:gd name="T89" fmla="*/ 944 h 1016"/>
                  <a:gd name="T90" fmla="*/ 1010 w 1014"/>
                  <a:gd name="T91" fmla="*/ 902 h 1016"/>
                  <a:gd name="T92" fmla="*/ 706 w 1014"/>
                  <a:gd name="T93" fmla="*/ 600 h 1016"/>
                  <a:gd name="T94" fmla="*/ 666 w 1014"/>
                  <a:gd name="T95" fmla="*/ 606 h 1016"/>
                  <a:gd name="T96" fmla="*/ 662 w 1014"/>
                  <a:gd name="T97" fmla="*/ 576 h 1016"/>
                  <a:gd name="T98" fmla="*/ 644 w 1014"/>
                  <a:gd name="T99" fmla="*/ 534 h 1016"/>
                  <a:gd name="T100" fmla="*/ 688 w 1014"/>
                  <a:gd name="T101" fmla="*/ 426 h 1016"/>
                  <a:gd name="T102" fmla="*/ 692 w 1014"/>
                  <a:gd name="T103" fmla="*/ 282 h 1016"/>
                  <a:gd name="T104" fmla="*/ 634 w 1014"/>
                  <a:gd name="T105" fmla="*/ 148 h 101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14"/>
                  <a:gd name="T160" fmla="*/ 0 h 1016"/>
                  <a:gd name="T161" fmla="*/ 1014 w 1014"/>
                  <a:gd name="T162" fmla="*/ 1016 h 101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14" h="1016">
                    <a:moveTo>
                      <a:pt x="586" y="586"/>
                    </a:moveTo>
                    <a:lnTo>
                      <a:pt x="586" y="586"/>
                    </a:lnTo>
                    <a:lnTo>
                      <a:pt x="560" y="608"/>
                    </a:lnTo>
                    <a:lnTo>
                      <a:pt x="532" y="628"/>
                    </a:lnTo>
                    <a:lnTo>
                      <a:pt x="504" y="646"/>
                    </a:lnTo>
                    <a:lnTo>
                      <a:pt x="474" y="658"/>
                    </a:lnTo>
                    <a:lnTo>
                      <a:pt x="444" y="670"/>
                    </a:lnTo>
                    <a:lnTo>
                      <a:pt x="412" y="678"/>
                    </a:lnTo>
                    <a:lnTo>
                      <a:pt x="380" y="682"/>
                    </a:lnTo>
                    <a:lnTo>
                      <a:pt x="348" y="684"/>
                    </a:lnTo>
                    <a:lnTo>
                      <a:pt x="316" y="682"/>
                    </a:lnTo>
                    <a:lnTo>
                      <a:pt x="284" y="676"/>
                    </a:lnTo>
                    <a:lnTo>
                      <a:pt x="252" y="670"/>
                    </a:lnTo>
                    <a:lnTo>
                      <a:pt x="222" y="658"/>
                    </a:lnTo>
                    <a:lnTo>
                      <a:pt x="192" y="644"/>
                    </a:lnTo>
                    <a:lnTo>
                      <a:pt x="164" y="628"/>
                    </a:lnTo>
                    <a:lnTo>
                      <a:pt x="136" y="608"/>
                    </a:lnTo>
                    <a:lnTo>
                      <a:pt x="112" y="584"/>
                    </a:lnTo>
                    <a:lnTo>
                      <a:pt x="88" y="560"/>
                    </a:lnTo>
                    <a:lnTo>
                      <a:pt x="68" y="532"/>
                    </a:lnTo>
                    <a:lnTo>
                      <a:pt x="52" y="504"/>
                    </a:lnTo>
                    <a:lnTo>
                      <a:pt x="38" y="474"/>
                    </a:lnTo>
                    <a:lnTo>
                      <a:pt x="28" y="442"/>
                    </a:lnTo>
                    <a:lnTo>
                      <a:pt x="20" y="412"/>
                    </a:lnTo>
                    <a:lnTo>
                      <a:pt x="16" y="380"/>
                    </a:lnTo>
                    <a:lnTo>
                      <a:pt x="14" y="348"/>
                    </a:lnTo>
                    <a:lnTo>
                      <a:pt x="16" y="316"/>
                    </a:lnTo>
                    <a:lnTo>
                      <a:pt x="20" y="284"/>
                    </a:lnTo>
                    <a:lnTo>
                      <a:pt x="28" y="252"/>
                    </a:lnTo>
                    <a:lnTo>
                      <a:pt x="38" y="222"/>
                    </a:lnTo>
                    <a:lnTo>
                      <a:pt x="52" y="192"/>
                    </a:lnTo>
                    <a:lnTo>
                      <a:pt x="70" y="164"/>
                    </a:lnTo>
                    <a:lnTo>
                      <a:pt x="90" y="136"/>
                    </a:lnTo>
                    <a:lnTo>
                      <a:pt x="112" y="110"/>
                    </a:lnTo>
                    <a:lnTo>
                      <a:pt x="138" y="88"/>
                    </a:lnTo>
                    <a:lnTo>
                      <a:pt x="164" y="68"/>
                    </a:lnTo>
                    <a:lnTo>
                      <a:pt x="194" y="52"/>
                    </a:lnTo>
                    <a:lnTo>
                      <a:pt x="224" y="38"/>
                    </a:lnTo>
                    <a:lnTo>
                      <a:pt x="254" y="26"/>
                    </a:lnTo>
                    <a:lnTo>
                      <a:pt x="286" y="20"/>
                    </a:lnTo>
                    <a:lnTo>
                      <a:pt x="318" y="14"/>
                    </a:lnTo>
                    <a:lnTo>
                      <a:pt x="350" y="14"/>
                    </a:lnTo>
                    <a:lnTo>
                      <a:pt x="382" y="14"/>
                    </a:lnTo>
                    <a:lnTo>
                      <a:pt x="414" y="20"/>
                    </a:lnTo>
                    <a:lnTo>
                      <a:pt x="444" y="28"/>
                    </a:lnTo>
                    <a:lnTo>
                      <a:pt x="476" y="38"/>
                    </a:lnTo>
                    <a:lnTo>
                      <a:pt x="506" y="52"/>
                    </a:lnTo>
                    <a:lnTo>
                      <a:pt x="534" y="68"/>
                    </a:lnTo>
                    <a:lnTo>
                      <a:pt x="560" y="88"/>
                    </a:lnTo>
                    <a:lnTo>
                      <a:pt x="586" y="112"/>
                    </a:lnTo>
                    <a:lnTo>
                      <a:pt x="608" y="138"/>
                    </a:lnTo>
                    <a:lnTo>
                      <a:pt x="628" y="164"/>
                    </a:lnTo>
                    <a:lnTo>
                      <a:pt x="646" y="192"/>
                    </a:lnTo>
                    <a:lnTo>
                      <a:pt x="660" y="222"/>
                    </a:lnTo>
                    <a:lnTo>
                      <a:pt x="670" y="254"/>
                    </a:lnTo>
                    <a:lnTo>
                      <a:pt x="678" y="284"/>
                    </a:lnTo>
                    <a:lnTo>
                      <a:pt x="682" y="316"/>
                    </a:lnTo>
                    <a:lnTo>
                      <a:pt x="684" y="348"/>
                    </a:lnTo>
                    <a:lnTo>
                      <a:pt x="682" y="382"/>
                    </a:lnTo>
                    <a:lnTo>
                      <a:pt x="678" y="412"/>
                    </a:lnTo>
                    <a:lnTo>
                      <a:pt x="670" y="444"/>
                    </a:lnTo>
                    <a:lnTo>
                      <a:pt x="658" y="474"/>
                    </a:lnTo>
                    <a:lnTo>
                      <a:pt x="644" y="504"/>
                    </a:lnTo>
                    <a:lnTo>
                      <a:pt x="628" y="534"/>
                    </a:lnTo>
                    <a:lnTo>
                      <a:pt x="608" y="560"/>
                    </a:lnTo>
                    <a:lnTo>
                      <a:pt x="586" y="586"/>
                    </a:lnTo>
                    <a:close/>
                    <a:moveTo>
                      <a:pt x="646" y="554"/>
                    </a:moveTo>
                    <a:lnTo>
                      <a:pt x="646" y="554"/>
                    </a:lnTo>
                    <a:lnTo>
                      <a:pt x="648" y="560"/>
                    </a:lnTo>
                    <a:lnTo>
                      <a:pt x="650" y="566"/>
                    </a:lnTo>
                    <a:lnTo>
                      <a:pt x="648" y="572"/>
                    </a:lnTo>
                    <a:lnTo>
                      <a:pt x="646" y="576"/>
                    </a:lnTo>
                    <a:lnTo>
                      <a:pt x="640" y="580"/>
                    </a:lnTo>
                    <a:lnTo>
                      <a:pt x="636" y="586"/>
                    </a:lnTo>
                    <a:lnTo>
                      <a:pt x="580" y="642"/>
                    </a:lnTo>
                    <a:lnTo>
                      <a:pt x="576" y="646"/>
                    </a:lnTo>
                    <a:lnTo>
                      <a:pt x="570" y="650"/>
                    </a:lnTo>
                    <a:lnTo>
                      <a:pt x="564" y="650"/>
                    </a:lnTo>
                    <a:lnTo>
                      <a:pt x="558" y="650"/>
                    </a:lnTo>
                    <a:lnTo>
                      <a:pt x="554" y="646"/>
                    </a:lnTo>
                    <a:lnTo>
                      <a:pt x="544" y="638"/>
                    </a:lnTo>
                    <a:lnTo>
                      <a:pt x="570" y="618"/>
                    </a:lnTo>
                    <a:lnTo>
                      <a:pt x="594" y="596"/>
                    </a:lnTo>
                    <a:lnTo>
                      <a:pt x="618" y="572"/>
                    </a:lnTo>
                    <a:lnTo>
                      <a:pt x="636" y="546"/>
                    </a:lnTo>
                    <a:lnTo>
                      <a:pt x="646" y="554"/>
                    </a:lnTo>
                    <a:close/>
                    <a:moveTo>
                      <a:pt x="656" y="616"/>
                    </a:moveTo>
                    <a:lnTo>
                      <a:pt x="616" y="658"/>
                    </a:lnTo>
                    <a:lnTo>
                      <a:pt x="600" y="642"/>
                    </a:lnTo>
                    <a:lnTo>
                      <a:pt x="640" y="600"/>
                    </a:lnTo>
                    <a:lnTo>
                      <a:pt x="656" y="616"/>
                    </a:lnTo>
                    <a:close/>
                    <a:moveTo>
                      <a:pt x="710" y="618"/>
                    </a:moveTo>
                    <a:lnTo>
                      <a:pt x="618" y="710"/>
                    </a:lnTo>
                    <a:lnTo>
                      <a:pt x="614" y="704"/>
                    </a:lnTo>
                    <a:lnTo>
                      <a:pt x="612" y="694"/>
                    </a:lnTo>
                    <a:lnTo>
                      <a:pt x="612" y="690"/>
                    </a:lnTo>
                    <a:lnTo>
                      <a:pt x="612" y="684"/>
                    </a:lnTo>
                    <a:lnTo>
                      <a:pt x="616" y="678"/>
                    </a:lnTo>
                    <a:lnTo>
                      <a:pt x="620" y="672"/>
                    </a:lnTo>
                    <a:lnTo>
                      <a:pt x="672" y="622"/>
                    </a:lnTo>
                    <a:lnTo>
                      <a:pt x="676" y="618"/>
                    </a:lnTo>
                    <a:lnTo>
                      <a:pt x="684" y="614"/>
                    </a:lnTo>
                    <a:lnTo>
                      <a:pt x="690" y="612"/>
                    </a:lnTo>
                    <a:lnTo>
                      <a:pt x="696" y="612"/>
                    </a:lnTo>
                    <a:lnTo>
                      <a:pt x="702" y="614"/>
                    </a:lnTo>
                    <a:lnTo>
                      <a:pt x="710" y="618"/>
                    </a:lnTo>
                    <a:close/>
                    <a:moveTo>
                      <a:pt x="992" y="942"/>
                    </a:moveTo>
                    <a:lnTo>
                      <a:pt x="940" y="994"/>
                    </a:lnTo>
                    <a:lnTo>
                      <a:pt x="936" y="996"/>
                    </a:lnTo>
                    <a:lnTo>
                      <a:pt x="928" y="1002"/>
                    </a:lnTo>
                    <a:lnTo>
                      <a:pt x="922" y="1002"/>
                    </a:lnTo>
                    <a:lnTo>
                      <a:pt x="916" y="1002"/>
                    </a:lnTo>
                    <a:lnTo>
                      <a:pt x="910" y="1000"/>
                    </a:lnTo>
                    <a:lnTo>
                      <a:pt x="902" y="996"/>
                    </a:lnTo>
                    <a:lnTo>
                      <a:pt x="994" y="904"/>
                    </a:lnTo>
                    <a:lnTo>
                      <a:pt x="998" y="912"/>
                    </a:lnTo>
                    <a:lnTo>
                      <a:pt x="1000" y="920"/>
                    </a:lnTo>
                    <a:lnTo>
                      <a:pt x="1000" y="926"/>
                    </a:lnTo>
                    <a:lnTo>
                      <a:pt x="1000" y="932"/>
                    </a:lnTo>
                    <a:lnTo>
                      <a:pt x="996" y="936"/>
                    </a:lnTo>
                    <a:lnTo>
                      <a:pt x="992" y="942"/>
                    </a:lnTo>
                    <a:close/>
                    <a:moveTo>
                      <a:pt x="896" y="990"/>
                    </a:moveTo>
                    <a:lnTo>
                      <a:pt x="622" y="716"/>
                    </a:lnTo>
                    <a:lnTo>
                      <a:pt x="716" y="624"/>
                    </a:lnTo>
                    <a:lnTo>
                      <a:pt x="988" y="898"/>
                    </a:lnTo>
                    <a:lnTo>
                      <a:pt x="896" y="990"/>
                    </a:lnTo>
                    <a:close/>
                    <a:moveTo>
                      <a:pt x="596" y="102"/>
                    </a:moveTo>
                    <a:lnTo>
                      <a:pt x="596" y="102"/>
                    </a:lnTo>
                    <a:lnTo>
                      <a:pt x="570" y="78"/>
                    </a:lnTo>
                    <a:lnTo>
                      <a:pt x="542" y="58"/>
                    </a:lnTo>
                    <a:lnTo>
                      <a:pt x="512" y="40"/>
                    </a:lnTo>
                    <a:lnTo>
                      <a:pt x="480" y="26"/>
                    </a:lnTo>
                    <a:lnTo>
                      <a:pt x="448" y="14"/>
                    </a:lnTo>
                    <a:lnTo>
                      <a:pt x="416" y="6"/>
                    </a:lnTo>
                    <a:lnTo>
                      <a:pt x="382" y="2"/>
                    </a:lnTo>
                    <a:lnTo>
                      <a:pt x="350" y="0"/>
                    </a:lnTo>
                    <a:lnTo>
                      <a:pt x="316" y="0"/>
                    </a:lnTo>
                    <a:lnTo>
                      <a:pt x="282" y="6"/>
                    </a:lnTo>
                    <a:lnTo>
                      <a:pt x="250" y="14"/>
                    </a:lnTo>
                    <a:lnTo>
                      <a:pt x="218" y="24"/>
                    </a:lnTo>
                    <a:lnTo>
                      <a:pt x="186" y="38"/>
                    </a:lnTo>
                    <a:lnTo>
                      <a:pt x="158" y="56"/>
                    </a:lnTo>
                    <a:lnTo>
                      <a:pt x="128" y="78"/>
                    </a:lnTo>
                    <a:lnTo>
                      <a:pt x="102" y="100"/>
                    </a:lnTo>
                    <a:lnTo>
                      <a:pt x="78" y="128"/>
                    </a:lnTo>
                    <a:lnTo>
                      <a:pt x="58" y="156"/>
                    </a:lnTo>
                    <a:lnTo>
                      <a:pt x="40" y="186"/>
                    </a:lnTo>
                    <a:lnTo>
                      <a:pt x="26" y="216"/>
                    </a:lnTo>
                    <a:lnTo>
                      <a:pt x="14" y="248"/>
                    </a:lnTo>
                    <a:lnTo>
                      <a:pt x="6" y="280"/>
                    </a:lnTo>
                    <a:lnTo>
                      <a:pt x="2" y="314"/>
                    </a:lnTo>
                    <a:lnTo>
                      <a:pt x="0" y="348"/>
                    </a:lnTo>
                    <a:lnTo>
                      <a:pt x="2" y="380"/>
                    </a:lnTo>
                    <a:lnTo>
                      <a:pt x="6" y="414"/>
                    </a:lnTo>
                    <a:lnTo>
                      <a:pt x="14" y="446"/>
                    </a:lnTo>
                    <a:lnTo>
                      <a:pt x="26" y="478"/>
                    </a:lnTo>
                    <a:lnTo>
                      <a:pt x="40" y="510"/>
                    </a:lnTo>
                    <a:lnTo>
                      <a:pt x="56" y="540"/>
                    </a:lnTo>
                    <a:lnTo>
                      <a:pt x="78" y="568"/>
                    </a:lnTo>
                    <a:lnTo>
                      <a:pt x="102" y="594"/>
                    </a:lnTo>
                    <a:lnTo>
                      <a:pt x="124" y="616"/>
                    </a:lnTo>
                    <a:lnTo>
                      <a:pt x="148" y="634"/>
                    </a:lnTo>
                    <a:lnTo>
                      <a:pt x="172" y="650"/>
                    </a:lnTo>
                    <a:lnTo>
                      <a:pt x="198" y="664"/>
                    </a:lnTo>
                    <a:lnTo>
                      <a:pt x="226" y="674"/>
                    </a:lnTo>
                    <a:lnTo>
                      <a:pt x="254" y="684"/>
                    </a:lnTo>
                    <a:lnTo>
                      <a:pt x="282" y="690"/>
                    </a:lnTo>
                    <a:lnTo>
                      <a:pt x="310" y="694"/>
                    </a:lnTo>
                    <a:lnTo>
                      <a:pt x="338" y="696"/>
                    </a:lnTo>
                    <a:lnTo>
                      <a:pt x="368" y="696"/>
                    </a:lnTo>
                    <a:lnTo>
                      <a:pt x="396" y="694"/>
                    </a:lnTo>
                    <a:lnTo>
                      <a:pt x="424" y="688"/>
                    </a:lnTo>
                    <a:lnTo>
                      <a:pt x="452" y="682"/>
                    </a:lnTo>
                    <a:lnTo>
                      <a:pt x="480" y="672"/>
                    </a:lnTo>
                    <a:lnTo>
                      <a:pt x="506" y="660"/>
                    </a:lnTo>
                    <a:lnTo>
                      <a:pt x="532" y="644"/>
                    </a:lnTo>
                    <a:lnTo>
                      <a:pt x="544" y="656"/>
                    </a:lnTo>
                    <a:lnTo>
                      <a:pt x="548" y="660"/>
                    </a:lnTo>
                    <a:lnTo>
                      <a:pt x="554" y="662"/>
                    </a:lnTo>
                    <a:lnTo>
                      <a:pt x="564" y="664"/>
                    </a:lnTo>
                    <a:lnTo>
                      <a:pt x="576" y="662"/>
                    </a:lnTo>
                    <a:lnTo>
                      <a:pt x="580" y="660"/>
                    </a:lnTo>
                    <a:lnTo>
                      <a:pt x="586" y="656"/>
                    </a:lnTo>
                    <a:lnTo>
                      <a:pt x="590" y="652"/>
                    </a:lnTo>
                    <a:lnTo>
                      <a:pt x="606" y="668"/>
                    </a:lnTo>
                    <a:lnTo>
                      <a:pt x="600" y="676"/>
                    </a:lnTo>
                    <a:lnTo>
                      <a:pt x="598" y="684"/>
                    </a:lnTo>
                    <a:lnTo>
                      <a:pt x="596" y="692"/>
                    </a:lnTo>
                    <a:lnTo>
                      <a:pt x="598" y="700"/>
                    </a:lnTo>
                    <a:lnTo>
                      <a:pt x="600" y="706"/>
                    </a:lnTo>
                    <a:lnTo>
                      <a:pt x="602" y="714"/>
                    </a:lnTo>
                    <a:lnTo>
                      <a:pt x="610" y="722"/>
                    </a:lnTo>
                    <a:lnTo>
                      <a:pt x="890" y="1004"/>
                    </a:lnTo>
                    <a:lnTo>
                      <a:pt x="898" y="1010"/>
                    </a:lnTo>
                    <a:lnTo>
                      <a:pt x="908" y="1016"/>
                    </a:lnTo>
                    <a:lnTo>
                      <a:pt x="916" y="1016"/>
                    </a:lnTo>
                    <a:lnTo>
                      <a:pt x="926" y="1016"/>
                    </a:lnTo>
                    <a:lnTo>
                      <a:pt x="932" y="1014"/>
                    </a:lnTo>
                    <a:lnTo>
                      <a:pt x="940" y="1012"/>
                    </a:lnTo>
                    <a:lnTo>
                      <a:pt x="950" y="1004"/>
                    </a:lnTo>
                    <a:lnTo>
                      <a:pt x="1002" y="952"/>
                    </a:lnTo>
                    <a:lnTo>
                      <a:pt x="1008" y="944"/>
                    </a:lnTo>
                    <a:lnTo>
                      <a:pt x="1014" y="934"/>
                    </a:lnTo>
                    <a:lnTo>
                      <a:pt x="1014" y="926"/>
                    </a:lnTo>
                    <a:lnTo>
                      <a:pt x="1014" y="918"/>
                    </a:lnTo>
                    <a:lnTo>
                      <a:pt x="1012" y="910"/>
                    </a:lnTo>
                    <a:lnTo>
                      <a:pt x="1010" y="902"/>
                    </a:lnTo>
                    <a:lnTo>
                      <a:pt x="1002" y="892"/>
                    </a:lnTo>
                    <a:lnTo>
                      <a:pt x="722" y="612"/>
                    </a:lnTo>
                    <a:lnTo>
                      <a:pt x="714" y="604"/>
                    </a:lnTo>
                    <a:lnTo>
                      <a:pt x="706" y="600"/>
                    </a:lnTo>
                    <a:lnTo>
                      <a:pt x="698" y="598"/>
                    </a:lnTo>
                    <a:lnTo>
                      <a:pt x="692" y="598"/>
                    </a:lnTo>
                    <a:lnTo>
                      <a:pt x="684" y="598"/>
                    </a:lnTo>
                    <a:lnTo>
                      <a:pt x="678" y="600"/>
                    </a:lnTo>
                    <a:lnTo>
                      <a:pt x="666" y="606"/>
                    </a:lnTo>
                    <a:lnTo>
                      <a:pt x="650" y="590"/>
                    </a:lnTo>
                    <a:lnTo>
                      <a:pt x="654" y="586"/>
                    </a:lnTo>
                    <a:lnTo>
                      <a:pt x="658" y="582"/>
                    </a:lnTo>
                    <a:lnTo>
                      <a:pt x="662" y="576"/>
                    </a:lnTo>
                    <a:lnTo>
                      <a:pt x="664" y="566"/>
                    </a:lnTo>
                    <a:lnTo>
                      <a:pt x="662" y="554"/>
                    </a:lnTo>
                    <a:lnTo>
                      <a:pt x="658" y="548"/>
                    </a:lnTo>
                    <a:lnTo>
                      <a:pt x="656" y="544"/>
                    </a:lnTo>
                    <a:lnTo>
                      <a:pt x="644" y="534"/>
                    </a:lnTo>
                    <a:lnTo>
                      <a:pt x="660" y="508"/>
                    </a:lnTo>
                    <a:lnTo>
                      <a:pt x="672" y="480"/>
                    </a:lnTo>
                    <a:lnTo>
                      <a:pt x="682" y="454"/>
                    </a:lnTo>
                    <a:lnTo>
                      <a:pt x="688" y="426"/>
                    </a:lnTo>
                    <a:lnTo>
                      <a:pt x="694" y="398"/>
                    </a:lnTo>
                    <a:lnTo>
                      <a:pt x="696" y="368"/>
                    </a:lnTo>
                    <a:lnTo>
                      <a:pt x="698" y="340"/>
                    </a:lnTo>
                    <a:lnTo>
                      <a:pt x="696" y="312"/>
                    </a:lnTo>
                    <a:lnTo>
                      <a:pt x="692" y="282"/>
                    </a:lnTo>
                    <a:lnTo>
                      <a:pt x="684" y="254"/>
                    </a:lnTo>
                    <a:lnTo>
                      <a:pt x="676" y="226"/>
                    </a:lnTo>
                    <a:lnTo>
                      <a:pt x="664" y="200"/>
                    </a:lnTo>
                    <a:lnTo>
                      <a:pt x="650" y="174"/>
                    </a:lnTo>
                    <a:lnTo>
                      <a:pt x="634" y="148"/>
                    </a:lnTo>
                    <a:lnTo>
                      <a:pt x="616" y="124"/>
                    </a:lnTo>
                    <a:lnTo>
                      <a:pt x="596"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28" name="Freeform 15">
                <a:extLst>
                  <a:ext uri="{FF2B5EF4-FFF2-40B4-BE49-F238E27FC236}">
                    <a16:creationId xmlns:a16="http://schemas.microsoft.com/office/drawing/2014/main" id="{BA742B75-CB4C-4512-90E9-0F2439A78052}"/>
                  </a:ext>
                </a:extLst>
              </p:cNvPr>
              <p:cNvSpPr>
                <a:spLocks/>
              </p:cNvSpPr>
              <p:nvPr/>
            </p:nvSpPr>
            <p:spPr bwMode="auto">
              <a:xfrm>
                <a:off x="1553" y="791"/>
                <a:ext cx="80" cy="82"/>
              </a:xfrm>
              <a:custGeom>
                <a:avLst/>
                <a:gdLst>
                  <a:gd name="T0" fmla="*/ 80 w 80"/>
                  <a:gd name="T1" fmla="*/ 8 h 82"/>
                  <a:gd name="T2" fmla="*/ 6 w 80"/>
                  <a:gd name="T3" fmla="*/ 82 h 82"/>
                  <a:gd name="T4" fmla="*/ 6 w 80"/>
                  <a:gd name="T5" fmla="*/ 82 h 82"/>
                  <a:gd name="T6" fmla="*/ 2 w 80"/>
                  <a:gd name="T7" fmla="*/ 76 h 82"/>
                  <a:gd name="T8" fmla="*/ 0 w 80"/>
                  <a:gd name="T9" fmla="*/ 68 h 82"/>
                  <a:gd name="T10" fmla="*/ 0 w 80"/>
                  <a:gd name="T11" fmla="*/ 62 h 82"/>
                  <a:gd name="T12" fmla="*/ 0 w 80"/>
                  <a:gd name="T13" fmla="*/ 56 h 82"/>
                  <a:gd name="T14" fmla="*/ 4 w 80"/>
                  <a:gd name="T15" fmla="*/ 48 h 82"/>
                  <a:gd name="T16" fmla="*/ 8 w 80"/>
                  <a:gd name="T17" fmla="*/ 44 h 82"/>
                  <a:gd name="T18" fmla="*/ 42 w 80"/>
                  <a:gd name="T19" fmla="*/ 10 h 82"/>
                  <a:gd name="T20" fmla="*/ 42 w 80"/>
                  <a:gd name="T21" fmla="*/ 10 h 82"/>
                  <a:gd name="T22" fmla="*/ 48 w 80"/>
                  <a:gd name="T23" fmla="*/ 6 h 82"/>
                  <a:gd name="T24" fmla="*/ 54 w 80"/>
                  <a:gd name="T25" fmla="*/ 2 h 82"/>
                  <a:gd name="T26" fmla="*/ 60 w 80"/>
                  <a:gd name="T27" fmla="*/ 0 h 82"/>
                  <a:gd name="T28" fmla="*/ 64 w 80"/>
                  <a:gd name="T29" fmla="*/ 0 h 82"/>
                  <a:gd name="T30" fmla="*/ 74 w 80"/>
                  <a:gd name="T31" fmla="*/ 4 h 82"/>
                  <a:gd name="T32" fmla="*/ 80 w 80"/>
                  <a:gd name="T33" fmla="*/ 8 h 82"/>
                  <a:gd name="T34" fmla="*/ 80 w 80"/>
                  <a:gd name="T35" fmla="*/ 8 h 8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0"/>
                  <a:gd name="T55" fmla="*/ 0 h 82"/>
                  <a:gd name="T56" fmla="*/ 80 w 80"/>
                  <a:gd name="T57" fmla="*/ 82 h 8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0" h="82">
                    <a:moveTo>
                      <a:pt x="80" y="8"/>
                    </a:moveTo>
                    <a:lnTo>
                      <a:pt x="6" y="82"/>
                    </a:lnTo>
                    <a:lnTo>
                      <a:pt x="2" y="76"/>
                    </a:lnTo>
                    <a:lnTo>
                      <a:pt x="0" y="68"/>
                    </a:lnTo>
                    <a:lnTo>
                      <a:pt x="0" y="62"/>
                    </a:lnTo>
                    <a:lnTo>
                      <a:pt x="0" y="56"/>
                    </a:lnTo>
                    <a:lnTo>
                      <a:pt x="4" y="48"/>
                    </a:lnTo>
                    <a:lnTo>
                      <a:pt x="8" y="44"/>
                    </a:lnTo>
                    <a:lnTo>
                      <a:pt x="42" y="10"/>
                    </a:lnTo>
                    <a:lnTo>
                      <a:pt x="48" y="6"/>
                    </a:lnTo>
                    <a:lnTo>
                      <a:pt x="54" y="2"/>
                    </a:lnTo>
                    <a:lnTo>
                      <a:pt x="60" y="0"/>
                    </a:lnTo>
                    <a:lnTo>
                      <a:pt x="64" y="0"/>
                    </a:lnTo>
                    <a:lnTo>
                      <a:pt x="74" y="4"/>
                    </a:lnTo>
                    <a:lnTo>
                      <a:pt x="80" y="8"/>
                    </a:lnTo>
                    <a:close/>
                  </a:path>
                </a:pathLst>
              </a:custGeom>
              <a:solidFill>
                <a:srgbClr val="E661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29" name="Freeform 16">
                <a:extLst>
                  <a:ext uri="{FF2B5EF4-FFF2-40B4-BE49-F238E27FC236}">
                    <a16:creationId xmlns:a16="http://schemas.microsoft.com/office/drawing/2014/main" id="{C0F51D59-DA4A-4679-9F46-1428B0E19858}"/>
                  </a:ext>
                </a:extLst>
              </p:cNvPr>
              <p:cNvSpPr>
                <a:spLocks/>
              </p:cNvSpPr>
              <p:nvPr/>
            </p:nvSpPr>
            <p:spPr bwMode="auto">
              <a:xfrm>
                <a:off x="1639" y="787"/>
                <a:ext cx="290" cy="292"/>
              </a:xfrm>
              <a:custGeom>
                <a:avLst/>
                <a:gdLst>
                  <a:gd name="T0" fmla="*/ 18 w 290"/>
                  <a:gd name="T1" fmla="*/ 0 h 292"/>
                  <a:gd name="T2" fmla="*/ 290 w 290"/>
                  <a:gd name="T3" fmla="*/ 274 h 292"/>
                  <a:gd name="T4" fmla="*/ 274 w 290"/>
                  <a:gd name="T5" fmla="*/ 292 h 292"/>
                  <a:gd name="T6" fmla="*/ 0 w 290"/>
                  <a:gd name="T7" fmla="*/ 16 h 292"/>
                  <a:gd name="T8" fmla="*/ 18 w 290"/>
                  <a:gd name="T9" fmla="*/ 0 h 292"/>
                  <a:gd name="T10" fmla="*/ 0 60000 65536"/>
                  <a:gd name="T11" fmla="*/ 0 60000 65536"/>
                  <a:gd name="T12" fmla="*/ 0 60000 65536"/>
                  <a:gd name="T13" fmla="*/ 0 60000 65536"/>
                  <a:gd name="T14" fmla="*/ 0 60000 65536"/>
                  <a:gd name="T15" fmla="*/ 0 w 290"/>
                  <a:gd name="T16" fmla="*/ 0 h 292"/>
                  <a:gd name="T17" fmla="*/ 290 w 290"/>
                  <a:gd name="T18" fmla="*/ 292 h 292"/>
                </a:gdLst>
                <a:ahLst/>
                <a:cxnLst>
                  <a:cxn ang="T10">
                    <a:pos x="T0" y="T1"/>
                  </a:cxn>
                  <a:cxn ang="T11">
                    <a:pos x="T2" y="T3"/>
                  </a:cxn>
                  <a:cxn ang="T12">
                    <a:pos x="T4" y="T5"/>
                  </a:cxn>
                  <a:cxn ang="T13">
                    <a:pos x="T6" y="T7"/>
                  </a:cxn>
                  <a:cxn ang="T14">
                    <a:pos x="T8" y="T9"/>
                  </a:cxn>
                </a:cxnLst>
                <a:rect l="T15" t="T16" r="T17" b="T18"/>
                <a:pathLst>
                  <a:path w="290" h="292">
                    <a:moveTo>
                      <a:pt x="18" y="0"/>
                    </a:moveTo>
                    <a:lnTo>
                      <a:pt x="290" y="274"/>
                    </a:lnTo>
                    <a:lnTo>
                      <a:pt x="274" y="292"/>
                    </a:lnTo>
                    <a:lnTo>
                      <a:pt x="0" y="16"/>
                    </a:lnTo>
                    <a:lnTo>
                      <a:pt x="18" y="0"/>
                    </a:lnTo>
                    <a:close/>
                  </a:path>
                </a:pathLst>
              </a:custGeom>
              <a:solidFill>
                <a:srgbClr val="EB8B3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30" name="Freeform 17">
                <a:extLst>
                  <a:ext uri="{FF2B5EF4-FFF2-40B4-BE49-F238E27FC236}">
                    <a16:creationId xmlns:a16="http://schemas.microsoft.com/office/drawing/2014/main" id="{89A9A906-27AA-410E-BCFA-8676A6C06A9B}"/>
                  </a:ext>
                </a:extLst>
              </p:cNvPr>
              <p:cNvSpPr>
                <a:spLocks/>
              </p:cNvSpPr>
              <p:nvPr/>
            </p:nvSpPr>
            <p:spPr bwMode="auto">
              <a:xfrm>
                <a:off x="1595" y="775"/>
                <a:ext cx="56" cy="26"/>
              </a:xfrm>
              <a:custGeom>
                <a:avLst/>
                <a:gdLst>
                  <a:gd name="T0" fmla="*/ 0 w 56"/>
                  <a:gd name="T1" fmla="*/ 26 h 26"/>
                  <a:gd name="T2" fmla="*/ 18 w 56"/>
                  <a:gd name="T3" fmla="*/ 10 h 26"/>
                  <a:gd name="T4" fmla="*/ 18 w 56"/>
                  <a:gd name="T5" fmla="*/ 10 h 26"/>
                  <a:gd name="T6" fmla="*/ 24 w 56"/>
                  <a:gd name="T7" fmla="*/ 4 h 26"/>
                  <a:gd name="T8" fmla="*/ 28 w 56"/>
                  <a:gd name="T9" fmla="*/ 2 h 26"/>
                  <a:gd name="T10" fmla="*/ 34 w 56"/>
                  <a:gd name="T11" fmla="*/ 0 h 26"/>
                  <a:gd name="T12" fmla="*/ 40 w 56"/>
                  <a:gd name="T13" fmla="*/ 0 h 26"/>
                  <a:gd name="T14" fmla="*/ 48 w 56"/>
                  <a:gd name="T15" fmla="*/ 2 h 26"/>
                  <a:gd name="T16" fmla="*/ 56 w 56"/>
                  <a:gd name="T17" fmla="*/ 6 h 26"/>
                  <a:gd name="T18" fmla="*/ 38 w 56"/>
                  <a:gd name="T19" fmla="*/ 24 h 26"/>
                  <a:gd name="T20" fmla="*/ 38 w 56"/>
                  <a:gd name="T21" fmla="*/ 24 h 26"/>
                  <a:gd name="T22" fmla="*/ 32 w 56"/>
                  <a:gd name="T23" fmla="*/ 20 h 26"/>
                  <a:gd name="T24" fmla="*/ 22 w 56"/>
                  <a:gd name="T25" fmla="*/ 16 h 26"/>
                  <a:gd name="T26" fmla="*/ 18 w 56"/>
                  <a:gd name="T27" fmla="*/ 16 h 26"/>
                  <a:gd name="T28" fmla="*/ 12 w 56"/>
                  <a:gd name="T29" fmla="*/ 18 h 26"/>
                  <a:gd name="T30" fmla="*/ 6 w 56"/>
                  <a:gd name="T31" fmla="*/ 22 h 26"/>
                  <a:gd name="T32" fmla="*/ 0 w 56"/>
                  <a:gd name="T33" fmla="*/ 26 h 26"/>
                  <a:gd name="T34" fmla="*/ 0 w 56"/>
                  <a:gd name="T35" fmla="*/ 26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6"/>
                  <a:gd name="T55" fmla="*/ 0 h 26"/>
                  <a:gd name="T56" fmla="*/ 56 w 56"/>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6" h="26">
                    <a:moveTo>
                      <a:pt x="0" y="26"/>
                    </a:moveTo>
                    <a:lnTo>
                      <a:pt x="18" y="10"/>
                    </a:lnTo>
                    <a:lnTo>
                      <a:pt x="24" y="4"/>
                    </a:lnTo>
                    <a:lnTo>
                      <a:pt x="28" y="2"/>
                    </a:lnTo>
                    <a:lnTo>
                      <a:pt x="34" y="0"/>
                    </a:lnTo>
                    <a:lnTo>
                      <a:pt x="40" y="0"/>
                    </a:lnTo>
                    <a:lnTo>
                      <a:pt x="48" y="2"/>
                    </a:lnTo>
                    <a:lnTo>
                      <a:pt x="56" y="6"/>
                    </a:lnTo>
                    <a:lnTo>
                      <a:pt x="38" y="24"/>
                    </a:lnTo>
                    <a:lnTo>
                      <a:pt x="32" y="20"/>
                    </a:lnTo>
                    <a:lnTo>
                      <a:pt x="22" y="16"/>
                    </a:lnTo>
                    <a:lnTo>
                      <a:pt x="18" y="16"/>
                    </a:lnTo>
                    <a:lnTo>
                      <a:pt x="12" y="18"/>
                    </a:lnTo>
                    <a:lnTo>
                      <a:pt x="6" y="22"/>
                    </a:lnTo>
                    <a:lnTo>
                      <a:pt x="0" y="26"/>
                    </a:lnTo>
                    <a:close/>
                  </a:path>
                </a:pathLst>
              </a:custGeom>
              <a:solidFill>
                <a:srgbClr val="EB8B3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31" name="Freeform 18">
                <a:extLst>
                  <a:ext uri="{FF2B5EF4-FFF2-40B4-BE49-F238E27FC236}">
                    <a16:creationId xmlns:a16="http://schemas.microsoft.com/office/drawing/2014/main" id="{CD922D8C-38F4-4D92-89CD-D3304E863CA9}"/>
                  </a:ext>
                </a:extLst>
              </p:cNvPr>
              <p:cNvSpPr>
                <a:spLocks/>
              </p:cNvSpPr>
              <p:nvPr/>
            </p:nvSpPr>
            <p:spPr bwMode="auto">
              <a:xfrm>
                <a:off x="1563" y="803"/>
                <a:ext cx="350" cy="350"/>
              </a:xfrm>
              <a:custGeom>
                <a:avLst/>
                <a:gdLst>
                  <a:gd name="T0" fmla="*/ 76 w 350"/>
                  <a:gd name="T1" fmla="*/ 0 h 350"/>
                  <a:gd name="T2" fmla="*/ 350 w 350"/>
                  <a:gd name="T3" fmla="*/ 276 h 350"/>
                  <a:gd name="T4" fmla="*/ 274 w 350"/>
                  <a:gd name="T5" fmla="*/ 350 h 350"/>
                  <a:gd name="T6" fmla="*/ 0 w 350"/>
                  <a:gd name="T7" fmla="*/ 76 h 350"/>
                  <a:gd name="T8" fmla="*/ 76 w 350"/>
                  <a:gd name="T9" fmla="*/ 0 h 350"/>
                  <a:gd name="T10" fmla="*/ 0 60000 65536"/>
                  <a:gd name="T11" fmla="*/ 0 60000 65536"/>
                  <a:gd name="T12" fmla="*/ 0 60000 65536"/>
                  <a:gd name="T13" fmla="*/ 0 60000 65536"/>
                  <a:gd name="T14" fmla="*/ 0 60000 65536"/>
                  <a:gd name="T15" fmla="*/ 0 w 350"/>
                  <a:gd name="T16" fmla="*/ 0 h 350"/>
                  <a:gd name="T17" fmla="*/ 350 w 350"/>
                  <a:gd name="T18" fmla="*/ 350 h 350"/>
                </a:gdLst>
                <a:ahLst/>
                <a:cxnLst>
                  <a:cxn ang="T10">
                    <a:pos x="T0" y="T1"/>
                  </a:cxn>
                  <a:cxn ang="T11">
                    <a:pos x="T2" y="T3"/>
                  </a:cxn>
                  <a:cxn ang="T12">
                    <a:pos x="T4" y="T5"/>
                  </a:cxn>
                  <a:cxn ang="T13">
                    <a:pos x="T6" y="T7"/>
                  </a:cxn>
                  <a:cxn ang="T14">
                    <a:pos x="T8" y="T9"/>
                  </a:cxn>
                </a:cxnLst>
                <a:rect l="T15" t="T16" r="T17" b="T18"/>
                <a:pathLst>
                  <a:path w="350" h="350">
                    <a:moveTo>
                      <a:pt x="76" y="0"/>
                    </a:moveTo>
                    <a:lnTo>
                      <a:pt x="350" y="276"/>
                    </a:lnTo>
                    <a:lnTo>
                      <a:pt x="274" y="350"/>
                    </a:lnTo>
                    <a:lnTo>
                      <a:pt x="0" y="76"/>
                    </a:lnTo>
                    <a:lnTo>
                      <a:pt x="76" y="0"/>
                    </a:lnTo>
                    <a:close/>
                  </a:path>
                </a:pathLst>
              </a:custGeom>
              <a:solidFill>
                <a:srgbClr val="E661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32" name="Freeform 19">
                <a:extLst>
                  <a:ext uri="{FF2B5EF4-FFF2-40B4-BE49-F238E27FC236}">
                    <a16:creationId xmlns:a16="http://schemas.microsoft.com/office/drawing/2014/main" id="{D980E7FC-C505-4845-A025-C37C02D61C14}"/>
                  </a:ext>
                </a:extLst>
              </p:cNvPr>
              <p:cNvSpPr>
                <a:spLocks/>
              </p:cNvSpPr>
              <p:nvPr/>
            </p:nvSpPr>
            <p:spPr bwMode="auto">
              <a:xfrm>
                <a:off x="1843" y="1067"/>
                <a:ext cx="98" cy="98"/>
              </a:xfrm>
              <a:custGeom>
                <a:avLst/>
                <a:gdLst>
                  <a:gd name="T0" fmla="*/ 92 w 98"/>
                  <a:gd name="T1" fmla="*/ 0 h 98"/>
                  <a:gd name="T2" fmla="*/ 92 w 98"/>
                  <a:gd name="T3" fmla="*/ 0 h 98"/>
                  <a:gd name="T4" fmla="*/ 96 w 98"/>
                  <a:gd name="T5" fmla="*/ 8 h 98"/>
                  <a:gd name="T6" fmla="*/ 98 w 98"/>
                  <a:gd name="T7" fmla="*/ 14 h 98"/>
                  <a:gd name="T8" fmla="*/ 98 w 98"/>
                  <a:gd name="T9" fmla="*/ 20 h 98"/>
                  <a:gd name="T10" fmla="*/ 98 w 98"/>
                  <a:gd name="T11" fmla="*/ 26 h 98"/>
                  <a:gd name="T12" fmla="*/ 92 w 98"/>
                  <a:gd name="T13" fmla="*/ 34 h 98"/>
                  <a:gd name="T14" fmla="*/ 90 w 98"/>
                  <a:gd name="T15" fmla="*/ 38 h 98"/>
                  <a:gd name="T16" fmla="*/ 38 w 98"/>
                  <a:gd name="T17" fmla="*/ 90 h 98"/>
                  <a:gd name="T18" fmla="*/ 38 w 98"/>
                  <a:gd name="T19" fmla="*/ 90 h 98"/>
                  <a:gd name="T20" fmla="*/ 32 w 98"/>
                  <a:gd name="T21" fmla="*/ 94 h 98"/>
                  <a:gd name="T22" fmla="*/ 26 w 98"/>
                  <a:gd name="T23" fmla="*/ 98 h 98"/>
                  <a:gd name="T24" fmla="*/ 22 w 98"/>
                  <a:gd name="T25" fmla="*/ 98 h 98"/>
                  <a:gd name="T26" fmla="*/ 16 w 98"/>
                  <a:gd name="T27" fmla="*/ 98 h 98"/>
                  <a:gd name="T28" fmla="*/ 8 w 98"/>
                  <a:gd name="T29" fmla="*/ 96 h 98"/>
                  <a:gd name="T30" fmla="*/ 0 w 98"/>
                  <a:gd name="T31" fmla="*/ 92 h 98"/>
                  <a:gd name="T32" fmla="*/ 92 w 98"/>
                  <a:gd name="T33" fmla="*/ 0 h 9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98"/>
                  <a:gd name="T53" fmla="*/ 98 w 98"/>
                  <a:gd name="T54" fmla="*/ 98 h 9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98">
                    <a:moveTo>
                      <a:pt x="92" y="0"/>
                    </a:moveTo>
                    <a:lnTo>
                      <a:pt x="92" y="0"/>
                    </a:lnTo>
                    <a:lnTo>
                      <a:pt x="96" y="8"/>
                    </a:lnTo>
                    <a:lnTo>
                      <a:pt x="98" y="14"/>
                    </a:lnTo>
                    <a:lnTo>
                      <a:pt x="98" y="20"/>
                    </a:lnTo>
                    <a:lnTo>
                      <a:pt x="98" y="26"/>
                    </a:lnTo>
                    <a:lnTo>
                      <a:pt x="92" y="34"/>
                    </a:lnTo>
                    <a:lnTo>
                      <a:pt x="90" y="38"/>
                    </a:lnTo>
                    <a:lnTo>
                      <a:pt x="38" y="90"/>
                    </a:lnTo>
                    <a:lnTo>
                      <a:pt x="32" y="94"/>
                    </a:lnTo>
                    <a:lnTo>
                      <a:pt x="26" y="98"/>
                    </a:lnTo>
                    <a:lnTo>
                      <a:pt x="22" y="98"/>
                    </a:lnTo>
                    <a:lnTo>
                      <a:pt x="16" y="98"/>
                    </a:lnTo>
                    <a:lnTo>
                      <a:pt x="8" y="96"/>
                    </a:lnTo>
                    <a:lnTo>
                      <a:pt x="0" y="92"/>
                    </a:lnTo>
                    <a:lnTo>
                      <a:pt x="92" y="0"/>
                    </a:lnTo>
                    <a:close/>
                  </a:path>
                </a:pathLst>
              </a:custGeom>
              <a:solidFill>
                <a:srgbClr val="BF5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33" name="Freeform 20">
                <a:extLst>
                  <a:ext uri="{FF2B5EF4-FFF2-40B4-BE49-F238E27FC236}">
                    <a16:creationId xmlns:a16="http://schemas.microsoft.com/office/drawing/2014/main" id="{F6489EDF-FB85-43B8-95FF-FB7F1519164E}"/>
                  </a:ext>
                </a:extLst>
              </p:cNvPr>
              <p:cNvSpPr>
                <a:spLocks/>
              </p:cNvSpPr>
              <p:nvPr/>
            </p:nvSpPr>
            <p:spPr bwMode="auto">
              <a:xfrm>
                <a:off x="1623" y="811"/>
                <a:ext cx="282" cy="282"/>
              </a:xfrm>
              <a:custGeom>
                <a:avLst/>
                <a:gdLst>
                  <a:gd name="T0" fmla="*/ 8 w 282"/>
                  <a:gd name="T1" fmla="*/ 0 h 282"/>
                  <a:gd name="T2" fmla="*/ 282 w 282"/>
                  <a:gd name="T3" fmla="*/ 276 h 282"/>
                  <a:gd name="T4" fmla="*/ 274 w 282"/>
                  <a:gd name="T5" fmla="*/ 282 h 282"/>
                  <a:gd name="T6" fmla="*/ 0 w 282"/>
                  <a:gd name="T7" fmla="*/ 8 h 282"/>
                  <a:gd name="T8" fmla="*/ 8 w 282"/>
                  <a:gd name="T9" fmla="*/ 0 h 282"/>
                  <a:gd name="T10" fmla="*/ 0 60000 65536"/>
                  <a:gd name="T11" fmla="*/ 0 60000 65536"/>
                  <a:gd name="T12" fmla="*/ 0 60000 65536"/>
                  <a:gd name="T13" fmla="*/ 0 60000 65536"/>
                  <a:gd name="T14" fmla="*/ 0 60000 65536"/>
                  <a:gd name="T15" fmla="*/ 0 w 282"/>
                  <a:gd name="T16" fmla="*/ 0 h 282"/>
                  <a:gd name="T17" fmla="*/ 282 w 282"/>
                  <a:gd name="T18" fmla="*/ 282 h 282"/>
                </a:gdLst>
                <a:ahLst/>
                <a:cxnLst>
                  <a:cxn ang="T10">
                    <a:pos x="T0" y="T1"/>
                  </a:cxn>
                  <a:cxn ang="T11">
                    <a:pos x="T2" y="T3"/>
                  </a:cxn>
                  <a:cxn ang="T12">
                    <a:pos x="T4" y="T5"/>
                  </a:cxn>
                  <a:cxn ang="T13">
                    <a:pos x="T6" y="T7"/>
                  </a:cxn>
                  <a:cxn ang="T14">
                    <a:pos x="T8" y="T9"/>
                  </a:cxn>
                </a:cxnLst>
                <a:rect l="T15" t="T16" r="T17" b="T18"/>
                <a:pathLst>
                  <a:path w="282" h="282">
                    <a:moveTo>
                      <a:pt x="8" y="0"/>
                    </a:moveTo>
                    <a:lnTo>
                      <a:pt x="282" y="276"/>
                    </a:lnTo>
                    <a:lnTo>
                      <a:pt x="274" y="282"/>
                    </a:lnTo>
                    <a:lnTo>
                      <a:pt x="0" y="8"/>
                    </a:lnTo>
                    <a:lnTo>
                      <a:pt x="8" y="0"/>
                    </a:lnTo>
                    <a:close/>
                  </a:path>
                </a:pathLst>
              </a:custGeom>
              <a:solidFill>
                <a:srgbClr val="EB8B3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34" name="Freeform 21">
                <a:extLst>
                  <a:ext uri="{FF2B5EF4-FFF2-40B4-BE49-F238E27FC236}">
                    <a16:creationId xmlns:a16="http://schemas.microsoft.com/office/drawing/2014/main" id="{BE82BF18-DF51-42B4-BC60-DC17F00E7E8F}"/>
                  </a:ext>
                </a:extLst>
              </p:cNvPr>
              <p:cNvSpPr>
                <a:spLocks/>
              </p:cNvSpPr>
              <p:nvPr/>
            </p:nvSpPr>
            <p:spPr bwMode="auto">
              <a:xfrm>
                <a:off x="1589" y="797"/>
                <a:ext cx="36" cy="16"/>
              </a:xfrm>
              <a:custGeom>
                <a:avLst/>
                <a:gdLst>
                  <a:gd name="T0" fmla="*/ 0 w 36"/>
                  <a:gd name="T1" fmla="*/ 10 h 16"/>
                  <a:gd name="T2" fmla="*/ 6 w 36"/>
                  <a:gd name="T3" fmla="*/ 4 h 16"/>
                  <a:gd name="T4" fmla="*/ 6 w 36"/>
                  <a:gd name="T5" fmla="*/ 4 h 16"/>
                  <a:gd name="T6" fmla="*/ 10 w 36"/>
                  <a:gd name="T7" fmla="*/ 0 h 16"/>
                  <a:gd name="T8" fmla="*/ 14 w 36"/>
                  <a:gd name="T9" fmla="*/ 0 h 16"/>
                  <a:gd name="T10" fmla="*/ 24 w 36"/>
                  <a:gd name="T11" fmla="*/ 0 h 16"/>
                  <a:gd name="T12" fmla="*/ 30 w 36"/>
                  <a:gd name="T13" fmla="*/ 4 h 16"/>
                  <a:gd name="T14" fmla="*/ 36 w 36"/>
                  <a:gd name="T15" fmla="*/ 8 h 16"/>
                  <a:gd name="T16" fmla="*/ 30 w 36"/>
                  <a:gd name="T17" fmla="*/ 16 h 16"/>
                  <a:gd name="T18" fmla="*/ 30 w 36"/>
                  <a:gd name="T19" fmla="*/ 16 h 16"/>
                  <a:gd name="T20" fmla="*/ 24 w 36"/>
                  <a:gd name="T21" fmla="*/ 12 h 16"/>
                  <a:gd name="T22" fmla="*/ 16 w 36"/>
                  <a:gd name="T23" fmla="*/ 8 h 16"/>
                  <a:gd name="T24" fmla="*/ 8 w 36"/>
                  <a:gd name="T25" fmla="*/ 6 h 16"/>
                  <a:gd name="T26" fmla="*/ 4 w 36"/>
                  <a:gd name="T27" fmla="*/ 8 h 16"/>
                  <a:gd name="T28" fmla="*/ 0 w 36"/>
                  <a:gd name="T29" fmla="*/ 10 h 16"/>
                  <a:gd name="T30" fmla="*/ 0 w 36"/>
                  <a:gd name="T31" fmla="*/ 10 h 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
                  <a:gd name="T49" fmla="*/ 0 h 16"/>
                  <a:gd name="T50" fmla="*/ 36 w 36"/>
                  <a:gd name="T51" fmla="*/ 16 h 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 h="16">
                    <a:moveTo>
                      <a:pt x="0" y="10"/>
                    </a:moveTo>
                    <a:lnTo>
                      <a:pt x="6" y="4"/>
                    </a:lnTo>
                    <a:lnTo>
                      <a:pt x="10" y="0"/>
                    </a:lnTo>
                    <a:lnTo>
                      <a:pt x="14" y="0"/>
                    </a:lnTo>
                    <a:lnTo>
                      <a:pt x="24" y="0"/>
                    </a:lnTo>
                    <a:lnTo>
                      <a:pt x="30" y="4"/>
                    </a:lnTo>
                    <a:lnTo>
                      <a:pt x="36" y="8"/>
                    </a:lnTo>
                    <a:lnTo>
                      <a:pt x="30" y="16"/>
                    </a:lnTo>
                    <a:lnTo>
                      <a:pt x="24" y="12"/>
                    </a:lnTo>
                    <a:lnTo>
                      <a:pt x="16" y="8"/>
                    </a:lnTo>
                    <a:lnTo>
                      <a:pt x="8" y="6"/>
                    </a:lnTo>
                    <a:lnTo>
                      <a:pt x="4" y="8"/>
                    </a:lnTo>
                    <a:lnTo>
                      <a:pt x="0" y="10"/>
                    </a:lnTo>
                    <a:close/>
                  </a:path>
                </a:pathLst>
              </a:custGeom>
              <a:solidFill>
                <a:srgbClr val="EB8B3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35" name="Freeform 22">
                <a:extLst>
                  <a:ext uri="{FF2B5EF4-FFF2-40B4-BE49-F238E27FC236}">
                    <a16:creationId xmlns:a16="http://schemas.microsoft.com/office/drawing/2014/main" id="{46D25432-D617-4052-9B5C-5E01181D34DC}"/>
                  </a:ext>
                </a:extLst>
              </p:cNvPr>
              <p:cNvSpPr>
                <a:spLocks/>
              </p:cNvSpPr>
              <p:nvPr/>
            </p:nvSpPr>
            <p:spPr bwMode="auto">
              <a:xfrm>
                <a:off x="1851" y="1139"/>
                <a:ext cx="44" cy="20"/>
              </a:xfrm>
              <a:custGeom>
                <a:avLst/>
                <a:gdLst>
                  <a:gd name="T0" fmla="*/ 44 w 44"/>
                  <a:gd name="T1" fmla="*/ 4 h 20"/>
                  <a:gd name="T2" fmla="*/ 32 w 44"/>
                  <a:gd name="T3" fmla="*/ 16 h 20"/>
                  <a:gd name="T4" fmla="*/ 32 w 44"/>
                  <a:gd name="T5" fmla="*/ 16 h 20"/>
                  <a:gd name="T6" fmla="*/ 28 w 44"/>
                  <a:gd name="T7" fmla="*/ 18 h 20"/>
                  <a:gd name="T8" fmla="*/ 24 w 44"/>
                  <a:gd name="T9" fmla="*/ 20 h 20"/>
                  <a:gd name="T10" fmla="*/ 14 w 44"/>
                  <a:gd name="T11" fmla="*/ 20 h 20"/>
                  <a:gd name="T12" fmla="*/ 6 w 44"/>
                  <a:gd name="T13" fmla="*/ 16 h 20"/>
                  <a:gd name="T14" fmla="*/ 0 w 44"/>
                  <a:gd name="T15" fmla="*/ 12 h 20"/>
                  <a:gd name="T16" fmla="*/ 12 w 44"/>
                  <a:gd name="T17" fmla="*/ 0 h 20"/>
                  <a:gd name="T18" fmla="*/ 12 w 44"/>
                  <a:gd name="T19" fmla="*/ 0 h 20"/>
                  <a:gd name="T20" fmla="*/ 18 w 44"/>
                  <a:gd name="T21" fmla="*/ 6 h 20"/>
                  <a:gd name="T22" fmla="*/ 26 w 44"/>
                  <a:gd name="T23" fmla="*/ 8 h 20"/>
                  <a:gd name="T24" fmla="*/ 36 w 44"/>
                  <a:gd name="T25" fmla="*/ 10 h 20"/>
                  <a:gd name="T26" fmla="*/ 40 w 44"/>
                  <a:gd name="T27" fmla="*/ 8 h 20"/>
                  <a:gd name="T28" fmla="*/ 44 w 44"/>
                  <a:gd name="T29" fmla="*/ 4 h 20"/>
                  <a:gd name="T30" fmla="*/ 44 w 44"/>
                  <a:gd name="T31" fmla="*/ 4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4"/>
                  <a:gd name="T49" fmla="*/ 0 h 20"/>
                  <a:gd name="T50" fmla="*/ 44 w 44"/>
                  <a:gd name="T51" fmla="*/ 20 h 2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4" h="20">
                    <a:moveTo>
                      <a:pt x="44" y="4"/>
                    </a:moveTo>
                    <a:lnTo>
                      <a:pt x="32" y="16"/>
                    </a:lnTo>
                    <a:lnTo>
                      <a:pt x="28" y="18"/>
                    </a:lnTo>
                    <a:lnTo>
                      <a:pt x="24" y="20"/>
                    </a:lnTo>
                    <a:lnTo>
                      <a:pt x="14" y="20"/>
                    </a:lnTo>
                    <a:lnTo>
                      <a:pt x="6" y="16"/>
                    </a:lnTo>
                    <a:lnTo>
                      <a:pt x="0" y="12"/>
                    </a:lnTo>
                    <a:lnTo>
                      <a:pt x="12" y="0"/>
                    </a:lnTo>
                    <a:lnTo>
                      <a:pt x="18" y="6"/>
                    </a:lnTo>
                    <a:lnTo>
                      <a:pt x="26" y="8"/>
                    </a:lnTo>
                    <a:lnTo>
                      <a:pt x="36" y="10"/>
                    </a:lnTo>
                    <a:lnTo>
                      <a:pt x="40" y="8"/>
                    </a:lnTo>
                    <a:lnTo>
                      <a:pt x="44" y="4"/>
                    </a:lnTo>
                    <a:close/>
                  </a:path>
                </a:pathLst>
              </a:custGeom>
              <a:solidFill>
                <a:srgbClr val="BF5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36" name="Freeform 23">
                <a:extLst>
                  <a:ext uri="{FF2B5EF4-FFF2-40B4-BE49-F238E27FC236}">
                    <a16:creationId xmlns:a16="http://schemas.microsoft.com/office/drawing/2014/main" id="{BD135B67-0795-497A-996E-5B68307F2679}"/>
                  </a:ext>
                </a:extLst>
              </p:cNvPr>
              <p:cNvSpPr>
                <a:spLocks/>
              </p:cNvSpPr>
              <p:nvPr/>
            </p:nvSpPr>
            <p:spPr bwMode="auto">
              <a:xfrm>
                <a:off x="1573" y="859"/>
                <a:ext cx="284" cy="286"/>
              </a:xfrm>
              <a:custGeom>
                <a:avLst/>
                <a:gdLst>
                  <a:gd name="T0" fmla="*/ 10 w 284"/>
                  <a:gd name="T1" fmla="*/ 0 h 286"/>
                  <a:gd name="T2" fmla="*/ 284 w 284"/>
                  <a:gd name="T3" fmla="*/ 276 h 286"/>
                  <a:gd name="T4" fmla="*/ 272 w 284"/>
                  <a:gd name="T5" fmla="*/ 286 h 286"/>
                  <a:gd name="T6" fmla="*/ 0 w 284"/>
                  <a:gd name="T7" fmla="*/ 12 h 286"/>
                  <a:gd name="T8" fmla="*/ 10 w 284"/>
                  <a:gd name="T9" fmla="*/ 0 h 286"/>
                  <a:gd name="T10" fmla="*/ 0 60000 65536"/>
                  <a:gd name="T11" fmla="*/ 0 60000 65536"/>
                  <a:gd name="T12" fmla="*/ 0 60000 65536"/>
                  <a:gd name="T13" fmla="*/ 0 60000 65536"/>
                  <a:gd name="T14" fmla="*/ 0 60000 65536"/>
                  <a:gd name="T15" fmla="*/ 0 w 284"/>
                  <a:gd name="T16" fmla="*/ 0 h 286"/>
                  <a:gd name="T17" fmla="*/ 284 w 284"/>
                  <a:gd name="T18" fmla="*/ 286 h 286"/>
                </a:gdLst>
                <a:ahLst/>
                <a:cxnLst>
                  <a:cxn ang="T10">
                    <a:pos x="T0" y="T1"/>
                  </a:cxn>
                  <a:cxn ang="T11">
                    <a:pos x="T2" y="T3"/>
                  </a:cxn>
                  <a:cxn ang="T12">
                    <a:pos x="T4" y="T5"/>
                  </a:cxn>
                  <a:cxn ang="T13">
                    <a:pos x="T6" y="T7"/>
                  </a:cxn>
                  <a:cxn ang="T14">
                    <a:pos x="T8" y="T9"/>
                  </a:cxn>
                </a:cxnLst>
                <a:rect l="T15" t="T16" r="T17" b="T18"/>
                <a:pathLst>
                  <a:path w="284" h="286">
                    <a:moveTo>
                      <a:pt x="10" y="0"/>
                    </a:moveTo>
                    <a:lnTo>
                      <a:pt x="284" y="276"/>
                    </a:lnTo>
                    <a:lnTo>
                      <a:pt x="272" y="286"/>
                    </a:lnTo>
                    <a:lnTo>
                      <a:pt x="0" y="12"/>
                    </a:lnTo>
                    <a:lnTo>
                      <a:pt x="10" y="0"/>
                    </a:lnTo>
                    <a:close/>
                  </a:path>
                </a:pathLst>
              </a:custGeom>
              <a:solidFill>
                <a:srgbClr val="BF5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37" name="Freeform 24">
                <a:extLst>
                  <a:ext uri="{FF2B5EF4-FFF2-40B4-BE49-F238E27FC236}">
                    <a16:creationId xmlns:a16="http://schemas.microsoft.com/office/drawing/2014/main" id="{1DB13CAE-864C-4F34-AA59-8D8A7B6AC55E}"/>
                  </a:ext>
                </a:extLst>
              </p:cNvPr>
              <p:cNvSpPr>
                <a:spLocks/>
              </p:cNvSpPr>
              <p:nvPr/>
            </p:nvSpPr>
            <p:spPr bwMode="auto">
              <a:xfrm>
                <a:off x="1559" y="821"/>
                <a:ext cx="18" cy="44"/>
              </a:xfrm>
              <a:custGeom>
                <a:avLst/>
                <a:gdLst>
                  <a:gd name="T0" fmla="*/ 18 w 18"/>
                  <a:gd name="T1" fmla="*/ 32 h 44"/>
                  <a:gd name="T2" fmla="*/ 8 w 18"/>
                  <a:gd name="T3" fmla="*/ 44 h 44"/>
                  <a:gd name="T4" fmla="*/ 8 w 18"/>
                  <a:gd name="T5" fmla="*/ 44 h 44"/>
                  <a:gd name="T6" fmla="*/ 2 w 18"/>
                  <a:gd name="T7" fmla="*/ 38 h 44"/>
                  <a:gd name="T8" fmla="*/ 0 w 18"/>
                  <a:gd name="T9" fmla="*/ 32 h 44"/>
                  <a:gd name="T10" fmla="*/ 0 w 18"/>
                  <a:gd name="T11" fmla="*/ 26 h 44"/>
                  <a:gd name="T12" fmla="*/ 0 w 18"/>
                  <a:gd name="T13" fmla="*/ 22 h 44"/>
                  <a:gd name="T14" fmla="*/ 2 w 18"/>
                  <a:gd name="T15" fmla="*/ 14 h 44"/>
                  <a:gd name="T16" fmla="*/ 4 w 18"/>
                  <a:gd name="T17" fmla="*/ 12 h 44"/>
                  <a:gd name="T18" fmla="*/ 16 w 18"/>
                  <a:gd name="T19" fmla="*/ 0 h 44"/>
                  <a:gd name="T20" fmla="*/ 16 w 18"/>
                  <a:gd name="T21" fmla="*/ 0 h 44"/>
                  <a:gd name="T22" fmla="*/ 14 w 18"/>
                  <a:gd name="T23" fmla="*/ 4 h 44"/>
                  <a:gd name="T24" fmla="*/ 10 w 18"/>
                  <a:gd name="T25" fmla="*/ 10 h 44"/>
                  <a:gd name="T26" fmla="*/ 10 w 18"/>
                  <a:gd name="T27" fmla="*/ 14 h 44"/>
                  <a:gd name="T28" fmla="*/ 12 w 18"/>
                  <a:gd name="T29" fmla="*/ 20 h 44"/>
                  <a:gd name="T30" fmla="*/ 14 w 18"/>
                  <a:gd name="T31" fmla="*/ 26 h 44"/>
                  <a:gd name="T32" fmla="*/ 18 w 18"/>
                  <a:gd name="T33" fmla="*/ 32 h 44"/>
                  <a:gd name="T34" fmla="*/ 18 w 18"/>
                  <a:gd name="T35" fmla="*/ 32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
                  <a:gd name="T55" fmla="*/ 0 h 44"/>
                  <a:gd name="T56" fmla="*/ 18 w 18"/>
                  <a:gd name="T57" fmla="*/ 44 h 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 h="44">
                    <a:moveTo>
                      <a:pt x="18" y="32"/>
                    </a:moveTo>
                    <a:lnTo>
                      <a:pt x="8" y="44"/>
                    </a:lnTo>
                    <a:lnTo>
                      <a:pt x="2" y="38"/>
                    </a:lnTo>
                    <a:lnTo>
                      <a:pt x="0" y="32"/>
                    </a:lnTo>
                    <a:lnTo>
                      <a:pt x="0" y="26"/>
                    </a:lnTo>
                    <a:lnTo>
                      <a:pt x="0" y="22"/>
                    </a:lnTo>
                    <a:lnTo>
                      <a:pt x="2" y="14"/>
                    </a:lnTo>
                    <a:lnTo>
                      <a:pt x="4" y="12"/>
                    </a:lnTo>
                    <a:lnTo>
                      <a:pt x="16" y="0"/>
                    </a:lnTo>
                    <a:lnTo>
                      <a:pt x="14" y="4"/>
                    </a:lnTo>
                    <a:lnTo>
                      <a:pt x="10" y="10"/>
                    </a:lnTo>
                    <a:lnTo>
                      <a:pt x="10" y="14"/>
                    </a:lnTo>
                    <a:lnTo>
                      <a:pt x="12" y="20"/>
                    </a:lnTo>
                    <a:lnTo>
                      <a:pt x="14" y="26"/>
                    </a:lnTo>
                    <a:lnTo>
                      <a:pt x="18" y="32"/>
                    </a:lnTo>
                    <a:close/>
                  </a:path>
                </a:pathLst>
              </a:custGeom>
              <a:solidFill>
                <a:srgbClr val="BF5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38" name="Freeform 25">
                <a:extLst>
                  <a:ext uri="{FF2B5EF4-FFF2-40B4-BE49-F238E27FC236}">
                    <a16:creationId xmlns:a16="http://schemas.microsoft.com/office/drawing/2014/main" id="{76E1C8E7-7751-4AB4-99DD-D97CAA22046C}"/>
                  </a:ext>
                </a:extLst>
              </p:cNvPr>
              <p:cNvSpPr>
                <a:spLocks/>
              </p:cNvSpPr>
              <p:nvPr/>
            </p:nvSpPr>
            <p:spPr bwMode="auto">
              <a:xfrm>
                <a:off x="1541" y="763"/>
                <a:ext cx="56" cy="58"/>
              </a:xfrm>
              <a:custGeom>
                <a:avLst/>
                <a:gdLst>
                  <a:gd name="T0" fmla="*/ 52 w 56"/>
                  <a:gd name="T1" fmla="*/ 12 h 58"/>
                  <a:gd name="T2" fmla="*/ 52 w 56"/>
                  <a:gd name="T3" fmla="*/ 12 h 58"/>
                  <a:gd name="T4" fmla="*/ 40 w 56"/>
                  <a:gd name="T5" fmla="*/ 0 h 58"/>
                  <a:gd name="T6" fmla="*/ 40 w 56"/>
                  <a:gd name="T7" fmla="*/ 0 h 58"/>
                  <a:gd name="T8" fmla="*/ 10 w 56"/>
                  <a:gd name="T9" fmla="*/ 32 h 58"/>
                  <a:gd name="T10" fmla="*/ 10 w 56"/>
                  <a:gd name="T11" fmla="*/ 32 h 58"/>
                  <a:gd name="T12" fmla="*/ 0 w 56"/>
                  <a:gd name="T13" fmla="*/ 42 h 58"/>
                  <a:gd name="T14" fmla="*/ 0 w 56"/>
                  <a:gd name="T15" fmla="*/ 42 h 58"/>
                  <a:gd name="T16" fmla="*/ 16 w 56"/>
                  <a:gd name="T17" fmla="*/ 58 h 58"/>
                  <a:gd name="T18" fmla="*/ 56 w 56"/>
                  <a:gd name="T19" fmla="*/ 16 h 58"/>
                  <a:gd name="T20" fmla="*/ 56 w 56"/>
                  <a:gd name="T21" fmla="*/ 16 h 58"/>
                  <a:gd name="T22" fmla="*/ 52 w 56"/>
                  <a:gd name="T23" fmla="*/ 12 h 58"/>
                  <a:gd name="T24" fmla="*/ 52 w 56"/>
                  <a:gd name="T25" fmla="*/ 12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58"/>
                  <a:gd name="T41" fmla="*/ 56 w 5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58">
                    <a:moveTo>
                      <a:pt x="52" y="12"/>
                    </a:moveTo>
                    <a:lnTo>
                      <a:pt x="52" y="12"/>
                    </a:lnTo>
                    <a:lnTo>
                      <a:pt x="40" y="0"/>
                    </a:lnTo>
                    <a:lnTo>
                      <a:pt x="10" y="32"/>
                    </a:lnTo>
                    <a:lnTo>
                      <a:pt x="0" y="42"/>
                    </a:lnTo>
                    <a:lnTo>
                      <a:pt x="16" y="58"/>
                    </a:lnTo>
                    <a:lnTo>
                      <a:pt x="56" y="16"/>
                    </a:lnTo>
                    <a:lnTo>
                      <a:pt x="52" y="12"/>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39" name="Freeform 26">
                <a:extLst>
                  <a:ext uri="{FF2B5EF4-FFF2-40B4-BE49-F238E27FC236}">
                    <a16:creationId xmlns:a16="http://schemas.microsoft.com/office/drawing/2014/main" id="{30C23DA1-641F-4A0C-8DED-265559B2A2D1}"/>
                  </a:ext>
                </a:extLst>
              </p:cNvPr>
              <p:cNvSpPr>
                <a:spLocks noEditPoints="1"/>
              </p:cNvSpPr>
              <p:nvPr/>
            </p:nvSpPr>
            <p:spPr bwMode="auto">
              <a:xfrm>
                <a:off x="1165" y="265"/>
                <a:ext cx="380" cy="454"/>
              </a:xfrm>
              <a:custGeom>
                <a:avLst/>
                <a:gdLst>
                  <a:gd name="T0" fmla="*/ 0 w 380"/>
                  <a:gd name="T1" fmla="*/ 44 h 454"/>
                  <a:gd name="T2" fmla="*/ 48 w 380"/>
                  <a:gd name="T3" fmla="*/ 30 h 454"/>
                  <a:gd name="T4" fmla="*/ 98 w 380"/>
                  <a:gd name="T5" fmla="*/ 24 h 454"/>
                  <a:gd name="T6" fmla="*/ 148 w 380"/>
                  <a:gd name="T7" fmla="*/ 30 h 454"/>
                  <a:gd name="T8" fmla="*/ 196 w 380"/>
                  <a:gd name="T9" fmla="*/ 46 h 454"/>
                  <a:gd name="T10" fmla="*/ 212 w 380"/>
                  <a:gd name="T11" fmla="*/ 10 h 454"/>
                  <a:gd name="T12" fmla="*/ 156 w 380"/>
                  <a:gd name="T13" fmla="*/ 0 h 454"/>
                  <a:gd name="T14" fmla="*/ 102 w 380"/>
                  <a:gd name="T15" fmla="*/ 2 h 454"/>
                  <a:gd name="T16" fmla="*/ 48 w 380"/>
                  <a:gd name="T17" fmla="*/ 18 h 454"/>
                  <a:gd name="T18" fmla="*/ 0 w 380"/>
                  <a:gd name="T19" fmla="*/ 44 h 454"/>
                  <a:gd name="T20" fmla="*/ 310 w 380"/>
                  <a:gd name="T21" fmla="*/ 70 h 454"/>
                  <a:gd name="T22" fmla="*/ 298 w 380"/>
                  <a:gd name="T23" fmla="*/ 58 h 454"/>
                  <a:gd name="T24" fmla="*/ 256 w 380"/>
                  <a:gd name="T25" fmla="*/ 28 h 454"/>
                  <a:gd name="T26" fmla="*/ 238 w 380"/>
                  <a:gd name="T27" fmla="*/ 70 h 454"/>
                  <a:gd name="T28" fmla="*/ 266 w 380"/>
                  <a:gd name="T29" fmla="*/ 94 h 454"/>
                  <a:gd name="T30" fmla="*/ 282 w 380"/>
                  <a:gd name="T31" fmla="*/ 112 h 454"/>
                  <a:gd name="T32" fmla="*/ 310 w 380"/>
                  <a:gd name="T33" fmla="*/ 152 h 454"/>
                  <a:gd name="T34" fmla="*/ 326 w 380"/>
                  <a:gd name="T35" fmla="*/ 194 h 454"/>
                  <a:gd name="T36" fmla="*/ 336 w 380"/>
                  <a:gd name="T37" fmla="*/ 240 h 454"/>
                  <a:gd name="T38" fmla="*/ 336 w 380"/>
                  <a:gd name="T39" fmla="*/ 286 h 454"/>
                  <a:gd name="T40" fmla="*/ 326 w 380"/>
                  <a:gd name="T41" fmla="*/ 330 h 454"/>
                  <a:gd name="T42" fmla="*/ 308 w 380"/>
                  <a:gd name="T43" fmla="*/ 374 h 454"/>
                  <a:gd name="T44" fmla="*/ 282 w 380"/>
                  <a:gd name="T45" fmla="*/ 412 h 454"/>
                  <a:gd name="T46" fmla="*/ 266 w 380"/>
                  <a:gd name="T47" fmla="*/ 430 h 454"/>
                  <a:gd name="T48" fmla="*/ 238 w 380"/>
                  <a:gd name="T49" fmla="*/ 454 h 454"/>
                  <a:gd name="T50" fmla="*/ 256 w 380"/>
                  <a:gd name="T51" fmla="*/ 446 h 454"/>
                  <a:gd name="T52" fmla="*/ 294 w 380"/>
                  <a:gd name="T53" fmla="*/ 420 h 454"/>
                  <a:gd name="T54" fmla="*/ 310 w 380"/>
                  <a:gd name="T55" fmla="*/ 406 h 454"/>
                  <a:gd name="T56" fmla="*/ 340 w 380"/>
                  <a:gd name="T57" fmla="*/ 368 h 454"/>
                  <a:gd name="T58" fmla="*/ 362 w 380"/>
                  <a:gd name="T59" fmla="*/ 328 h 454"/>
                  <a:gd name="T60" fmla="*/ 376 w 380"/>
                  <a:gd name="T61" fmla="*/ 282 h 454"/>
                  <a:gd name="T62" fmla="*/ 380 w 380"/>
                  <a:gd name="T63" fmla="*/ 238 h 454"/>
                  <a:gd name="T64" fmla="*/ 376 w 380"/>
                  <a:gd name="T65" fmla="*/ 192 h 454"/>
                  <a:gd name="T66" fmla="*/ 362 w 380"/>
                  <a:gd name="T67" fmla="*/ 148 h 454"/>
                  <a:gd name="T68" fmla="*/ 342 w 380"/>
                  <a:gd name="T69" fmla="*/ 106 h 454"/>
                  <a:gd name="T70" fmla="*/ 310 w 380"/>
                  <a:gd name="T71" fmla="*/ 70 h 45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80"/>
                  <a:gd name="T109" fmla="*/ 0 h 454"/>
                  <a:gd name="T110" fmla="*/ 380 w 380"/>
                  <a:gd name="T111" fmla="*/ 454 h 45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80" h="454">
                    <a:moveTo>
                      <a:pt x="0" y="44"/>
                    </a:moveTo>
                    <a:lnTo>
                      <a:pt x="0" y="44"/>
                    </a:lnTo>
                    <a:lnTo>
                      <a:pt x="24" y="36"/>
                    </a:lnTo>
                    <a:lnTo>
                      <a:pt x="48" y="30"/>
                    </a:lnTo>
                    <a:lnTo>
                      <a:pt x="72" y="26"/>
                    </a:lnTo>
                    <a:lnTo>
                      <a:pt x="98" y="24"/>
                    </a:lnTo>
                    <a:lnTo>
                      <a:pt x="124" y="26"/>
                    </a:lnTo>
                    <a:lnTo>
                      <a:pt x="148" y="30"/>
                    </a:lnTo>
                    <a:lnTo>
                      <a:pt x="172" y="36"/>
                    </a:lnTo>
                    <a:lnTo>
                      <a:pt x="196" y="46"/>
                    </a:lnTo>
                    <a:lnTo>
                      <a:pt x="212" y="10"/>
                    </a:lnTo>
                    <a:lnTo>
                      <a:pt x="184" y="4"/>
                    </a:lnTo>
                    <a:lnTo>
                      <a:pt x="156" y="0"/>
                    </a:lnTo>
                    <a:lnTo>
                      <a:pt x="130" y="0"/>
                    </a:lnTo>
                    <a:lnTo>
                      <a:pt x="102" y="2"/>
                    </a:lnTo>
                    <a:lnTo>
                      <a:pt x="74" y="8"/>
                    </a:lnTo>
                    <a:lnTo>
                      <a:pt x="48" y="18"/>
                    </a:lnTo>
                    <a:lnTo>
                      <a:pt x="24" y="30"/>
                    </a:lnTo>
                    <a:lnTo>
                      <a:pt x="0" y="44"/>
                    </a:lnTo>
                    <a:close/>
                    <a:moveTo>
                      <a:pt x="310" y="70"/>
                    </a:moveTo>
                    <a:lnTo>
                      <a:pt x="310" y="70"/>
                    </a:lnTo>
                    <a:lnTo>
                      <a:pt x="298" y="58"/>
                    </a:lnTo>
                    <a:lnTo>
                      <a:pt x="284" y="46"/>
                    </a:lnTo>
                    <a:lnTo>
                      <a:pt x="256" y="28"/>
                    </a:lnTo>
                    <a:lnTo>
                      <a:pt x="238" y="70"/>
                    </a:lnTo>
                    <a:lnTo>
                      <a:pt x="252" y="82"/>
                    </a:lnTo>
                    <a:lnTo>
                      <a:pt x="266" y="94"/>
                    </a:lnTo>
                    <a:lnTo>
                      <a:pt x="282" y="112"/>
                    </a:lnTo>
                    <a:lnTo>
                      <a:pt x="298" y="132"/>
                    </a:lnTo>
                    <a:lnTo>
                      <a:pt x="310" y="152"/>
                    </a:lnTo>
                    <a:lnTo>
                      <a:pt x="318" y="172"/>
                    </a:lnTo>
                    <a:lnTo>
                      <a:pt x="326" y="194"/>
                    </a:lnTo>
                    <a:lnTo>
                      <a:pt x="332" y="218"/>
                    </a:lnTo>
                    <a:lnTo>
                      <a:pt x="336" y="240"/>
                    </a:lnTo>
                    <a:lnTo>
                      <a:pt x="336" y="262"/>
                    </a:lnTo>
                    <a:lnTo>
                      <a:pt x="336" y="286"/>
                    </a:lnTo>
                    <a:lnTo>
                      <a:pt x="332" y="308"/>
                    </a:lnTo>
                    <a:lnTo>
                      <a:pt x="326" y="330"/>
                    </a:lnTo>
                    <a:lnTo>
                      <a:pt x="318" y="352"/>
                    </a:lnTo>
                    <a:lnTo>
                      <a:pt x="308" y="374"/>
                    </a:lnTo>
                    <a:lnTo>
                      <a:pt x="296" y="394"/>
                    </a:lnTo>
                    <a:lnTo>
                      <a:pt x="282" y="412"/>
                    </a:lnTo>
                    <a:lnTo>
                      <a:pt x="266" y="430"/>
                    </a:lnTo>
                    <a:lnTo>
                      <a:pt x="252" y="444"/>
                    </a:lnTo>
                    <a:lnTo>
                      <a:pt x="238" y="454"/>
                    </a:lnTo>
                    <a:lnTo>
                      <a:pt x="256" y="446"/>
                    </a:lnTo>
                    <a:lnTo>
                      <a:pt x="276" y="434"/>
                    </a:lnTo>
                    <a:lnTo>
                      <a:pt x="294" y="420"/>
                    </a:lnTo>
                    <a:lnTo>
                      <a:pt x="310" y="406"/>
                    </a:lnTo>
                    <a:lnTo>
                      <a:pt x="326" y="388"/>
                    </a:lnTo>
                    <a:lnTo>
                      <a:pt x="340" y="368"/>
                    </a:lnTo>
                    <a:lnTo>
                      <a:pt x="352" y="348"/>
                    </a:lnTo>
                    <a:lnTo>
                      <a:pt x="362" y="328"/>
                    </a:lnTo>
                    <a:lnTo>
                      <a:pt x="370" y="306"/>
                    </a:lnTo>
                    <a:lnTo>
                      <a:pt x="376" y="282"/>
                    </a:lnTo>
                    <a:lnTo>
                      <a:pt x="380" y="260"/>
                    </a:lnTo>
                    <a:lnTo>
                      <a:pt x="380" y="238"/>
                    </a:lnTo>
                    <a:lnTo>
                      <a:pt x="380" y="214"/>
                    </a:lnTo>
                    <a:lnTo>
                      <a:pt x="376" y="192"/>
                    </a:lnTo>
                    <a:lnTo>
                      <a:pt x="370" y="170"/>
                    </a:lnTo>
                    <a:lnTo>
                      <a:pt x="362" y="148"/>
                    </a:lnTo>
                    <a:lnTo>
                      <a:pt x="354" y="126"/>
                    </a:lnTo>
                    <a:lnTo>
                      <a:pt x="342" y="106"/>
                    </a:lnTo>
                    <a:lnTo>
                      <a:pt x="326" y="88"/>
                    </a:lnTo>
                    <a:lnTo>
                      <a:pt x="310" y="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40" name="Freeform 27">
                <a:extLst>
                  <a:ext uri="{FF2B5EF4-FFF2-40B4-BE49-F238E27FC236}">
                    <a16:creationId xmlns:a16="http://schemas.microsoft.com/office/drawing/2014/main" id="{8EDB6C17-5103-46C4-9CA4-B4B10F49976A}"/>
                  </a:ext>
                </a:extLst>
              </p:cNvPr>
              <p:cNvSpPr>
                <a:spLocks/>
              </p:cNvSpPr>
              <p:nvPr/>
            </p:nvSpPr>
            <p:spPr bwMode="auto">
              <a:xfrm>
                <a:off x="1033" y="353"/>
                <a:ext cx="362" cy="404"/>
              </a:xfrm>
              <a:custGeom>
                <a:avLst/>
                <a:gdLst>
                  <a:gd name="T0" fmla="*/ 122 w 362"/>
                  <a:gd name="T1" fmla="*/ 330 h 404"/>
                  <a:gd name="T2" fmla="*/ 122 w 362"/>
                  <a:gd name="T3" fmla="*/ 330 h 404"/>
                  <a:gd name="T4" fmla="*/ 104 w 362"/>
                  <a:gd name="T5" fmla="*/ 314 h 404"/>
                  <a:gd name="T6" fmla="*/ 88 w 362"/>
                  <a:gd name="T7" fmla="*/ 296 h 404"/>
                  <a:gd name="T8" fmla="*/ 74 w 362"/>
                  <a:gd name="T9" fmla="*/ 278 h 404"/>
                  <a:gd name="T10" fmla="*/ 62 w 362"/>
                  <a:gd name="T11" fmla="*/ 260 h 404"/>
                  <a:gd name="T12" fmla="*/ 52 w 362"/>
                  <a:gd name="T13" fmla="*/ 238 h 404"/>
                  <a:gd name="T14" fmla="*/ 42 w 362"/>
                  <a:gd name="T15" fmla="*/ 218 h 404"/>
                  <a:gd name="T16" fmla="*/ 36 w 362"/>
                  <a:gd name="T17" fmla="*/ 196 h 404"/>
                  <a:gd name="T18" fmla="*/ 32 w 362"/>
                  <a:gd name="T19" fmla="*/ 174 h 404"/>
                  <a:gd name="T20" fmla="*/ 30 w 362"/>
                  <a:gd name="T21" fmla="*/ 152 h 404"/>
                  <a:gd name="T22" fmla="*/ 28 w 362"/>
                  <a:gd name="T23" fmla="*/ 130 h 404"/>
                  <a:gd name="T24" fmla="*/ 30 w 362"/>
                  <a:gd name="T25" fmla="*/ 108 h 404"/>
                  <a:gd name="T26" fmla="*/ 34 w 362"/>
                  <a:gd name="T27" fmla="*/ 86 h 404"/>
                  <a:gd name="T28" fmla="*/ 40 w 362"/>
                  <a:gd name="T29" fmla="*/ 64 h 404"/>
                  <a:gd name="T30" fmla="*/ 46 w 362"/>
                  <a:gd name="T31" fmla="*/ 42 h 404"/>
                  <a:gd name="T32" fmla="*/ 56 w 362"/>
                  <a:gd name="T33" fmla="*/ 22 h 404"/>
                  <a:gd name="T34" fmla="*/ 68 w 362"/>
                  <a:gd name="T35" fmla="*/ 0 h 404"/>
                  <a:gd name="T36" fmla="*/ 68 w 362"/>
                  <a:gd name="T37" fmla="*/ 0 h 404"/>
                  <a:gd name="T38" fmla="*/ 56 w 362"/>
                  <a:gd name="T39" fmla="*/ 16 h 404"/>
                  <a:gd name="T40" fmla="*/ 44 w 362"/>
                  <a:gd name="T41" fmla="*/ 32 h 404"/>
                  <a:gd name="T42" fmla="*/ 32 w 362"/>
                  <a:gd name="T43" fmla="*/ 48 h 404"/>
                  <a:gd name="T44" fmla="*/ 24 w 362"/>
                  <a:gd name="T45" fmla="*/ 64 h 404"/>
                  <a:gd name="T46" fmla="*/ 16 w 362"/>
                  <a:gd name="T47" fmla="*/ 82 h 404"/>
                  <a:gd name="T48" fmla="*/ 10 w 362"/>
                  <a:gd name="T49" fmla="*/ 100 h 404"/>
                  <a:gd name="T50" fmla="*/ 6 w 362"/>
                  <a:gd name="T51" fmla="*/ 120 h 404"/>
                  <a:gd name="T52" fmla="*/ 2 w 362"/>
                  <a:gd name="T53" fmla="*/ 138 h 404"/>
                  <a:gd name="T54" fmla="*/ 0 w 362"/>
                  <a:gd name="T55" fmla="*/ 158 h 404"/>
                  <a:gd name="T56" fmla="*/ 0 w 362"/>
                  <a:gd name="T57" fmla="*/ 176 h 404"/>
                  <a:gd name="T58" fmla="*/ 2 w 362"/>
                  <a:gd name="T59" fmla="*/ 196 h 404"/>
                  <a:gd name="T60" fmla="*/ 6 w 362"/>
                  <a:gd name="T61" fmla="*/ 214 h 404"/>
                  <a:gd name="T62" fmla="*/ 10 w 362"/>
                  <a:gd name="T63" fmla="*/ 234 h 404"/>
                  <a:gd name="T64" fmla="*/ 16 w 362"/>
                  <a:gd name="T65" fmla="*/ 252 h 404"/>
                  <a:gd name="T66" fmla="*/ 26 w 362"/>
                  <a:gd name="T67" fmla="*/ 272 h 404"/>
                  <a:gd name="T68" fmla="*/ 34 w 362"/>
                  <a:gd name="T69" fmla="*/ 290 h 404"/>
                  <a:gd name="T70" fmla="*/ 34 w 362"/>
                  <a:gd name="T71" fmla="*/ 290 h 404"/>
                  <a:gd name="T72" fmla="*/ 48 w 362"/>
                  <a:gd name="T73" fmla="*/ 310 h 404"/>
                  <a:gd name="T74" fmla="*/ 64 w 362"/>
                  <a:gd name="T75" fmla="*/ 328 h 404"/>
                  <a:gd name="T76" fmla="*/ 80 w 362"/>
                  <a:gd name="T77" fmla="*/ 344 h 404"/>
                  <a:gd name="T78" fmla="*/ 98 w 362"/>
                  <a:gd name="T79" fmla="*/ 358 h 404"/>
                  <a:gd name="T80" fmla="*/ 118 w 362"/>
                  <a:gd name="T81" fmla="*/ 372 h 404"/>
                  <a:gd name="T82" fmla="*/ 138 w 362"/>
                  <a:gd name="T83" fmla="*/ 382 h 404"/>
                  <a:gd name="T84" fmla="*/ 160 w 362"/>
                  <a:gd name="T85" fmla="*/ 390 h 404"/>
                  <a:gd name="T86" fmla="*/ 182 w 362"/>
                  <a:gd name="T87" fmla="*/ 398 h 404"/>
                  <a:gd name="T88" fmla="*/ 204 w 362"/>
                  <a:gd name="T89" fmla="*/ 402 h 404"/>
                  <a:gd name="T90" fmla="*/ 226 w 362"/>
                  <a:gd name="T91" fmla="*/ 404 h 404"/>
                  <a:gd name="T92" fmla="*/ 250 w 362"/>
                  <a:gd name="T93" fmla="*/ 404 h 404"/>
                  <a:gd name="T94" fmla="*/ 272 w 362"/>
                  <a:gd name="T95" fmla="*/ 402 h 404"/>
                  <a:gd name="T96" fmla="*/ 296 w 362"/>
                  <a:gd name="T97" fmla="*/ 398 h 404"/>
                  <a:gd name="T98" fmla="*/ 318 w 362"/>
                  <a:gd name="T99" fmla="*/ 392 h 404"/>
                  <a:gd name="T100" fmla="*/ 340 w 362"/>
                  <a:gd name="T101" fmla="*/ 382 h 404"/>
                  <a:gd name="T102" fmla="*/ 362 w 362"/>
                  <a:gd name="T103" fmla="*/ 372 h 404"/>
                  <a:gd name="T104" fmla="*/ 362 w 362"/>
                  <a:gd name="T105" fmla="*/ 372 h 404"/>
                  <a:gd name="T106" fmla="*/ 332 w 362"/>
                  <a:gd name="T107" fmla="*/ 380 h 404"/>
                  <a:gd name="T108" fmla="*/ 302 w 362"/>
                  <a:gd name="T109" fmla="*/ 384 h 404"/>
                  <a:gd name="T110" fmla="*/ 270 w 362"/>
                  <a:gd name="T111" fmla="*/ 384 h 404"/>
                  <a:gd name="T112" fmla="*/ 238 w 362"/>
                  <a:gd name="T113" fmla="*/ 382 h 404"/>
                  <a:gd name="T114" fmla="*/ 208 w 362"/>
                  <a:gd name="T115" fmla="*/ 374 h 404"/>
                  <a:gd name="T116" fmla="*/ 178 w 362"/>
                  <a:gd name="T117" fmla="*/ 364 h 404"/>
                  <a:gd name="T118" fmla="*/ 150 w 362"/>
                  <a:gd name="T119" fmla="*/ 348 h 404"/>
                  <a:gd name="T120" fmla="*/ 122 w 362"/>
                  <a:gd name="T121" fmla="*/ 330 h 404"/>
                  <a:gd name="T122" fmla="*/ 122 w 362"/>
                  <a:gd name="T123" fmla="*/ 330 h 40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2"/>
                  <a:gd name="T187" fmla="*/ 0 h 404"/>
                  <a:gd name="T188" fmla="*/ 362 w 362"/>
                  <a:gd name="T189" fmla="*/ 404 h 40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2" h="404">
                    <a:moveTo>
                      <a:pt x="122" y="330"/>
                    </a:moveTo>
                    <a:lnTo>
                      <a:pt x="122" y="330"/>
                    </a:lnTo>
                    <a:lnTo>
                      <a:pt x="104" y="314"/>
                    </a:lnTo>
                    <a:lnTo>
                      <a:pt x="88" y="296"/>
                    </a:lnTo>
                    <a:lnTo>
                      <a:pt x="74" y="278"/>
                    </a:lnTo>
                    <a:lnTo>
                      <a:pt x="62" y="260"/>
                    </a:lnTo>
                    <a:lnTo>
                      <a:pt x="52" y="238"/>
                    </a:lnTo>
                    <a:lnTo>
                      <a:pt x="42" y="218"/>
                    </a:lnTo>
                    <a:lnTo>
                      <a:pt x="36" y="196"/>
                    </a:lnTo>
                    <a:lnTo>
                      <a:pt x="32" y="174"/>
                    </a:lnTo>
                    <a:lnTo>
                      <a:pt x="30" y="152"/>
                    </a:lnTo>
                    <a:lnTo>
                      <a:pt x="28" y="130"/>
                    </a:lnTo>
                    <a:lnTo>
                      <a:pt x="30" y="108"/>
                    </a:lnTo>
                    <a:lnTo>
                      <a:pt x="34" y="86"/>
                    </a:lnTo>
                    <a:lnTo>
                      <a:pt x="40" y="64"/>
                    </a:lnTo>
                    <a:lnTo>
                      <a:pt x="46" y="42"/>
                    </a:lnTo>
                    <a:lnTo>
                      <a:pt x="56" y="22"/>
                    </a:lnTo>
                    <a:lnTo>
                      <a:pt x="68" y="0"/>
                    </a:lnTo>
                    <a:lnTo>
                      <a:pt x="56" y="16"/>
                    </a:lnTo>
                    <a:lnTo>
                      <a:pt x="44" y="32"/>
                    </a:lnTo>
                    <a:lnTo>
                      <a:pt x="32" y="48"/>
                    </a:lnTo>
                    <a:lnTo>
                      <a:pt x="24" y="64"/>
                    </a:lnTo>
                    <a:lnTo>
                      <a:pt x="16" y="82"/>
                    </a:lnTo>
                    <a:lnTo>
                      <a:pt x="10" y="100"/>
                    </a:lnTo>
                    <a:lnTo>
                      <a:pt x="6" y="120"/>
                    </a:lnTo>
                    <a:lnTo>
                      <a:pt x="2" y="138"/>
                    </a:lnTo>
                    <a:lnTo>
                      <a:pt x="0" y="158"/>
                    </a:lnTo>
                    <a:lnTo>
                      <a:pt x="0" y="176"/>
                    </a:lnTo>
                    <a:lnTo>
                      <a:pt x="2" y="196"/>
                    </a:lnTo>
                    <a:lnTo>
                      <a:pt x="6" y="214"/>
                    </a:lnTo>
                    <a:lnTo>
                      <a:pt x="10" y="234"/>
                    </a:lnTo>
                    <a:lnTo>
                      <a:pt x="16" y="252"/>
                    </a:lnTo>
                    <a:lnTo>
                      <a:pt x="26" y="272"/>
                    </a:lnTo>
                    <a:lnTo>
                      <a:pt x="34" y="290"/>
                    </a:lnTo>
                    <a:lnTo>
                      <a:pt x="48" y="310"/>
                    </a:lnTo>
                    <a:lnTo>
                      <a:pt x="64" y="328"/>
                    </a:lnTo>
                    <a:lnTo>
                      <a:pt x="80" y="344"/>
                    </a:lnTo>
                    <a:lnTo>
                      <a:pt x="98" y="358"/>
                    </a:lnTo>
                    <a:lnTo>
                      <a:pt x="118" y="372"/>
                    </a:lnTo>
                    <a:lnTo>
                      <a:pt x="138" y="382"/>
                    </a:lnTo>
                    <a:lnTo>
                      <a:pt x="160" y="390"/>
                    </a:lnTo>
                    <a:lnTo>
                      <a:pt x="182" y="398"/>
                    </a:lnTo>
                    <a:lnTo>
                      <a:pt x="204" y="402"/>
                    </a:lnTo>
                    <a:lnTo>
                      <a:pt x="226" y="404"/>
                    </a:lnTo>
                    <a:lnTo>
                      <a:pt x="250" y="404"/>
                    </a:lnTo>
                    <a:lnTo>
                      <a:pt x="272" y="402"/>
                    </a:lnTo>
                    <a:lnTo>
                      <a:pt x="296" y="398"/>
                    </a:lnTo>
                    <a:lnTo>
                      <a:pt x="318" y="392"/>
                    </a:lnTo>
                    <a:lnTo>
                      <a:pt x="340" y="382"/>
                    </a:lnTo>
                    <a:lnTo>
                      <a:pt x="362" y="372"/>
                    </a:lnTo>
                    <a:lnTo>
                      <a:pt x="332" y="380"/>
                    </a:lnTo>
                    <a:lnTo>
                      <a:pt x="302" y="384"/>
                    </a:lnTo>
                    <a:lnTo>
                      <a:pt x="270" y="384"/>
                    </a:lnTo>
                    <a:lnTo>
                      <a:pt x="238" y="382"/>
                    </a:lnTo>
                    <a:lnTo>
                      <a:pt x="208" y="374"/>
                    </a:lnTo>
                    <a:lnTo>
                      <a:pt x="178" y="364"/>
                    </a:lnTo>
                    <a:lnTo>
                      <a:pt x="150" y="348"/>
                    </a:lnTo>
                    <a:lnTo>
                      <a:pt x="122" y="33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41" name="Freeform 28">
                <a:extLst>
                  <a:ext uri="{FF2B5EF4-FFF2-40B4-BE49-F238E27FC236}">
                    <a16:creationId xmlns:a16="http://schemas.microsoft.com/office/drawing/2014/main" id="{0F13CA84-1987-434C-8E39-AF53ED560390}"/>
                  </a:ext>
                </a:extLst>
              </p:cNvPr>
              <p:cNvSpPr>
                <a:spLocks/>
              </p:cNvSpPr>
              <p:nvPr/>
            </p:nvSpPr>
            <p:spPr bwMode="auto">
              <a:xfrm>
                <a:off x="1541" y="793"/>
                <a:ext cx="30" cy="28"/>
              </a:xfrm>
              <a:custGeom>
                <a:avLst/>
                <a:gdLst>
                  <a:gd name="T0" fmla="*/ 12 w 30"/>
                  <a:gd name="T1" fmla="*/ 0 h 28"/>
                  <a:gd name="T2" fmla="*/ 12 w 30"/>
                  <a:gd name="T3" fmla="*/ 0 h 28"/>
                  <a:gd name="T4" fmla="*/ 10 w 30"/>
                  <a:gd name="T5" fmla="*/ 2 h 28"/>
                  <a:gd name="T6" fmla="*/ 10 w 30"/>
                  <a:gd name="T7" fmla="*/ 2 h 28"/>
                  <a:gd name="T8" fmla="*/ 0 w 30"/>
                  <a:gd name="T9" fmla="*/ 12 h 28"/>
                  <a:gd name="T10" fmla="*/ 0 w 30"/>
                  <a:gd name="T11" fmla="*/ 12 h 28"/>
                  <a:gd name="T12" fmla="*/ 16 w 30"/>
                  <a:gd name="T13" fmla="*/ 28 h 28"/>
                  <a:gd name="T14" fmla="*/ 30 w 30"/>
                  <a:gd name="T15" fmla="*/ 12 h 28"/>
                  <a:gd name="T16" fmla="*/ 30 w 30"/>
                  <a:gd name="T17" fmla="*/ 12 h 28"/>
                  <a:gd name="T18" fmla="*/ 20 w 30"/>
                  <a:gd name="T19" fmla="*/ 8 h 28"/>
                  <a:gd name="T20" fmla="*/ 14 w 30"/>
                  <a:gd name="T21" fmla="*/ 4 h 28"/>
                  <a:gd name="T22" fmla="*/ 12 w 30"/>
                  <a:gd name="T23" fmla="*/ 0 h 28"/>
                  <a:gd name="T24" fmla="*/ 12 w 30"/>
                  <a:gd name="T25" fmla="*/ 0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28"/>
                  <a:gd name="T41" fmla="*/ 30 w 30"/>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28">
                    <a:moveTo>
                      <a:pt x="12" y="0"/>
                    </a:moveTo>
                    <a:lnTo>
                      <a:pt x="12" y="0"/>
                    </a:lnTo>
                    <a:lnTo>
                      <a:pt x="10" y="2"/>
                    </a:lnTo>
                    <a:lnTo>
                      <a:pt x="0" y="12"/>
                    </a:lnTo>
                    <a:lnTo>
                      <a:pt x="16" y="28"/>
                    </a:lnTo>
                    <a:lnTo>
                      <a:pt x="30" y="12"/>
                    </a:lnTo>
                    <a:lnTo>
                      <a:pt x="20" y="8"/>
                    </a:lnTo>
                    <a:lnTo>
                      <a:pt x="14" y="4"/>
                    </a:lnTo>
                    <a:lnTo>
                      <a:pt x="12" y="0"/>
                    </a:ln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87062" name="그룹 642">
              <a:extLst>
                <a:ext uri="{FF2B5EF4-FFF2-40B4-BE49-F238E27FC236}">
                  <a16:creationId xmlns:a16="http://schemas.microsoft.com/office/drawing/2014/main" id="{7ADB898C-359F-43B4-AEBE-866BC2319B55}"/>
                </a:ext>
              </a:extLst>
            </p:cNvPr>
            <p:cNvGrpSpPr>
              <a:grpSpLocks/>
            </p:cNvGrpSpPr>
            <p:nvPr/>
          </p:nvGrpSpPr>
          <p:grpSpPr bwMode="auto">
            <a:xfrm>
              <a:off x="2806714" y="4772011"/>
              <a:ext cx="503239" cy="425450"/>
              <a:chOff x="7973219" y="847315"/>
              <a:chExt cx="558799" cy="473896"/>
            </a:xfrm>
          </p:grpSpPr>
          <p:sp>
            <p:nvSpPr>
              <p:cNvPr id="87616" name="Freeform 78">
                <a:extLst>
                  <a:ext uri="{FF2B5EF4-FFF2-40B4-BE49-F238E27FC236}">
                    <a16:creationId xmlns:a16="http://schemas.microsoft.com/office/drawing/2014/main" id="{4C7E7896-2E79-4240-8A80-685314CA594B}"/>
                  </a:ext>
                </a:extLst>
              </p:cNvPr>
              <p:cNvSpPr>
                <a:spLocks/>
              </p:cNvSpPr>
              <p:nvPr/>
            </p:nvSpPr>
            <p:spPr bwMode="auto">
              <a:xfrm rot="876865" flipV="1">
                <a:off x="7973219" y="847315"/>
                <a:ext cx="340215" cy="396092"/>
              </a:xfrm>
              <a:custGeom>
                <a:avLst/>
                <a:gdLst>
                  <a:gd name="T0" fmla="*/ 2147483646 w 640"/>
                  <a:gd name="T1" fmla="*/ 2147483646 h 816"/>
                  <a:gd name="T2" fmla="*/ 2147483646 w 640"/>
                  <a:gd name="T3" fmla="*/ 2147483646 h 816"/>
                  <a:gd name="T4" fmla="*/ 2147483646 w 640"/>
                  <a:gd name="T5" fmla="*/ 2147483646 h 816"/>
                  <a:gd name="T6" fmla="*/ 2147483646 w 640"/>
                  <a:gd name="T7" fmla="*/ 2147483646 h 816"/>
                  <a:gd name="T8" fmla="*/ 2147483646 w 640"/>
                  <a:gd name="T9" fmla="*/ 2147483646 h 816"/>
                  <a:gd name="T10" fmla="*/ 2147483646 w 640"/>
                  <a:gd name="T11" fmla="*/ 2147483646 h 816"/>
                  <a:gd name="T12" fmla="*/ 2147483646 w 640"/>
                  <a:gd name="T13" fmla="*/ 2147483646 h 816"/>
                  <a:gd name="T14" fmla="*/ 2147483646 w 640"/>
                  <a:gd name="T15" fmla="*/ 2147483646 h 816"/>
                  <a:gd name="T16" fmla="*/ 0 60000 65536"/>
                  <a:gd name="T17" fmla="*/ 0 60000 65536"/>
                  <a:gd name="T18" fmla="*/ 0 60000 65536"/>
                  <a:gd name="T19" fmla="*/ 0 60000 65536"/>
                  <a:gd name="T20" fmla="*/ 0 60000 65536"/>
                  <a:gd name="T21" fmla="*/ 0 60000 65536"/>
                  <a:gd name="T22" fmla="*/ 0 60000 65536"/>
                  <a:gd name="T23" fmla="*/ 0 60000 65536"/>
                  <a:gd name="T24" fmla="*/ 0 w 640"/>
                  <a:gd name="T25" fmla="*/ 0 h 816"/>
                  <a:gd name="T26" fmla="*/ 640 w 640"/>
                  <a:gd name="T27" fmla="*/ 816 h 8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0" h="816">
                    <a:moveTo>
                      <a:pt x="556" y="2"/>
                    </a:moveTo>
                    <a:cubicBezTo>
                      <a:pt x="563" y="4"/>
                      <a:pt x="274" y="6"/>
                      <a:pt x="137" y="257"/>
                    </a:cubicBezTo>
                    <a:cubicBezTo>
                      <a:pt x="0" y="508"/>
                      <a:pt x="306" y="720"/>
                      <a:pt x="300" y="720"/>
                    </a:cubicBezTo>
                    <a:cubicBezTo>
                      <a:pt x="304" y="725"/>
                      <a:pt x="246" y="780"/>
                      <a:pt x="240" y="816"/>
                    </a:cubicBezTo>
                    <a:cubicBezTo>
                      <a:pt x="444" y="786"/>
                      <a:pt x="632" y="757"/>
                      <a:pt x="640" y="750"/>
                    </a:cubicBezTo>
                    <a:cubicBezTo>
                      <a:pt x="538" y="606"/>
                      <a:pt x="527" y="387"/>
                      <a:pt x="527" y="387"/>
                    </a:cubicBezTo>
                    <a:cubicBezTo>
                      <a:pt x="522" y="388"/>
                      <a:pt x="478" y="510"/>
                      <a:pt x="466" y="486"/>
                    </a:cubicBezTo>
                    <a:cubicBezTo>
                      <a:pt x="28" y="92"/>
                      <a:pt x="557" y="0"/>
                      <a:pt x="556" y="2"/>
                    </a:cubicBezTo>
                    <a:close/>
                  </a:path>
                </a:pathLst>
              </a:custGeom>
              <a:gradFill rotWithShape="1">
                <a:gsLst>
                  <a:gs pos="0">
                    <a:srgbClr val="DDDDFB"/>
                  </a:gs>
                  <a:gs pos="50000">
                    <a:srgbClr val="B9B9F7"/>
                  </a:gs>
                  <a:gs pos="100000">
                    <a:srgbClr val="8989F6"/>
                  </a:gs>
                </a:gsLst>
                <a:lin ang="5400000" scaled="1"/>
              </a:gradFill>
              <a:ln w="9525">
                <a:solidFill>
                  <a:srgbClr val="595959"/>
                </a:solidFill>
                <a:round/>
                <a:headEnd/>
                <a:tailEnd/>
              </a:ln>
            </p:spPr>
            <p:txBody>
              <a:bodyPr/>
              <a:lstStyle/>
              <a:p>
                <a:endParaRPr lang="en-GB"/>
              </a:p>
            </p:txBody>
          </p:sp>
          <p:sp>
            <p:nvSpPr>
              <p:cNvPr id="87617" name="Freeform 79">
                <a:extLst>
                  <a:ext uri="{FF2B5EF4-FFF2-40B4-BE49-F238E27FC236}">
                    <a16:creationId xmlns:a16="http://schemas.microsoft.com/office/drawing/2014/main" id="{12281D48-287F-4F1C-9AB5-7FCAEB05DBD8}"/>
                  </a:ext>
                </a:extLst>
              </p:cNvPr>
              <p:cNvSpPr>
                <a:spLocks/>
              </p:cNvSpPr>
              <p:nvPr/>
            </p:nvSpPr>
            <p:spPr bwMode="auto">
              <a:xfrm rot="876865" flipH="1">
                <a:off x="8191803" y="925119"/>
                <a:ext cx="340215" cy="396092"/>
              </a:xfrm>
              <a:custGeom>
                <a:avLst/>
                <a:gdLst>
                  <a:gd name="T0" fmla="*/ 2147483646 w 640"/>
                  <a:gd name="T1" fmla="*/ 2147483646 h 816"/>
                  <a:gd name="T2" fmla="*/ 2147483646 w 640"/>
                  <a:gd name="T3" fmla="*/ 2147483646 h 816"/>
                  <a:gd name="T4" fmla="*/ 2147483646 w 640"/>
                  <a:gd name="T5" fmla="*/ 2147483646 h 816"/>
                  <a:gd name="T6" fmla="*/ 2147483646 w 640"/>
                  <a:gd name="T7" fmla="*/ 2147483646 h 816"/>
                  <a:gd name="T8" fmla="*/ 2147483646 w 640"/>
                  <a:gd name="T9" fmla="*/ 2147483646 h 816"/>
                  <a:gd name="T10" fmla="*/ 2147483646 w 640"/>
                  <a:gd name="T11" fmla="*/ 2147483646 h 816"/>
                  <a:gd name="T12" fmla="*/ 2147483646 w 640"/>
                  <a:gd name="T13" fmla="*/ 2147483646 h 816"/>
                  <a:gd name="T14" fmla="*/ 2147483646 w 640"/>
                  <a:gd name="T15" fmla="*/ 2147483646 h 816"/>
                  <a:gd name="T16" fmla="*/ 0 60000 65536"/>
                  <a:gd name="T17" fmla="*/ 0 60000 65536"/>
                  <a:gd name="T18" fmla="*/ 0 60000 65536"/>
                  <a:gd name="T19" fmla="*/ 0 60000 65536"/>
                  <a:gd name="T20" fmla="*/ 0 60000 65536"/>
                  <a:gd name="T21" fmla="*/ 0 60000 65536"/>
                  <a:gd name="T22" fmla="*/ 0 60000 65536"/>
                  <a:gd name="T23" fmla="*/ 0 60000 65536"/>
                  <a:gd name="T24" fmla="*/ 0 w 640"/>
                  <a:gd name="T25" fmla="*/ 0 h 816"/>
                  <a:gd name="T26" fmla="*/ 640 w 640"/>
                  <a:gd name="T27" fmla="*/ 816 h 8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0" h="816">
                    <a:moveTo>
                      <a:pt x="556" y="2"/>
                    </a:moveTo>
                    <a:cubicBezTo>
                      <a:pt x="563" y="4"/>
                      <a:pt x="274" y="6"/>
                      <a:pt x="137" y="257"/>
                    </a:cubicBezTo>
                    <a:cubicBezTo>
                      <a:pt x="0" y="508"/>
                      <a:pt x="306" y="720"/>
                      <a:pt x="300" y="720"/>
                    </a:cubicBezTo>
                    <a:cubicBezTo>
                      <a:pt x="304" y="725"/>
                      <a:pt x="246" y="780"/>
                      <a:pt x="240" y="816"/>
                    </a:cubicBezTo>
                    <a:cubicBezTo>
                      <a:pt x="444" y="786"/>
                      <a:pt x="632" y="757"/>
                      <a:pt x="640" y="750"/>
                    </a:cubicBezTo>
                    <a:cubicBezTo>
                      <a:pt x="538" y="606"/>
                      <a:pt x="527" y="387"/>
                      <a:pt x="527" y="387"/>
                    </a:cubicBezTo>
                    <a:cubicBezTo>
                      <a:pt x="522" y="388"/>
                      <a:pt x="478" y="510"/>
                      <a:pt x="466" y="486"/>
                    </a:cubicBezTo>
                    <a:cubicBezTo>
                      <a:pt x="28" y="92"/>
                      <a:pt x="557" y="0"/>
                      <a:pt x="556" y="2"/>
                    </a:cubicBezTo>
                    <a:close/>
                  </a:path>
                </a:pathLst>
              </a:custGeom>
              <a:gradFill rotWithShape="1">
                <a:gsLst>
                  <a:gs pos="0">
                    <a:srgbClr val="DDDDFB"/>
                  </a:gs>
                  <a:gs pos="50000">
                    <a:srgbClr val="B9B9F7"/>
                  </a:gs>
                  <a:gs pos="100000">
                    <a:srgbClr val="8989F6"/>
                  </a:gs>
                </a:gsLst>
                <a:lin ang="5400000" scaled="1"/>
              </a:gradFill>
              <a:ln w="9525">
                <a:solidFill>
                  <a:srgbClr val="595959"/>
                </a:solidFill>
                <a:round/>
                <a:headEnd/>
                <a:tailEnd/>
              </a:ln>
            </p:spPr>
            <p:txBody>
              <a:bodyPr/>
              <a:lstStyle/>
              <a:p>
                <a:endParaRPr lang="en-GB"/>
              </a:p>
            </p:txBody>
          </p:sp>
        </p:grpSp>
        <p:grpSp>
          <p:nvGrpSpPr>
            <p:cNvPr id="87063" name="그룹 643">
              <a:extLst>
                <a:ext uri="{FF2B5EF4-FFF2-40B4-BE49-F238E27FC236}">
                  <a16:creationId xmlns:a16="http://schemas.microsoft.com/office/drawing/2014/main" id="{E3571BD9-B563-469E-A578-429C0CF2D363}"/>
                </a:ext>
              </a:extLst>
            </p:cNvPr>
            <p:cNvGrpSpPr>
              <a:grpSpLocks/>
            </p:cNvGrpSpPr>
            <p:nvPr/>
          </p:nvGrpSpPr>
          <p:grpSpPr bwMode="auto">
            <a:xfrm>
              <a:off x="5346700" y="5892786"/>
              <a:ext cx="193675" cy="171450"/>
              <a:chOff x="9044845" y="214290"/>
              <a:chExt cx="280157" cy="263897"/>
            </a:xfrm>
          </p:grpSpPr>
          <p:sp>
            <p:nvSpPr>
              <p:cNvPr id="87612" name="Freeform 18">
                <a:extLst>
                  <a:ext uri="{FF2B5EF4-FFF2-40B4-BE49-F238E27FC236}">
                    <a16:creationId xmlns:a16="http://schemas.microsoft.com/office/drawing/2014/main" id="{FF384FF2-729D-4713-819B-B0E8601987FA}"/>
                  </a:ext>
                </a:extLst>
              </p:cNvPr>
              <p:cNvSpPr>
                <a:spLocks/>
              </p:cNvSpPr>
              <p:nvPr/>
            </p:nvSpPr>
            <p:spPr bwMode="auto">
              <a:xfrm>
                <a:off x="9044845" y="214290"/>
                <a:ext cx="280157" cy="263897"/>
              </a:xfrm>
              <a:custGeom>
                <a:avLst/>
                <a:gdLst>
                  <a:gd name="T0" fmla="*/ 2147483646 w 512"/>
                  <a:gd name="T1" fmla="*/ 2147483646 h 514"/>
                  <a:gd name="T2" fmla="*/ 2147483646 w 512"/>
                  <a:gd name="T3" fmla="*/ 2147483646 h 514"/>
                  <a:gd name="T4" fmla="*/ 2147483646 w 512"/>
                  <a:gd name="T5" fmla="*/ 2147483646 h 514"/>
                  <a:gd name="T6" fmla="*/ 2147483646 w 512"/>
                  <a:gd name="T7" fmla="*/ 2147483646 h 514"/>
                  <a:gd name="T8" fmla="*/ 2147483646 w 512"/>
                  <a:gd name="T9" fmla="*/ 2147483646 h 514"/>
                  <a:gd name="T10" fmla="*/ 2147483646 w 512"/>
                  <a:gd name="T11" fmla="*/ 2147483646 h 514"/>
                  <a:gd name="T12" fmla="*/ 2147483646 w 512"/>
                  <a:gd name="T13" fmla="*/ 2147483646 h 514"/>
                  <a:gd name="T14" fmla="*/ 2147483646 w 512"/>
                  <a:gd name="T15" fmla="*/ 2147483646 h 514"/>
                  <a:gd name="T16" fmla="*/ 2147483646 w 512"/>
                  <a:gd name="T17" fmla="*/ 2147483646 h 514"/>
                  <a:gd name="T18" fmla="*/ 2147483646 w 512"/>
                  <a:gd name="T19" fmla="*/ 2147483646 h 514"/>
                  <a:gd name="T20" fmla="*/ 2147483646 w 512"/>
                  <a:gd name="T21" fmla="*/ 2147483646 h 514"/>
                  <a:gd name="T22" fmla="*/ 2147483646 w 512"/>
                  <a:gd name="T23" fmla="*/ 2147483646 h 514"/>
                  <a:gd name="T24" fmla="*/ 2147483646 w 512"/>
                  <a:gd name="T25" fmla="*/ 2147483646 h 514"/>
                  <a:gd name="T26" fmla="*/ 2147483646 w 512"/>
                  <a:gd name="T27" fmla="*/ 2147483646 h 514"/>
                  <a:gd name="T28" fmla="*/ 2147483646 w 512"/>
                  <a:gd name="T29" fmla="*/ 2147483646 h 514"/>
                  <a:gd name="T30" fmla="*/ 2147483646 w 512"/>
                  <a:gd name="T31" fmla="*/ 2147483646 h 514"/>
                  <a:gd name="T32" fmla="*/ 2147483646 w 512"/>
                  <a:gd name="T33" fmla="*/ 2147483646 h 514"/>
                  <a:gd name="T34" fmla="*/ 2147483646 w 512"/>
                  <a:gd name="T35" fmla="*/ 2147483646 h 514"/>
                  <a:gd name="T36" fmla="*/ 2147483646 w 512"/>
                  <a:gd name="T37" fmla="*/ 2147483646 h 514"/>
                  <a:gd name="T38" fmla="*/ 2147483646 w 512"/>
                  <a:gd name="T39" fmla="*/ 0 h 514"/>
                  <a:gd name="T40" fmla="*/ 2147483646 w 512"/>
                  <a:gd name="T41" fmla="*/ 2147483646 h 514"/>
                  <a:gd name="T42" fmla="*/ 2147483646 w 512"/>
                  <a:gd name="T43" fmla="*/ 2147483646 h 514"/>
                  <a:gd name="T44" fmla="*/ 2147483646 w 512"/>
                  <a:gd name="T45" fmla="*/ 2147483646 h 514"/>
                  <a:gd name="T46" fmla="*/ 2147483646 w 512"/>
                  <a:gd name="T47" fmla="*/ 2147483646 h 514"/>
                  <a:gd name="T48" fmla="*/ 2147483646 w 512"/>
                  <a:gd name="T49" fmla="*/ 2147483646 h 514"/>
                  <a:gd name="T50" fmla="*/ 2147483646 w 512"/>
                  <a:gd name="T51" fmla="*/ 2147483646 h 514"/>
                  <a:gd name="T52" fmla="*/ 2147483646 w 512"/>
                  <a:gd name="T53" fmla="*/ 2147483646 h 514"/>
                  <a:gd name="T54" fmla="*/ 2147483646 w 512"/>
                  <a:gd name="T55" fmla="*/ 2147483646 h 514"/>
                  <a:gd name="T56" fmla="*/ 2147483646 w 512"/>
                  <a:gd name="T57" fmla="*/ 2147483646 h 514"/>
                  <a:gd name="T58" fmla="*/ 2147483646 w 512"/>
                  <a:gd name="T59" fmla="*/ 2147483646 h 514"/>
                  <a:gd name="T60" fmla="*/ 2147483646 w 512"/>
                  <a:gd name="T61" fmla="*/ 2147483646 h 514"/>
                  <a:gd name="T62" fmla="*/ 2147483646 w 512"/>
                  <a:gd name="T63" fmla="*/ 2147483646 h 514"/>
                  <a:gd name="T64" fmla="*/ 2147483646 w 512"/>
                  <a:gd name="T65" fmla="*/ 2147483646 h 514"/>
                  <a:gd name="T66" fmla="*/ 0 w 512"/>
                  <a:gd name="T67" fmla="*/ 2147483646 h 514"/>
                  <a:gd name="T68" fmla="*/ 2147483646 w 512"/>
                  <a:gd name="T69" fmla="*/ 2147483646 h 514"/>
                  <a:gd name="T70" fmla="*/ 2147483646 w 512"/>
                  <a:gd name="T71" fmla="*/ 2147483646 h 514"/>
                  <a:gd name="T72" fmla="*/ 2147483646 w 512"/>
                  <a:gd name="T73" fmla="*/ 2147483646 h 514"/>
                  <a:gd name="T74" fmla="*/ 2147483646 w 512"/>
                  <a:gd name="T75" fmla="*/ 2147483646 h 514"/>
                  <a:gd name="T76" fmla="*/ 2147483646 w 512"/>
                  <a:gd name="T77" fmla="*/ 2147483646 h 514"/>
                  <a:gd name="T78" fmla="*/ 2147483646 w 512"/>
                  <a:gd name="T79" fmla="*/ 2147483646 h 514"/>
                  <a:gd name="T80" fmla="*/ 2147483646 w 512"/>
                  <a:gd name="T81" fmla="*/ 2147483646 h 514"/>
                  <a:gd name="T82" fmla="*/ 2147483646 w 512"/>
                  <a:gd name="T83" fmla="*/ 2147483646 h 514"/>
                  <a:gd name="T84" fmla="*/ 2147483646 w 512"/>
                  <a:gd name="T85" fmla="*/ 2147483646 h 514"/>
                  <a:gd name="T86" fmla="*/ 2147483646 w 512"/>
                  <a:gd name="T87" fmla="*/ 2147483646 h 514"/>
                  <a:gd name="T88" fmla="*/ 2147483646 w 512"/>
                  <a:gd name="T89" fmla="*/ 2147483646 h 514"/>
                  <a:gd name="T90" fmla="*/ 2147483646 w 512"/>
                  <a:gd name="T91" fmla="*/ 2147483646 h 514"/>
                  <a:gd name="T92" fmla="*/ 2147483646 w 512"/>
                  <a:gd name="T93" fmla="*/ 2147483646 h 514"/>
                  <a:gd name="T94" fmla="*/ 2147483646 w 512"/>
                  <a:gd name="T95" fmla="*/ 2147483646 h 514"/>
                  <a:gd name="T96" fmla="*/ 2147483646 w 512"/>
                  <a:gd name="T97" fmla="*/ 2147483646 h 514"/>
                  <a:gd name="T98" fmla="*/ 2147483646 w 512"/>
                  <a:gd name="T99" fmla="*/ 2147483646 h 514"/>
                  <a:gd name="T100" fmla="*/ 2147483646 w 512"/>
                  <a:gd name="T101" fmla="*/ 2147483646 h 514"/>
                  <a:gd name="T102" fmla="*/ 2147483646 w 512"/>
                  <a:gd name="T103" fmla="*/ 2147483646 h 514"/>
                  <a:gd name="T104" fmla="*/ 2147483646 w 512"/>
                  <a:gd name="T105" fmla="*/ 2147483646 h 514"/>
                  <a:gd name="T106" fmla="*/ 2147483646 w 512"/>
                  <a:gd name="T107" fmla="*/ 2147483646 h 514"/>
                  <a:gd name="T108" fmla="*/ 2147483646 w 512"/>
                  <a:gd name="T109" fmla="*/ 2147483646 h 514"/>
                  <a:gd name="T110" fmla="*/ 2147483646 w 512"/>
                  <a:gd name="T111" fmla="*/ 2147483646 h 514"/>
                  <a:gd name="T112" fmla="*/ 2147483646 w 512"/>
                  <a:gd name="T113" fmla="*/ 2147483646 h 51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12"/>
                  <a:gd name="T172" fmla="*/ 0 h 514"/>
                  <a:gd name="T173" fmla="*/ 512 w 512"/>
                  <a:gd name="T174" fmla="*/ 514 h 51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12" h="514">
                    <a:moveTo>
                      <a:pt x="451" y="270"/>
                    </a:moveTo>
                    <a:lnTo>
                      <a:pt x="451" y="268"/>
                    </a:lnTo>
                    <a:lnTo>
                      <a:pt x="452" y="265"/>
                    </a:lnTo>
                    <a:lnTo>
                      <a:pt x="452" y="264"/>
                    </a:lnTo>
                    <a:lnTo>
                      <a:pt x="452" y="262"/>
                    </a:lnTo>
                    <a:lnTo>
                      <a:pt x="512" y="220"/>
                    </a:lnTo>
                    <a:lnTo>
                      <a:pt x="476" y="120"/>
                    </a:lnTo>
                    <a:lnTo>
                      <a:pt x="401" y="128"/>
                    </a:lnTo>
                    <a:lnTo>
                      <a:pt x="400" y="127"/>
                    </a:lnTo>
                    <a:lnTo>
                      <a:pt x="399" y="125"/>
                    </a:lnTo>
                    <a:lnTo>
                      <a:pt x="398" y="124"/>
                    </a:lnTo>
                    <a:lnTo>
                      <a:pt x="397" y="122"/>
                    </a:lnTo>
                    <a:lnTo>
                      <a:pt x="411" y="50"/>
                    </a:lnTo>
                    <a:lnTo>
                      <a:pt x="314" y="5"/>
                    </a:lnTo>
                    <a:lnTo>
                      <a:pt x="268" y="62"/>
                    </a:lnTo>
                    <a:lnTo>
                      <a:pt x="266" y="62"/>
                    </a:lnTo>
                    <a:lnTo>
                      <a:pt x="264" y="62"/>
                    </a:lnTo>
                    <a:lnTo>
                      <a:pt x="262" y="62"/>
                    </a:lnTo>
                    <a:lnTo>
                      <a:pt x="260" y="62"/>
                    </a:lnTo>
                    <a:lnTo>
                      <a:pt x="218" y="0"/>
                    </a:lnTo>
                    <a:lnTo>
                      <a:pt x="118" y="37"/>
                    </a:lnTo>
                    <a:lnTo>
                      <a:pt x="126" y="110"/>
                    </a:lnTo>
                    <a:lnTo>
                      <a:pt x="124" y="111"/>
                    </a:lnTo>
                    <a:lnTo>
                      <a:pt x="123" y="112"/>
                    </a:lnTo>
                    <a:lnTo>
                      <a:pt x="120" y="114"/>
                    </a:lnTo>
                    <a:lnTo>
                      <a:pt x="118" y="115"/>
                    </a:lnTo>
                    <a:lnTo>
                      <a:pt x="49" y="103"/>
                    </a:lnTo>
                    <a:lnTo>
                      <a:pt x="4" y="198"/>
                    </a:lnTo>
                    <a:lnTo>
                      <a:pt x="59" y="243"/>
                    </a:lnTo>
                    <a:lnTo>
                      <a:pt x="58" y="247"/>
                    </a:lnTo>
                    <a:lnTo>
                      <a:pt x="58" y="249"/>
                    </a:lnTo>
                    <a:lnTo>
                      <a:pt x="58" y="253"/>
                    </a:lnTo>
                    <a:lnTo>
                      <a:pt x="58" y="256"/>
                    </a:lnTo>
                    <a:lnTo>
                      <a:pt x="0" y="295"/>
                    </a:lnTo>
                    <a:lnTo>
                      <a:pt x="36" y="395"/>
                    </a:lnTo>
                    <a:lnTo>
                      <a:pt x="105" y="387"/>
                    </a:lnTo>
                    <a:lnTo>
                      <a:pt x="108" y="390"/>
                    </a:lnTo>
                    <a:lnTo>
                      <a:pt x="110" y="392"/>
                    </a:lnTo>
                    <a:lnTo>
                      <a:pt x="111" y="395"/>
                    </a:lnTo>
                    <a:lnTo>
                      <a:pt x="113" y="398"/>
                    </a:lnTo>
                    <a:lnTo>
                      <a:pt x="102" y="466"/>
                    </a:lnTo>
                    <a:lnTo>
                      <a:pt x="198" y="511"/>
                    </a:lnTo>
                    <a:lnTo>
                      <a:pt x="241" y="457"/>
                    </a:lnTo>
                    <a:lnTo>
                      <a:pt x="244" y="457"/>
                    </a:lnTo>
                    <a:lnTo>
                      <a:pt x="247" y="457"/>
                    </a:lnTo>
                    <a:lnTo>
                      <a:pt x="251" y="457"/>
                    </a:lnTo>
                    <a:lnTo>
                      <a:pt x="254" y="457"/>
                    </a:lnTo>
                    <a:lnTo>
                      <a:pt x="293" y="514"/>
                    </a:lnTo>
                    <a:lnTo>
                      <a:pt x="393" y="477"/>
                    </a:lnTo>
                    <a:lnTo>
                      <a:pt x="385" y="407"/>
                    </a:lnTo>
                    <a:lnTo>
                      <a:pt x="388" y="405"/>
                    </a:lnTo>
                    <a:lnTo>
                      <a:pt x="390" y="404"/>
                    </a:lnTo>
                    <a:lnTo>
                      <a:pt x="391" y="401"/>
                    </a:lnTo>
                    <a:lnTo>
                      <a:pt x="393" y="399"/>
                    </a:lnTo>
                    <a:lnTo>
                      <a:pt x="464" y="413"/>
                    </a:lnTo>
                    <a:lnTo>
                      <a:pt x="509" y="316"/>
                    </a:lnTo>
                    <a:lnTo>
                      <a:pt x="451" y="2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13" name="Freeform 19">
                <a:extLst>
                  <a:ext uri="{FF2B5EF4-FFF2-40B4-BE49-F238E27FC236}">
                    <a16:creationId xmlns:a16="http://schemas.microsoft.com/office/drawing/2014/main" id="{357901BC-5D99-4134-9678-44BB398AC905}"/>
                  </a:ext>
                </a:extLst>
              </p:cNvPr>
              <p:cNvSpPr>
                <a:spLocks/>
              </p:cNvSpPr>
              <p:nvPr/>
            </p:nvSpPr>
            <p:spPr bwMode="auto">
              <a:xfrm>
                <a:off x="9065512" y="233838"/>
                <a:ext cx="238822" cy="224801"/>
              </a:xfrm>
              <a:custGeom>
                <a:avLst/>
                <a:gdLst>
                  <a:gd name="T0" fmla="*/ 2147483646 w 436"/>
                  <a:gd name="T1" fmla="*/ 2147483646 h 437"/>
                  <a:gd name="T2" fmla="*/ 2147483646 w 436"/>
                  <a:gd name="T3" fmla="*/ 2147483646 h 437"/>
                  <a:gd name="T4" fmla="*/ 2147483646 w 436"/>
                  <a:gd name="T5" fmla="*/ 2147483646 h 437"/>
                  <a:gd name="T6" fmla="*/ 2147483646 w 436"/>
                  <a:gd name="T7" fmla="*/ 2147483646 h 437"/>
                  <a:gd name="T8" fmla="*/ 2147483646 w 436"/>
                  <a:gd name="T9" fmla="*/ 2147483646 h 437"/>
                  <a:gd name="T10" fmla="*/ 2147483646 w 436"/>
                  <a:gd name="T11" fmla="*/ 2147483646 h 437"/>
                  <a:gd name="T12" fmla="*/ 2147483646 w 436"/>
                  <a:gd name="T13" fmla="*/ 2147483646 h 437"/>
                  <a:gd name="T14" fmla="*/ 2147483646 w 436"/>
                  <a:gd name="T15" fmla="*/ 2147483646 h 437"/>
                  <a:gd name="T16" fmla="*/ 2147483646 w 436"/>
                  <a:gd name="T17" fmla="*/ 2147483646 h 437"/>
                  <a:gd name="T18" fmla="*/ 2147483646 w 436"/>
                  <a:gd name="T19" fmla="*/ 2147483646 h 437"/>
                  <a:gd name="T20" fmla="*/ 2147483646 w 436"/>
                  <a:gd name="T21" fmla="*/ 2147483646 h 437"/>
                  <a:gd name="T22" fmla="*/ 2147483646 w 436"/>
                  <a:gd name="T23" fmla="*/ 2147483646 h 437"/>
                  <a:gd name="T24" fmla="*/ 2147483646 w 436"/>
                  <a:gd name="T25" fmla="*/ 2147483646 h 437"/>
                  <a:gd name="T26" fmla="*/ 0 w 436"/>
                  <a:gd name="T27" fmla="*/ 2147483646 h 437"/>
                  <a:gd name="T28" fmla="*/ 2147483646 w 436"/>
                  <a:gd name="T29" fmla="*/ 2147483646 h 437"/>
                  <a:gd name="T30" fmla="*/ 2147483646 w 436"/>
                  <a:gd name="T31" fmla="*/ 2147483646 h 437"/>
                  <a:gd name="T32" fmla="*/ 2147483646 w 436"/>
                  <a:gd name="T33" fmla="*/ 2147483646 h 437"/>
                  <a:gd name="T34" fmla="*/ 2147483646 w 436"/>
                  <a:gd name="T35" fmla="*/ 2147483646 h 437"/>
                  <a:gd name="T36" fmla="*/ 2147483646 w 436"/>
                  <a:gd name="T37" fmla="*/ 2147483646 h 437"/>
                  <a:gd name="T38" fmla="*/ 2147483646 w 436"/>
                  <a:gd name="T39" fmla="*/ 2147483646 h 437"/>
                  <a:gd name="T40" fmla="*/ 2147483646 w 436"/>
                  <a:gd name="T41" fmla="*/ 2147483646 h 437"/>
                  <a:gd name="T42" fmla="*/ 2147483646 w 436"/>
                  <a:gd name="T43" fmla="*/ 2147483646 h 437"/>
                  <a:gd name="T44" fmla="*/ 2147483646 w 436"/>
                  <a:gd name="T45" fmla="*/ 0 h 437"/>
                  <a:gd name="T46" fmla="*/ 2147483646 w 436"/>
                  <a:gd name="T47" fmla="*/ 2147483646 h 437"/>
                  <a:gd name="T48" fmla="*/ 2147483646 w 436"/>
                  <a:gd name="T49" fmla="*/ 2147483646 h 437"/>
                  <a:gd name="T50" fmla="*/ 2147483646 w 436"/>
                  <a:gd name="T51" fmla="*/ 2147483646 h 437"/>
                  <a:gd name="T52" fmla="*/ 2147483646 w 436"/>
                  <a:gd name="T53" fmla="*/ 2147483646 h 437"/>
                  <a:gd name="T54" fmla="*/ 2147483646 w 436"/>
                  <a:gd name="T55" fmla="*/ 2147483646 h 437"/>
                  <a:gd name="T56" fmla="*/ 2147483646 w 436"/>
                  <a:gd name="T57" fmla="*/ 2147483646 h 437"/>
                  <a:gd name="T58" fmla="*/ 2147483646 w 436"/>
                  <a:gd name="T59" fmla="*/ 2147483646 h 437"/>
                  <a:gd name="T60" fmla="*/ 2147483646 w 436"/>
                  <a:gd name="T61" fmla="*/ 2147483646 h 437"/>
                  <a:gd name="T62" fmla="*/ 2147483646 w 436"/>
                  <a:gd name="T63" fmla="*/ 2147483646 h 437"/>
                  <a:gd name="T64" fmla="*/ 2147483646 w 436"/>
                  <a:gd name="T65" fmla="*/ 2147483646 h 437"/>
                  <a:gd name="T66" fmla="*/ 2147483646 w 436"/>
                  <a:gd name="T67" fmla="*/ 2147483646 h 437"/>
                  <a:gd name="T68" fmla="*/ 2147483646 w 436"/>
                  <a:gd name="T69" fmla="*/ 2147483646 h 437"/>
                  <a:gd name="T70" fmla="*/ 2147483646 w 436"/>
                  <a:gd name="T71" fmla="*/ 2147483646 h 437"/>
                  <a:gd name="T72" fmla="*/ 2147483646 w 436"/>
                  <a:gd name="T73" fmla="*/ 2147483646 h 437"/>
                  <a:gd name="T74" fmla="*/ 2147483646 w 436"/>
                  <a:gd name="T75" fmla="*/ 2147483646 h 4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36"/>
                  <a:gd name="T115" fmla="*/ 0 h 437"/>
                  <a:gd name="T116" fmla="*/ 436 w 436"/>
                  <a:gd name="T117" fmla="*/ 437 h 4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36" h="437">
                    <a:moveTo>
                      <a:pt x="407" y="338"/>
                    </a:moveTo>
                    <a:lnTo>
                      <a:pt x="344" y="325"/>
                    </a:lnTo>
                    <a:lnTo>
                      <a:pt x="338" y="332"/>
                    </a:lnTo>
                    <a:lnTo>
                      <a:pt x="334" y="337"/>
                    </a:lnTo>
                    <a:lnTo>
                      <a:pt x="330" y="342"/>
                    </a:lnTo>
                    <a:lnTo>
                      <a:pt x="325" y="345"/>
                    </a:lnTo>
                    <a:lnTo>
                      <a:pt x="321" y="348"/>
                    </a:lnTo>
                    <a:lnTo>
                      <a:pt x="314" y="354"/>
                    </a:lnTo>
                    <a:lnTo>
                      <a:pt x="321" y="418"/>
                    </a:lnTo>
                    <a:lnTo>
                      <a:pt x="268" y="437"/>
                    </a:lnTo>
                    <a:lnTo>
                      <a:pt x="232" y="385"/>
                    </a:lnTo>
                    <a:lnTo>
                      <a:pt x="224" y="385"/>
                    </a:lnTo>
                    <a:lnTo>
                      <a:pt x="217" y="385"/>
                    </a:lnTo>
                    <a:lnTo>
                      <a:pt x="210" y="385"/>
                    </a:lnTo>
                    <a:lnTo>
                      <a:pt x="203" y="385"/>
                    </a:lnTo>
                    <a:lnTo>
                      <a:pt x="198" y="385"/>
                    </a:lnTo>
                    <a:lnTo>
                      <a:pt x="189" y="384"/>
                    </a:lnTo>
                    <a:lnTo>
                      <a:pt x="150" y="431"/>
                    </a:lnTo>
                    <a:lnTo>
                      <a:pt x="98" y="408"/>
                    </a:lnTo>
                    <a:lnTo>
                      <a:pt x="110" y="347"/>
                    </a:lnTo>
                    <a:lnTo>
                      <a:pt x="104" y="342"/>
                    </a:lnTo>
                    <a:lnTo>
                      <a:pt x="100" y="337"/>
                    </a:lnTo>
                    <a:lnTo>
                      <a:pt x="95" y="332"/>
                    </a:lnTo>
                    <a:lnTo>
                      <a:pt x="90" y="327"/>
                    </a:lnTo>
                    <a:lnTo>
                      <a:pt x="86" y="322"/>
                    </a:lnTo>
                    <a:lnTo>
                      <a:pt x="80" y="315"/>
                    </a:lnTo>
                    <a:lnTo>
                      <a:pt x="20" y="322"/>
                    </a:lnTo>
                    <a:lnTo>
                      <a:pt x="0" y="269"/>
                    </a:lnTo>
                    <a:lnTo>
                      <a:pt x="52" y="233"/>
                    </a:lnTo>
                    <a:lnTo>
                      <a:pt x="52" y="225"/>
                    </a:lnTo>
                    <a:lnTo>
                      <a:pt x="52" y="219"/>
                    </a:lnTo>
                    <a:lnTo>
                      <a:pt x="52" y="212"/>
                    </a:lnTo>
                    <a:lnTo>
                      <a:pt x="52" y="206"/>
                    </a:lnTo>
                    <a:lnTo>
                      <a:pt x="53" y="200"/>
                    </a:lnTo>
                    <a:lnTo>
                      <a:pt x="55" y="191"/>
                    </a:lnTo>
                    <a:lnTo>
                      <a:pt x="5" y="151"/>
                    </a:lnTo>
                    <a:lnTo>
                      <a:pt x="29" y="100"/>
                    </a:lnTo>
                    <a:lnTo>
                      <a:pt x="92" y="111"/>
                    </a:lnTo>
                    <a:lnTo>
                      <a:pt x="97" y="105"/>
                    </a:lnTo>
                    <a:lnTo>
                      <a:pt x="102" y="101"/>
                    </a:lnTo>
                    <a:lnTo>
                      <a:pt x="107" y="97"/>
                    </a:lnTo>
                    <a:lnTo>
                      <a:pt x="110" y="93"/>
                    </a:lnTo>
                    <a:lnTo>
                      <a:pt x="115" y="89"/>
                    </a:lnTo>
                    <a:lnTo>
                      <a:pt x="121" y="85"/>
                    </a:lnTo>
                    <a:lnTo>
                      <a:pt x="115" y="20"/>
                    </a:lnTo>
                    <a:lnTo>
                      <a:pt x="168" y="0"/>
                    </a:lnTo>
                    <a:lnTo>
                      <a:pt x="204" y="55"/>
                    </a:lnTo>
                    <a:lnTo>
                      <a:pt x="214" y="55"/>
                    </a:lnTo>
                    <a:lnTo>
                      <a:pt x="219" y="55"/>
                    </a:lnTo>
                    <a:lnTo>
                      <a:pt x="224" y="55"/>
                    </a:lnTo>
                    <a:lnTo>
                      <a:pt x="230" y="55"/>
                    </a:lnTo>
                    <a:lnTo>
                      <a:pt x="236" y="56"/>
                    </a:lnTo>
                    <a:lnTo>
                      <a:pt x="244" y="57"/>
                    </a:lnTo>
                    <a:lnTo>
                      <a:pt x="285" y="5"/>
                    </a:lnTo>
                    <a:lnTo>
                      <a:pt x="337" y="29"/>
                    </a:lnTo>
                    <a:lnTo>
                      <a:pt x="324" y="95"/>
                    </a:lnTo>
                    <a:lnTo>
                      <a:pt x="325" y="96"/>
                    </a:lnTo>
                    <a:lnTo>
                      <a:pt x="328" y="97"/>
                    </a:lnTo>
                    <a:lnTo>
                      <a:pt x="329" y="100"/>
                    </a:lnTo>
                    <a:lnTo>
                      <a:pt x="330" y="101"/>
                    </a:lnTo>
                    <a:lnTo>
                      <a:pt x="335" y="104"/>
                    </a:lnTo>
                    <a:lnTo>
                      <a:pt x="338" y="108"/>
                    </a:lnTo>
                    <a:lnTo>
                      <a:pt x="342" y="112"/>
                    </a:lnTo>
                    <a:lnTo>
                      <a:pt x="345" y="116"/>
                    </a:lnTo>
                    <a:lnTo>
                      <a:pt x="351" y="123"/>
                    </a:lnTo>
                    <a:lnTo>
                      <a:pt x="417" y="116"/>
                    </a:lnTo>
                    <a:lnTo>
                      <a:pt x="436" y="169"/>
                    </a:lnTo>
                    <a:lnTo>
                      <a:pt x="382" y="206"/>
                    </a:lnTo>
                    <a:lnTo>
                      <a:pt x="382" y="215"/>
                    </a:lnTo>
                    <a:lnTo>
                      <a:pt x="382" y="221"/>
                    </a:lnTo>
                    <a:lnTo>
                      <a:pt x="382" y="225"/>
                    </a:lnTo>
                    <a:lnTo>
                      <a:pt x="382" y="231"/>
                    </a:lnTo>
                    <a:lnTo>
                      <a:pt x="381" y="237"/>
                    </a:lnTo>
                    <a:lnTo>
                      <a:pt x="381" y="245"/>
                    </a:lnTo>
                    <a:lnTo>
                      <a:pt x="431" y="286"/>
                    </a:lnTo>
                    <a:lnTo>
                      <a:pt x="407" y="338"/>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14" name="Freeform 22">
                <a:extLst>
                  <a:ext uri="{FF2B5EF4-FFF2-40B4-BE49-F238E27FC236}">
                    <a16:creationId xmlns:a16="http://schemas.microsoft.com/office/drawing/2014/main" id="{DC5CAEAA-AAD1-4F75-926D-ED6D8045D921}"/>
                  </a:ext>
                </a:extLst>
              </p:cNvPr>
              <p:cNvSpPr>
                <a:spLocks/>
              </p:cNvSpPr>
              <p:nvPr/>
            </p:nvSpPr>
            <p:spPr bwMode="auto">
              <a:xfrm>
                <a:off x="9131300" y="298490"/>
                <a:ext cx="103964" cy="97550"/>
              </a:xfrm>
              <a:custGeom>
                <a:avLst/>
                <a:gdLst>
                  <a:gd name="T0" fmla="*/ 2147483646 w 191"/>
                  <a:gd name="T1" fmla="*/ 2147483646 h 189"/>
                  <a:gd name="T2" fmla="*/ 2147483646 w 191"/>
                  <a:gd name="T3" fmla="*/ 2147483646 h 189"/>
                  <a:gd name="T4" fmla="*/ 2147483646 w 191"/>
                  <a:gd name="T5" fmla="*/ 2147483646 h 189"/>
                  <a:gd name="T6" fmla="*/ 2147483646 w 191"/>
                  <a:gd name="T7" fmla="*/ 2147483646 h 189"/>
                  <a:gd name="T8" fmla="*/ 2147483646 w 191"/>
                  <a:gd name="T9" fmla="*/ 2147483646 h 189"/>
                  <a:gd name="T10" fmla="*/ 2147483646 w 191"/>
                  <a:gd name="T11" fmla="*/ 2147483646 h 189"/>
                  <a:gd name="T12" fmla="*/ 2147483646 w 191"/>
                  <a:gd name="T13" fmla="*/ 2147483646 h 189"/>
                  <a:gd name="T14" fmla="*/ 2147483646 w 191"/>
                  <a:gd name="T15" fmla="*/ 2147483646 h 189"/>
                  <a:gd name="T16" fmla="*/ 2147483646 w 191"/>
                  <a:gd name="T17" fmla="*/ 2147483646 h 189"/>
                  <a:gd name="T18" fmla="*/ 2147483646 w 191"/>
                  <a:gd name="T19" fmla="*/ 2147483646 h 189"/>
                  <a:gd name="T20" fmla="*/ 2147483646 w 191"/>
                  <a:gd name="T21" fmla="*/ 2147483646 h 189"/>
                  <a:gd name="T22" fmla="*/ 2147483646 w 191"/>
                  <a:gd name="T23" fmla="*/ 2147483646 h 189"/>
                  <a:gd name="T24" fmla="*/ 2147483646 w 191"/>
                  <a:gd name="T25" fmla="*/ 2147483646 h 189"/>
                  <a:gd name="T26" fmla="*/ 2147483646 w 191"/>
                  <a:gd name="T27" fmla="*/ 2147483646 h 189"/>
                  <a:gd name="T28" fmla="*/ 2147483646 w 191"/>
                  <a:gd name="T29" fmla="*/ 0 h 189"/>
                  <a:gd name="T30" fmla="*/ 2147483646 w 191"/>
                  <a:gd name="T31" fmla="*/ 2147483646 h 189"/>
                  <a:gd name="T32" fmla="*/ 2147483646 w 191"/>
                  <a:gd name="T33" fmla="*/ 2147483646 h 189"/>
                  <a:gd name="T34" fmla="*/ 2147483646 w 191"/>
                  <a:gd name="T35" fmla="*/ 2147483646 h 189"/>
                  <a:gd name="T36" fmla="*/ 2147483646 w 191"/>
                  <a:gd name="T37" fmla="*/ 2147483646 h 189"/>
                  <a:gd name="T38" fmla="*/ 2147483646 w 191"/>
                  <a:gd name="T39" fmla="*/ 2147483646 h 189"/>
                  <a:gd name="T40" fmla="*/ 2147483646 w 191"/>
                  <a:gd name="T41" fmla="*/ 2147483646 h 189"/>
                  <a:gd name="T42" fmla="*/ 2147483646 w 191"/>
                  <a:gd name="T43" fmla="*/ 2147483646 h 189"/>
                  <a:gd name="T44" fmla="*/ 0 w 191"/>
                  <a:gd name="T45" fmla="*/ 2147483646 h 189"/>
                  <a:gd name="T46" fmla="*/ 2147483646 w 191"/>
                  <a:gd name="T47" fmla="*/ 2147483646 h 189"/>
                  <a:gd name="T48" fmla="*/ 2147483646 w 191"/>
                  <a:gd name="T49" fmla="*/ 2147483646 h 189"/>
                  <a:gd name="T50" fmla="*/ 2147483646 w 191"/>
                  <a:gd name="T51" fmla="*/ 2147483646 h 189"/>
                  <a:gd name="T52" fmla="*/ 2147483646 w 191"/>
                  <a:gd name="T53" fmla="*/ 2147483646 h 189"/>
                  <a:gd name="T54" fmla="*/ 2147483646 w 191"/>
                  <a:gd name="T55" fmla="*/ 2147483646 h 189"/>
                  <a:gd name="T56" fmla="*/ 2147483646 w 191"/>
                  <a:gd name="T57" fmla="*/ 2147483646 h 189"/>
                  <a:gd name="T58" fmla="*/ 2147483646 w 191"/>
                  <a:gd name="T59" fmla="*/ 2147483646 h 189"/>
                  <a:gd name="T60" fmla="*/ 2147483646 w 191"/>
                  <a:gd name="T61" fmla="*/ 2147483646 h 189"/>
                  <a:gd name="T62" fmla="*/ 2147483646 w 191"/>
                  <a:gd name="T63" fmla="*/ 2147483646 h 189"/>
                  <a:gd name="T64" fmla="*/ 2147483646 w 191"/>
                  <a:gd name="T65" fmla="*/ 2147483646 h 18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1"/>
                  <a:gd name="T100" fmla="*/ 0 h 189"/>
                  <a:gd name="T101" fmla="*/ 191 w 191"/>
                  <a:gd name="T102" fmla="*/ 189 h 18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1" h="189">
                    <a:moveTo>
                      <a:pt x="128" y="183"/>
                    </a:moveTo>
                    <a:lnTo>
                      <a:pt x="146" y="175"/>
                    </a:lnTo>
                    <a:lnTo>
                      <a:pt x="160" y="164"/>
                    </a:lnTo>
                    <a:lnTo>
                      <a:pt x="172" y="150"/>
                    </a:lnTo>
                    <a:lnTo>
                      <a:pt x="181" y="134"/>
                    </a:lnTo>
                    <a:lnTo>
                      <a:pt x="187" y="116"/>
                    </a:lnTo>
                    <a:lnTo>
                      <a:pt x="191" y="98"/>
                    </a:lnTo>
                    <a:lnTo>
                      <a:pt x="189" y="80"/>
                    </a:lnTo>
                    <a:lnTo>
                      <a:pt x="185" y="61"/>
                    </a:lnTo>
                    <a:lnTo>
                      <a:pt x="177" y="44"/>
                    </a:lnTo>
                    <a:lnTo>
                      <a:pt x="165" y="30"/>
                    </a:lnTo>
                    <a:lnTo>
                      <a:pt x="151" y="17"/>
                    </a:lnTo>
                    <a:lnTo>
                      <a:pt x="135" y="8"/>
                    </a:lnTo>
                    <a:lnTo>
                      <a:pt x="118" y="2"/>
                    </a:lnTo>
                    <a:lnTo>
                      <a:pt x="100" y="0"/>
                    </a:lnTo>
                    <a:lnTo>
                      <a:pt x="81" y="1"/>
                    </a:lnTo>
                    <a:lnTo>
                      <a:pt x="63" y="6"/>
                    </a:lnTo>
                    <a:lnTo>
                      <a:pt x="45" y="14"/>
                    </a:lnTo>
                    <a:lnTo>
                      <a:pt x="32" y="25"/>
                    </a:lnTo>
                    <a:lnTo>
                      <a:pt x="19" y="38"/>
                    </a:lnTo>
                    <a:lnTo>
                      <a:pt x="10" y="54"/>
                    </a:lnTo>
                    <a:lnTo>
                      <a:pt x="4" y="71"/>
                    </a:lnTo>
                    <a:lnTo>
                      <a:pt x="0" y="90"/>
                    </a:lnTo>
                    <a:lnTo>
                      <a:pt x="2" y="108"/>
                    </a:lnTo>
                    <a:lnTo>
                      <a:pt x="6" y="127"/>
                    </a:lnTo>
                    <a:lnTo>
                      <a:pt x="14" y="144"/>
                    </a:lnTo>
                    <a:lnTo>
                      <a:pt x="26" y="159"/>
                    </a:lnTo>
                    <a:lnTo>
                      <a:pt x="40" y="171"/>
                    </a:lnTo>
                    <a:lnTo>
                      <a:pt x="56" y="180"/>
                    </a:lnTo>
                    <a:lnTo>
                      <a:pt x="73" y="186"/>
                    </a:lnTo>
                    <a:lnTo>
                      <a:pt x="92" y="189"/>
                    </a:lnTo>
                    <a:lnTo>
                      <a:pt x="110" y="188"/>
                    </a:lnTo>
                    <a:lnTo>
                      <a:pt x="128" y="18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02" name="Freeform 23">
                <a:extLst>
                  <a:ext uri="{FF2B5EF4-FFF2-40B4-BE49-F238E27FC236}">
                    <a16:creationId xmlns:a16="http://schemas.microsoft.com/office/drawing/2014/main" id="{168D81B5-F005-40FB-97CA-9354776E54C4}"/>
                  </a:ext>
                </a:extLst>
              </p:cNvPr>
              <p:cNvSpPr>
                <a:spLocks/>
              </p:cNvSpPr>
              <p:nvPr/>
            </p:nvSpPr>
            <p:spPr bwMode="auto">
              <a:xfrm>
                <a:off x="9132107" y="299813"/>
                <a:ext cx="101040" cy="95295"/>
              </a:xfrm>
              <a:custGeom>
                <a:avLst/>
                <a:gdLst>
                  <a:gd name="T0" fmla="*/ 35820532 w 191"/>
                  <a:gd name="T1" fmla="*/ 46523120 h 189"/>
                  <a:gd name="T2" fmla="*/ 40857719 w 191"/>
                  <a:gd name="T3" fmla="*/ 44489151 h 189"/>
                  <a:gd name="T4" fmla="*/ 44775532 w 191"/>
                  <a:gd name="T5" fmla="*/ 41692823 h 189"/>
                  <a:gd name="T6" fmla="*/ 48133657 w 191"/>
                  <a:gd name="T7" fmla="*/ 38133630 h 189"/>
                  <a:gd name="T8" fmla="*/ 50652251 w 191"/>
                  <a:gd name="T9" fmla="*/ 34066198 h 189"/>
                  <a:gd name="T10" fmla="*/ 52331314 w 191"/>
                  <a:gd name="T11" fmla="*/ 29490021 h 189"/>
                  <a:gd name="T12" fmla="*/ 53450689 w 191"/>
                  <a:gd name="T13" fmla="*/ 24913844 h 189"/>
                  <a:gd name="T14" fmla="*/ 52891001 w 191"/>
                  <a:gd name="T15" fmla="*/ 20338172 h 189"/>
                  <a:gd name="T16" fmla="*/ 51771626 w 191"/>
                  <a:gd name="T17" fmla="*/ 15507875 h 189"/>
                  <a:gd name="T18" fmla="*/ 49532876 w 191"/>
                  <a:gd name="T19" fmla="*/ 11185818 h 189"/>
                  <a:gd name="T20" fmla="*/ 46174751 w 191"/>
                  <a:gd name="T21" fmla="*/ 7626625 h 189"/>
                  <a:gd name="T22" fmla="*/ 42256938 w 191"/>
                  <a:gd name="T23" fmla="*/ 4322057 h 189"/>
                  <a:gd name="T24" fmla="*/ 37779438 w 191"/>
                  <a:gd name="T25" fmla="*/ 2033968 h 189"/>
                  <a:gd name="T26" fmla="*/ 33022094 w 191"/>
                  <a:gd name="T27" fmla="*/ 508240 h 189"/>
                  <a:gd name="T28" fmla="*/ 27984906 w 191"/>
                  <a:gd name="T29" fmla="*/ 0 h 189"/>
                  <a:gd name="T30" fmla="*/ 22667345 w 191"/>
                  <a:gd name="T31" fmla="*/ 254120 h 189"/>
                  <a:gd name="T32" fmla="*/ 17630157 w 191"/>
                  <a:gd name="T33" fmla="*/ 1525224 h 189"/>
                  <a:gd name="T34" fmla="*/ 12592970 w 191"/>
                  <a:gd name="T35" fmla="*/ 3559193 h 189"/>
                  <a:gd name="T36" fmla="*/ 8955001 w 191"/>
                  <a:gd name="T37" fmla="*/ 6355521 h 189"/>
                  <a:gd name="T38" fmla="*/ 5317032 w 191"/>
                  <a:gd name="T39" fmla="*/ 9660594 h 189"/>
                  <a:gd name="T40" fmla="*/ 2798438 w 191"/>
                  <a:gd name="T41" fmla="*/ 13728026 h 189"/>
                  <a:gd name="T42" fmla="*/ 1119375 w 191"/>
                  <a:gd name="T43" fmla="*/ 18050083 h 189"/>
                  <a:gd name="T44" fmla="*/ 0 w 191"/>
                  <a:gd name="T45" fmla="*/ 22880380 h 189"/>
                  <a:gd name="T46" fmla="*/ 559688 w 191"/>
                  <a:gd name="T47" fmla="*/ 27456053 h 189"/>
                  <a:gd name="T48" fmla="*/ 1679063 w 191"/>
                  <a:gd name="T49" fmla="*/ 32286349 h 189"/>
                  <a:gd name="T50" fmla="*/ 3917813 w 191"/>
                  <a:gd name="T51" fmla="*/ 36608406 h 189"/>
                  <a:gd name="T52" fmla="*/ 7275938 w 191"/>
                  <a:gd name="T53" fmla="*/ 40421719 h 189"/>
                  <a:gd name="T54" fmla="*/ 11193751 w 191"/>
                  <a:gd name="T55" fmla="*/ 43472167 h 189"/>
                  <a:gd name="T56" fmla="*/ 15671251 w 191"/>
                  <a:gd name="T57" fmla="*/ 45760256 h 189"/>
                  <a:gd name="T58" fmla="*/ 20428595 w 191"/>
                  <a:gd name="T59" fmla="*/ 47285480 h 189"/>
                  <a:gd name="T60" fmla="*/ 25745627 w 191"/>
                  <a:gd name="T61" fmla="*/ 48048344 h 189"/>
                  <a:gd name="T62" fmla="*/ 30783344 w 191"/>
                  <a:gd name="T63" fmla="*/ 47794224 h 189"/>
                  <a:gd name="T64" fmla="*/ 35820532 w 191"/>
                  <a:gd name="T65" fmla="*/ 46523120 h 18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1"/>
                  <a:gd name="T100" fmla="*/ 0 h 189"/>
                  <a:gd name="T101" fmla="*/ 191 w 191"/>
                  <a:gd name="T102" fmla="*/ 189 h 18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1" h="189">
                    <a:moveTo>
                      <a:pt x="128" y="183"/>
                    </a:moveTo>
                    <a:lnTo>
                      <a:pt x="146" y="175"/>
                    </a:lnTo>
                    <a:lnTo>
                      <a:pt x="160" y="164"/>
                    </a:lnTo>
                    <a:lnTo>
                      <a:pt x="172" y="150"/>
                    </a:lnTo>
                    <a:lnTo>
                      <a:pt x="181" y="134"/>
                    </a:lnTo>
                    <a:lnTo>
                      <a:pt x="187" y="116"/>
                    </a:lnTo>
                    <a:lnTo>
                      <a:pt x="191" y="98"/>
                    </a:lnTo>
                    <a:lnTo>
                      <a:pt x="189" y="80"/>
                    </a:lnTo>
                    <a:lnTo>
                      <a:pt x="185" y="61"/>
                    </a:lnTo>
                    <a:lnTo>
                      <a:pt x="177" y="44"/>
                    </a:lnTo>
                    <a:lnTo>
                      <a:pt x="165" y="30"/>
                    </a:lnTo>
                    <a:lnTo>
                      <a:pt x="151" y="17"/>
                    </a:lnTo>
                    <a:lnTo>
                      <a:pt x="135" y="8"/>
                    </a:lnTo>
                    <a:lnTo>
                      <a:pt x="118" y="2"/>
                    </a:lnTo>
                    <a:lnTo>
                      <a:pt x="100" y="0"/>
                    </a:lnTo>
                    <a:lnTo>
                      <a:pt x="81" y="1"/>
                    </a:lnTo>
                    <a:lnTo>
                      <a:pt x="63" y="6"/>
                    </a:lnTo>
                    <a:lnTo>
                      <a:pt x="45" y="14"/>
                    </a:lnTo>
                    <a:lnTo>
                      <a:pt x="32" y="25"/>
                    </a:lnTo>
                    <a:lnTo>
                      <a:pt x="19" y="38"/>
                    </a:lnTo>
                    <a:lnTo>
                      <a:pt x="10" y="54"/>
                    </a:lnTo>
                    <a:lnTo>
                      <a:pt x="4" y="71"/>
                    </a:lnTo>
                    <a:lnTo>
                      <a:pt x="0" y="90"/>
                    </a:lnTo>
                    <a:lnTo>
                      <a:pt x="2" y="108"/>
                    </a:lnTo>
                    <a:lnTo>
                      <a:pt x="6" y="127"/>
                    </a:lnTo>
                    <a:lnTo>
                      <a:pt x="14" y="144"/>
                    </a:lnTo>
                    <a:lnTo>
                      <a:pt x="26" y="159"/>
                    </a:lnTo>
                    <a:lnTo>
                      <a:pt x="40" y="171"/>
                    </a:lnTo>
                    <a:lnTo>
                      <a:pt x="56" y="180"/>
                    </a:lnTo>
                    <a:lnTo>
                      <a:pt x="73" y="186"/>
                    </a:lnTo>
                    <a:lnTo>
                      <a:pt x="92" y="189"/>
                    </a:lnTo>
                    <a:lnTo>
                      <a:pt x="110" y="188"/>
                    </a:lnTo>
                    <a:lnTo>
                      <a:pt x="128" y="183"/>
                    </a:lnTo>
                    <a:close/>
                  </a:path>
                </a:pathLst>
              </a:custGeom>
              <a:solidFill>
                <a:srgbClr val="376092"/>
              </a:solidFill>
              <a:ln w="19050">
                <a:solidFill>
                  <a:srgbClr val="000000"/>
                </a:solidFill>
                <a:round/>
                <a:headEnd/>
                <a:tailEnd/>
              </a:ln>
              <a:effectLst>
                <a:outerShdw blurRad="63500" dist="38100" dir="2700000" algn="tl" rotWithShape="0">
                  <a:srgbClr val="000000">
                    <a:alpha val="39998"/>
                  </a:srgbClr>
                </a:outerShdw>
              </a:effectLst>
            </p:spPr>
            <p:txBody>
              <a:bodyPr lIns="18000" tIns="0" rIns="18000" bIns="0"/>
              <a:lstStyle/>
              <a:p>
                <a:pPr>
                  <a:defRPr/>
                </a:pPr>
                <a:endParaRPr lang="en-GB"/>
              </a:p>
            </p:txBody>
          </p:sp>
        </p:grpSp>
        <p:cxnSp>
          <p:nvCxnSpPr>
            <p:cNvPr id="87064" name="직선 화살표 연결선 644">
              <a:extLst>
                <a:ext uri="{FF2B5EF4-FFF2-40B4-BE49-F238E27FC236}">
                  <a16:creationId xmlns:a16="http://schemas.microsoft.com/office/drawing/2014/main" id="{5C338A89-BC05-4209-AF86-2C7182346F40}"/>
                </a:ext>
              </a:extLst>
            </p:cNvPr>
            <p:cNvCxnSpPr>
              <a:cxnSpLocks noChangeShapeType="1"/>
            </p:cNvCxnSpPr>
            <p:nvPr/>
          </p:nvCxnSpPr>
          <p:spPr bwMode="auto">
            <a:xfrm rot="16200000" flipH="1">
              <a:off x="5882482" y="4980767"/>
              <a:ext cx="255588" cy="257175"/>
            </a:xfrm>
            <a:prstGeom prst="straightConnector1">
              <a:avLst/>
            </a:prstGeom>
            <a:noFill/>
            <a:ln w="19050">
              <a:solidFill>
                <a:srgbClr val="800000"/>
              </a:solidFill>
              <a:round/>
              <a:headEnd type="triangle" w="med" len="med"/>
              <a:tailEnd type="triangle" w="med" len="med"/>
            </a:ln>
            <a:extLst>
              <a:ext uri="{909E8E84-426E-40DD-AFC4-6F175D3DCCD1}">
                <a14:hiddenFill xmlns:a14="http://schemas.microsoft.com/office/drawing/2010/main">
                  <a:noFill/>
                </a14:hiddenFill>
              </a:ext>
            </a:extLst>
          </p:spPr>
        </p:cxnSp>
        <p:sp>
          <p:nvSpPr>
            <p:cNvPr id="646" name="Rectangle 123">
              <a:extLst>
                <a:ext uri="{FF2B5EF4-FFF2-40B4-BE49-F238E27FC236}">
                  <a16:creationId xmlns:a16="http://schemas.microsoft.com/office/drawing/2014/main" id="{C6B81A3F-4D31-4746-8F56-9AAD3CA4F701}"/>
                </a:ext>
              </a:extLst>
            </p:cNvPr>
            <p:cNvSpPr>
              <a:spLocks noChangeArrowheads="1"/>
            </p:cNvSpPr>
            <p:nvPr/>
          </p:nvSpPr>
          <p:spPr bwMode="auto">
            <a:xfrm>
              <a:off x="2636838" y="1658924"/>
              <a:ext cx="3787775" cy="965200"/>
            </a:xfrm>
            <a:prstGeom prst="roundRect">
              <a:avLst>
                <a:gd name="adj" fmla="val 6528"/>
              </a:avLst>
            </a:prstGeom>
            <a:solidFill>
              <a:srgbClr val="F2F2F2"/>
            </a:solidFill>
            <a:ln w="9525">
              <a:solidFill>
                <a:srgbClr val="000000"/>
              </a:solidFill>
              <a:round/>
              <a:headEnd/>
              <a:tailEnd/>
            </a:ln>
            <a:effectLst>
              <a:outerShdw blurRad="63500" dist="20000" dir="5400000" rotWithShape="0">
                <a:srgbClr val="000000">
                  <a:alpha val="37999"/>
                </a:srgbClr>
              </a:outerShdw>
            </a:effectLst>
          </p:spPr>
          <p:txBody>
            <a:bodyPr lIns="70376" tIns="36021" rIns="70376" bIns="35187" anchor="ctr"/>
            <a:lstStyle/>
            <a:p>
              <a:pPr eaLnBrk="1" latinLnBrk="1" hangingPunct="1">
                <a:defRPr/>
              </a:pPr>
              <a:endParaRPr kumimoji="1" lang="ko-KR" altLang="en-US" sz="1800">
                <a:solidFill>
                  <a:srgbClr val="000000"/>
                </a:solidFill>
                <a:latin typeface="Arial" charset="0"/>
                <a:ea typeface="Gulim" pitchFamily="34" charset="-127"/>
                <a:cs typeface="Gulim" pitchFamily="34" charset="-127"/>
              </a:endParaRPr>
            </a:p>
          </p:txBody>
        </p:sp>
        <p:sp>
          <p:nvSpPr>
            <p:cNvPr id="647" name="Rectangle 122">
              <a:extLst>
                <a:ext uri="{FF2B5EF4-FFF2-40B4-BE49-F238E27FC236}">
                  <a16:creationId xmlns:a16="http://schemas.microsoft.com/office/drawing/2014/main" id="{330C6904-E8DE-43DD-96F8-05E355094F7A}"/>
                </a:ext>
              </a:extLst>
            </p:cNvPr>
            <p:cNvSpPr>
              <a:spLocks noChangeArrowheads="1"/>
            </p:cNvSpPr>
            <p:nvPr/>
          </p:nvSpPr>
          <p:spPr bwMode="auto">
            <a:xfrm>
              <a:off x="2649538" y="1500174"/>
              <a:ext cx="3756025" cy="331787"/>
            </a:xfrm>
            <a:custGeom>
              <a:avLst/>
              <a:gdLst>
                <a:gd name="T0" fmla="*/ 3756025 w 3756025"/>
                <a:gd name="T1" fmla="*/ 165894 h 331787"/>
                <a:gd name="T2" fmla="*/ 1878013 w 3756025"/>
                <a:gd name="T3" fmla="*/ 331787 h 331787"/>
                <a:gd name="T4" fmla="*/ 0 w 3756025"/>
                <a:gd name="T5" fmla="*/ 165894 h 331787"/>
                <a:gd name="T6" fmla="*/ 1878013 w 3756025"/>
                <a:gd name="T7" fmla="*/ 0 h 331787"/>
                <a:gd name="T8" fmla="*/ 0 60000 65536"/>
                <a:gd name="T9" fmla="*/ 5898240 60000 65536"/>
                <a:gd name="T10" fmla="*/ 11796480 60000 65536"/>
                <a:gd name="T11" fmla="*/ 17694720 60000 65536"/>
                <a:gd name="T12" fmla="*/ 29865 w 3756025"/>
                <a:gd name="T13" fmla="*/ 29865 h 331787"/>
                <a:gd name="T14" fmla="*/ 3726160 w 3756025"/>
                <a:gd name="T15" fmla="*/ 331787 h 331787"/>
              </a:gdLst>
              <a:ahLst/>
              <a:cxnLst>
                <a:cxn ang="T8">
                  <a:pos x="T0" y="T1"/>
                </a:cxn>
                <a:cxn ang="T9">
                  <a:pos x="T2" y="T3"/>
                </a:cxn>
                <a:cxn ang="T10">
                  <a:pos x="T4" y="T5"/>
                </a:cxn>
                <a:cxn ang="T11">
                  <a:pos x="T6" y="T7"/>
                </a:cxn>
              </a:cxnLst>
              <a:rect l="T12" t="T13" r="T14" b="T15"/>
              <a:pathLst>
                <a:path w="3756025" h="331787">
                  <a:moveTo>
                    <a:pt x="101968" y="0"/>
                  </a:moveTo>
                  <a:lnTo>
                    <a:pt x="3654057" y="0"/>
                  </a:lnTo>
                  <a:lnTo>
                    <a:pt x="3654057" y="-1"/>
                  </a:lnTo>
                  <a:cubicBezTo>
                    <a:pt x="3710372" y="-1"/>
                    <a:pt x="3756025" y="45652"/>
                    <a:pt x="3756025" y="101968"/>
                  </a:cubicBezTo>
                  <a:lnTo>
                    <a:pt x="3756025" y="331787"/>
                  </a:lnTo>
                  <a:lnTo>
                    <a:pt x="0" y="331787"/>
                  </a:lnTo>
                  <a:lnTo>
                    <a:pt x="0" y="101968"/>
                  </a:lnTo>
                  <a:lnTo>
                    <a:pt x="-1" y="101967"/>
                  </a:lnTo>
                  <a:cubicBezTo>
                    <a:pt x="-1" y="45652"/>
                    <a:pt x="45652" y="-1"/>
                    <a:pt x="101968" y="-1"/>
                  </a:cubicBezTo>
                  <a:lnTo>
                    <a:pt x="101968" y="0"/>
                  </a:lnTo>
                  <a:close/>
                </a:path>
              </a:pathLst>
            </a:custGeom>
            <a:gradFill rotWithShape="1">
              <a:gsLst>
                <a:gs pos="0">
                  <a:srgbClr val="2787A0"/>
                </a:gs>
                <a:gs pos="80000">
                  <a:srgbClr val="36B1D2"/>
                </a:gs>
                <a:gs pos="100000">
                  <a:srgbClr val="34B3D6"/>
                </a:gs>
              </a:gsLst>
              <a:lin ang="16200000"/>
            </a:gradFill>
            <a:ln w="9525">
              <a:solidFill>
                <a:srgbClr val="46AAC5"/>
              </a:solidFill>
              <a:miter lim="800000"/>
              <a:headEnd/>
              <a:tailEnd/>
            </a:ln>
            <a:effectLst>
              <a:outerShdw blurRad="63500" dist="23000" dir="5400000" rotWithShape="0">
                <a:srgbClr val="000000">
                  <a:alpha val="34998"/>
                </a:srgbClr>
              </a:outerShdw>
            </a:effectLst>
          </p:spPr>
          <p:txBody>
            <a:bodyPr lIns="70376" tIns="36021" rIns="70376" bIns="35187" anchor="ctr"/>
            <a:lstStyle>
              <a:lvl1pPr defTabSz="762000" eaLnBrk="0" hangingPunct="0">
                <a:defRPr sz="2400">
                  <a:solidFill>
                    <a:schemeClr val="tx1"/>
                  </a:solidFill>
                  <a:latin typeface="Arial" panose="020B0604020202020204" pitchFamily="34" charset="0"/>
                  <a:cs typeface="Arial" panose="020B0604020202020204" pitchFamily="34" charset="0"/>
                </a:defRPr>
              </a:lvl1pPr>
              <a:lvl2pPr marL="37931725" indent="-37474525" defTabSz="762000" eaLnBrk="0" hangingPunct="0">
                <a:defRPr sz="2400">
                  <a:solidFill>
                    <a:schemeClr val="tx1"/>
                  </a:solidFill>
                  <a:latin typeface="Arial" panose="020B0604020202020204" pitchFamily="34" charset="0"/>
                  <a:cs typeface="Arial" panose="020B0604020202020204" pitchFamily="34" charset="0"/>
                </a:defRPr>
              </a:lvl2pPr>
              <a:lvl3pPr eaLnBrk="0" hangingPunct="0">
                <a:defRPr sz="2400">
                  <a:solidFill>
                    <a:schemeClr val="tx1"/>
                  </a:solidFill>
                  <a:latin typeface="Arial" panose="020B0604020202020204" pitchFamily="34" charset="0"/>
                  <a:cs typeface="Arial" panose="020B0604020202020204" pitchFamily="34" charset="0"/>
                </a:defRPr>
              </a:lvl3pPr>
              <a:lvl4pPr eaLnBrk="0" hangingPunct="0">
                <a:defRPr sz="2400">
                  <a:solidFill>
                    <a:schemeClr val="tx1"/>
                  </a:solidFill>
                  <a:latin typeface="Arial" panose="020B0604020202020204" pitchFamily="34" charset="0"/>
                  <a:cs typeface="Arial" panose="020B0604020202020204" pitchFamily="34" charset="0"/>
                </a:defRPr>
              </a:lvl4pPr>
              <a:lvl5pPr eaLnBrk="0" hangingPunct="0">
                <a:defRPr sz="2400">
                  <a:solidFill>
                    <a:schemeClr val="tx1"/>
                  </a:solidFill>
                  <a:latin typeface="Arial" panose="020B0604020202020204" pitchFamily="34" charset="0"/>
                  <a:cs typeface="Arial" panose="020B0604020202020204" pitchFamily="34" charset="0"/>
                </a:defRPr>
              </a:lvl5pPr>
              <a:lvl6pPr marL="4572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6pPr>
              <a:lvl7pPr marL="9144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7pPr>
              <a:lvl8pPr marL="13716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8pPr>
              <a:lvl9pPr marL="18288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9pPr>
            </a:lstStyle>
            <a:p>
              <a:pPr eaLnBrk="1" latinLnBrk="1" hangingPunct="1">
                <a:defRPr/>
              </a:pPr>
              <a:r>
                <a:rPr lang="en-US" altLang="ko-KR" sz="1100" b="1" dirty="0">
                  <a:solidFill>
                    <a:srgbClr val="FFFFFF"/>
                  </a:solidFill>
                  <a:ea typeface="맑은 고딕" panose="020B0503020000020004" pitchFamily="34" charset="-127"/>
                </a:rPr>
                <a:t>Model Office   :  IPO Front Office</a:t>
              </a:r>
            </a:p>
          </p:txBody>
        </p:sp>
        <p:sp>
          <p:nvSpPr>
            <p:cNvPr id="648" name="Rectangle 123">
              <a:extLst>
                <a:ext uri="{FF2B5EF4-FFF2-40B4-BE49-F238E27FC236}">
                  <a16:creationId xmlns:a16="http://schemas.microsoft.com/office/drawing/2014/main" id="{2D433BAC-C581-4378-B834-152A2ED396B1}"/>
                </a:ext>
              </a:extLst>
            </p:cNvPr>
            <p:cNvSpPr>
              <a:spLocks noChangeArrowheads="1"/>
            </p:cNvSpPr>
            <p:nvPr/>
          </p:nvSpPr>
          <p:spPr bwMode="auto">
            <a:xfrm>
              <a:off x="1276350" y="5572111"/>
              <a:ext cx="1089025" cy="1000125"/>
            </a:xfrm>
            <a:prstGeom prst="roundRect">
              <a:avLst>
                <a:gd name="adj" fmla="val 6528"/>
              </a:avLst>
            </a:prstGeom>
            <a:solidFill>
              <a:srgbClr val="F2F2F2"/>
            </a:solidFill>
            <a:ln w="9525">
              <a:solidFill>
                <a:srgbClr val="7F7F7F"/>
              </a:solidFill>
              <a:round/>
              <a:headEnd/>
              <a:tailEnd/>
            </a:ln>
            <a:effectLst>
              <a:outerShdw blurRad="63500" dist="20000" dir="5400000" rotWithShape="0">
                <a:srgbClr val="000000">
                  <a:alpha val="37999"/>
                </a:srgbClr>
              </a:outerShdw>
            </a:effectLst>
          </p:spPr>
          <p:txBody>
            <a:bodyPr lIns="70376" tIns="36021" rIns="70376" bIns="35187" anchor="ctr"/>
            <a:lstStyle/>
            <a:p>
              <a:pPr eaLnBrk="1" latinLnBrk="1" hangingPunct="1">
                <a:defRPr/>
              </a:pPr>
              <a:endParaRPr kumimoji="1" lang="ko-KR" altLang="en-US" sz="1800">
                <a:solidFill>
                  <a:srgbClr val="000000"/>
                </a:solidFill>
                <a:latin typeface="Arial" charset="0"/>
                <a:ea typeface="Gulim" pitchFamily="34" charset="-127"/>
                <a:cs typeface="Gulim" pitchFamily="34" charset="-127"/>
              </a:endParaRPr>
            </a:p>
          </p:txBody>
        </p:sp>
        <p:pic>
          <p:nvPicPr>
            <p:cNvPr id="87068" name="Picture 126" descr="MCj04380590000[1]">
              <a:extLst>
                <a:ext uri="{FF2B5EF4-FFF2-40B4-BE49-F238E27FC236}">
                  <a16:creationId xmlns:a16="http://schemas.microsoft.com/office/drawing/2014/main" id="{F884991D-EEA8-4648-8439-3B1B27A49B8A}"/>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17638" y="5878499"/>
              <a:ext cx="387350"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069" name="Rectangle 133">
              <a:extLst>
                <a:ext uri="{FF2B5EF4-FFF2-40B4-BE49-F238E27FC236}">
                  <a16:creationId xmlns:a16="http://schemas.microsoft.com/office/drawing/2014/main" id="{244D2818-3858-45A2-8854-7FA530556D30}"/>
                </a:ext>
              </a:extLst>
            </p:cNvPr>
            <p:cNvSpPr>
              <a:spLocks noChangeArrowheads="1"/>
            </p:cNvSpPr>
            <p:nvPr/>
          </p:nvSpPr>
          <p:spPr bwMode="auto">
            <a:xfrm>
              <a:off x="1379538" y="6262674"/>
              <a:ext cx="101997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tIns="0" rIns="18000" bIns="0">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spcBef>
                  <a:spcPct val="0"/>
                </a:spcBef>
                <a:buClrTx/>
                <a:buSzTx/>
                <a:buFontTx/>
                <a:buChar char="•"/>
              </a:pPr>
              <a:r>
                <a:rPr lang="en-US" altLang="ko-KR" sz="900">
                  <a:solidFill>
                    <a:schemeClr val="tx1"/>
                  </a:solidFill>
                  <a:ea typeface="Malgun Gothic" panose="020B0503020000020004" pitchFamily="34" charset="-127"/>
                  <a:cs typeface="Arial" panose="020B0604020202020204" pitchFamily="34" charset="0"/>
                </a:rPr>
                <a:t> WIPO</a:t>
              </a:r>
            </a:p>
            <a:p>
              <a:pPr eaLnBrk="1" latinLnBrk="1" hangingPunct="1">
                <a:spcBef>
                  <a:spcPct val="0"/>
                </a:spcBef>
                <a:buClrTx/>
                <a:buSzTx/>
                <a:buFontTx/>
                <a:buChar char="•"/>
              </a:pPr>
              <a:r>
                <a:rPr lang="en-US" altLang="ko-KR" sz="900">
                  <a:solidFill>
                    <a:schemeClr val="tx1"/>
                  </a:solidFill>
                  <a:ea typeface="Malgun Gothic" panose="020B0503020000020004" pitchFamily="34" charset="-127"/>
                  <a:cs typeface="Arial" panose="020B0604020202020204" pitchFamily="34" charset="0"/>
                </a:rPr>
                <a:t> Other Coop. Part</a:t>
              </a:r>
              <a:endParaRPr lang="ko-KR" altLang="en-US" sz="900">
                <a:solidFill>
                  <a:schemeClr val="tx1"/>
                </a:solidFill>
                <a:ea typeface="Malgun Gothic" panose="020B0503020000020004" pitchFamily="34" charset="-127"/>
                <a:cs typeface="Arial" panose="020B0604020202020204" pitchFamily="34" charset="0"/>
              </a:endParaRPr>
            </a:p>
          </p:txBody>
        </p:sp>
        <p:sp>
          <p:nvSpPr>
            <p:cNvPr id="651" name="Rectangle 122">
              <a:extLst>
                <a:ext uri="{FF2B5EF4-FFF2-40B4-BE49-F238E27FC236}">
                  <a16:creationId xmlns:a16="http://schemas.microsoft.com/office/drawing/2014/main" id="{801C2BF4-7890-43D4-A992-5B3D5F9D9C4B}"/>
                </a:ext>
              </a:extLst>
            </p:cNvPr>
            <p:cNvSpPr>
              <a:spLocks noChangeArrowheads="1"/>
            </p:cNvSpPr>
            <p:nvPr/>
          </p:nvSpPr>
          <p:spPr bwMode="auto">
            <a:xfrm>
              <a:off x="1276350" y="5557824"/>
              <a:ext cx="1089025" cy="260350"/>
            </a:xfrm>
            <a:prstGeom prst="rect">
              <a:avLst/>
            </a:prstGeom>
            <a:gradFill rotWithShape="1">
              <a:gsLst>
                <a:gs pos="0">
                  <a:srgbClr val="2787A0"/>
                </a:gs>
                <a:gs pos="80000">
                  <a:srgbClr val="36B1D2"/>
                </a:gs>
                <a:gs pos="100000">
                  <a:srgbClr val="34B3D6"/>
                </a:gs>
              </a:gsLst>
              <a:lin ang="16200000"/>
            </a:gradFill>
            <a:ln w="9525">
              <a:solidFill>
                <a:srgbClr val="46AAC5"/>
              </a:solidFill>
              <a:miter lim="800000"/>
              <a:headEnd/>
              <a:tailEnd/>
            </a:ln>
            <a:effectLst>
              <a:outerShdw blurRad="63500" dist="23000" dir="5400000" rotWithShape="0">
                <a:srgbClr val="000000">
                  <a:alpha val="34998"/>
                </a:srgbClr>
              </a:outerShdw>
            </a:effectLst>
          </p:spPr>
          <p:txBody>
            <a:bodyPr lIns="70376" tIns="36021" rIns="70376" bIns="35187" anchor="ctr"/>
            <a:lstStyle>
              <a:defPPr>
                <a:defRPr lang="en-GB"/>
              </a:defPPr>
              <a:lvl1pPr algn="l" rtl="0" fontAlgn="base" latinLnBrk="1">
                <a:spcBef>
                  <a:spcPct val="0"/>
                </a:spcBef>
                <a:spcAft>
                  <a:spcPct val="0"/>
                </a:spcAft>
                <a:defRPr kumimoji="1" kern="1200">
                  <a:solidFill>
                    <a:schemeClr val="lt1"/>
                  </a:solidFill>
                  <a:latin typeface="+mn-lt"/>
                  <a:ea typeface="+mn-ea"/>
                  <a:cs typeface="+mn-cs"/>
                </a:defRPr>
              </a:lvl1pPr>
              <a:lvl2pPr marL="457200" algn="l" rtl="0" fontAlgn="base" latinLnBrk="1">
                <a:spcBef>
                  <a:spcPct val="0"/>
                </a:spcBef>
                <a:spcAft>
                  <a:spcPct val="0"/>
                </a:spcAft>
                <a:defRPr kumimoji="1" kern="1200">
                  <a:solidFill>
                    <a:schemeClr val="lt1"/>
                  </a:solidFill>
                  <a:latin typeface="+mn-lt"/>
                  <a:ea typeface="+mn-ea"/>
                  <a:cs typeface="+mn-cs"/>
                </a:defRPr>
              </a:lvl2pPr>
              <a:lvl3pPr marL="914400" algn="l" rtl="0" fontAlgn="base" latinLnBrk="1">
                <a:spcBef>
                  <a:spcPct val="0"/>
                </a:spcBef>
                <a:spcAft>
                  <a:spcPct val="0"/>
                </a:spcAft>
                <a:defRPr kumimoji="1" kern="1200">
                  <a:solidFill>
                    <a:schemeClr val="lt1"/>
                  </a:solidFill>
                  <a:latin typeface="+mn-lt"/>
                  <a:ea typeface="+mn-ea"/>
                  <a:cs typeface="+mn-cs"/>
                </a:defRPr>
              </a:lvl3pPr>
              <a:lvl4pPr marL="1371600" algn="l" rtl="0" fontAlgn="base" latinLnBrk="1">
                <a:spcBef>
                  <a:spcPct val="0"/>
                </a:spcBef>
                <a:spcAft>
                  <a:spcPct val="0"/>
                </a:spcAft>
                <a:defRPr kumimoji="1" kern="1200">
                  <a:solidFill>
                    <a:schemeClr val="lt1"/>
                  </a:solidFill>
                  <a:latin typeface="+mn-lt"/>
                  <a:ea typeface="+mn-ea"/>
                  <a:cs typeface="+mn-cs"/>
                </a:defRPr>
              </a:lvl4pPr>
              <a:lvl5pPr marL="1828800" algn="l" rtl="0" fontAlgn="base" latinLnBrk="1">
                <a:spcBef>
                  <a:spcPct val="0"/>
                </a:spcBef>
                <a:spcAft>
                  <a:spcPct val="0"/>
                </a:spcAft>
                <a:defRPr kumimoji="1" kern="1200">
                  <a:solidFill>
                    <a:schemeClr val="lt1"/>
                  </a:solidFill>
                  <a:latin typeface="+mn-lt"/>
                  <a:ea typeface="+mn-ea"/>
                  <a:cs typeface="+mn-cs"/>
                </a:defRPr>
              </a:lvl5pPr>
              <a:lvl6pPr marL="2286000" algn="l" defTabSz="914400" rtl="0" eaLnBrk="1" latinLnBrk="1" hangingPunct="1">
                <a:defRPr kumimoji="1" kern="1200">
                  <a:solidFill>
                    <a:schemeClr val="lt1"/>
                  </a:solidFill>
                  <a:latin typeface="+mn-lt"/>
                  <a:ea typeface="+mn-ea"/>
                  <a:cs typeface="+mn-cs"/>
                </a:defRPr>
              </a:lvl6pPr>
              <a:lvl7pPr marL="2743200" algn="l" defTabSz="914400" rtl="0" eaLnBrk="1" latinLnBrk="1" hangingPunct="1">
                <a:defRPr kumimoji="1" kern="1200">
                  <a:solidFill>
                    <a:schemeClr val="lt1"/>
                  </a:solidFill>
                  <a:latin typeface="+mn-lt"/>
                  <a:ea typeface="+mn-ea"/>
                  <a:cs typeface="+mn-cs"/>
                </a:defRPr>
              </a:lvl7pPr>
              <a:lvl8pPr marL="3200400" algn="l" defTabSz="914400" rtl="0" eaLnBrk="1" latinLnBrk="1" hangingPunct="1">
                <a:defRPr kumimoji="1" kern="1200">
                  <a:solidFill>
                    <a:schemeClr val="lt1"/>
                  </a:solidFill>
                  <a:latin typeface="+mn-lt"/>
                  <a:ea typeface="+mn-ea"/>
                  <a:cs typeface="+mn-cs"/>
                </a:defRPr>
              </a:lvl8pPr>
              <a:lvl9pPr marL="3657600" algn="l" defTabSz="914400" rtl="0" eaLnBrk="1" latinLnBrk="1" hangingPunct="1">
                <a:defRPr kumimoji="1" kern="1200">
                  <a:solidFill>
                    <a:schemeClr val="lt1"/>
                  </a:solidFill>
                  <a:latin typeface="+mn-lt"/>
                  <a:ea typeface="+mn-ea"/>
                  <a:cs typeface="+mn-cs"/>
                </a:defRPr>
              </a:lvl9pPr>
            </a:lstStyle>
            <a:p>
              <a:pPr algn="ctr" defTabSz="762000" eaLnBrk="1" hangingPunct="1">
                <a:defRPr/>
              </a:pPr>
              <a:r>
                <a:rPr lang="en-US" altLang="ko-KR" sz="1000" b="1">
                  <a:solidFill>
                    <a:sysClr val="window" lastClr="FFFFFF"/>
                  </a:solidFill>
                  <a:ea typeface="HY견고딕" pitchFamily="18" charset="-127"/>
                </a:rPr>
                <a:t>Worldwide</a:t>
              </a:r>
            </a:p>
          </p:txBody>
        </p:sp>
        <p:grpSp>
          <p:nvGrpSpPr>
            <p:cNvPr id="87071" name="Group 76">
              <a:extLst>
                <a:ext uri="{FF2B5EF4-FFF2-40B4-BE49-F238E27FC236}">
                  <a16:creationId xmlns:a16="http://schemas.microsoft.com/office/drawing/2014/main" id="{41AF9456-20ED-4C02-B676-02860E8B80DA}"/>
                </a:ext>
              </a:extLst>
            </p:cNvPr>
            <p:cNvGrpSpPr>
              <a:grpSpLocks noChangeAspect="1"/>
            </p:cNvGrpSpPr>
            <p:nvPr/>
          </p:nvGrpSpPr>
          <p:grpSpPr bwMode="auto">
            <a:xfrm rot="-1581885">
              <a:off x="1862138" y="5929298"/>
              <a:ext cx="307975" cy="330199"/>
              <a:chOff x="4394" y="210"/>
              <a:chExt cx="594" cy="750"/>
            </a:xfrm>
          </p:grpSpPr>
          <p:sp>
            <p:nvSpPr>
              <p:cNvPr id="87594" name="Freeform 52">
                <a:extLst>
                  <a:ext uri="{FF2B5EF4-FFF2-40B4-BE49-F238E27FC236}">
                    <a16:creationId xmlns:a16="http://schemas.microsoft.com/office/drawing/2014/main" id="{2ABDDF1E-ED24-4C06-9A18-B94698D97393}"/>
                  </a:ext>
                </a:extLst>
              </p:cNvPr>
              <p:cNvSpPr>
                <a:spLocks noChangeAspect="1"/>
              </p:cNvSpPr>
              <p:nvPr/>
            </p:nvSpPr>
            <p:spPr bwMode="auto">
              <a:xfrm>
                <a:off x="4503" y="475"/>
                <a:ext cx="485" cy="485"/>
              </a:xfrm>
              <a:custGeom>
                <a:avLst/>
                <a:gdLst>
                  <a:gd name="T0" fmla="*/ 0 w 7273"/>
                  <a:gd name="T1" fmla="*/ 0 h 7269"/>
                  <a:gd name="T2" fmla="*/ 0 w 7273"/>
                  <a:gd name="T3" fmla="*/ 0 h 7269"/>
                  <a:gd name="T4" fmla="*/ 0 w 7273"/>
                  <a:gd name="T5" fmla="*/ 0 h 7269"/>
                  <a:gd name="T6" fmla="*/ 0 w 7273"/>
                  <a:gd name="T7" fmla="*/ 0 h 7269"/>
                  <a:gd name="T8" fmla="*/ 0 w 7273"/>
                  <a:gd name="T9" fmla="*/ 0 h 7269"/>
                  <a:gd name="T10" fmla="*/ 0 w 7273"/>
                  <a:gd name="T11" fmla="*/ 0 h 7269"/>
                  <a:gd name="T12" fmla="*/ 0 w 7273"/>
                  <a:gd name="T13" fmla="*/ 0 h 7269"/>
                  <a:gd name="T14" fmla="*/ 0 w 7273"/>
                  <a:gd name="T15" fmla="*/ 0 h 7269"/>
                  <a:gd name="T16" fmla="*/ 0 w 7273"/>
                  <a:gd name="T17" fmla="*/ 0 h 7269"/>
                  <a:gd name="T18" fmla="*/ 0 w 7273"/>
                  <a:gd name="T19" fmla="*/ 0 h 7269"/>
                  <a:gd name="T20" fmla="*/ 0 w 7273"/>
                  <a:gd name="T21" fmla="*/ 0 h 7269"/>
                  <a:gd name="T22" fmla="*/ 0 w 7273"/>
                  <a:gd name="T23" fmla="*/ 0 h 7269"/>
                  <a:gd name="T24" fmla="*/ 0 w 7273"/>
                  <a:gd name="T25" fmla="*/ 0 h 7269"/>
                  <a:gd name="T26" fmla="*/ 0 w 7273"/>
                  <a:gd name="T27" fmla="*/ 0 h 7269"/>
                  <a:gd name="T28" fmla="*/ 0 w 7273"/>
                  <a:gd name="T29" fmla="*/ 0 h 7269"/>
                  <a:gd name="T30" fmla="*/ 0 w 7273"/>
                  <a:gd name="T31" fmla="*/ 0 h 7269"/>
                  <a:gd name="T32" fmla="*/ 0 w 7273"/>
                  <a:gd name="T33" fmla="*/ 0 h 7269"/>
                  <a:gd name="T34" fmla="*/ 0 w 7273"/>
                  <a:gd name="T35" fmla="*/ 0 h 7269"/>
                  <a:gd name="T36" fmla="*/ 0 w 7273"/>
                  <a:gd name="T37" fmla="*/ 0 h 7269"/>
                  <a:gd name="T38" fmla="*/ 0 w 7273"/>
                  <a:gd name="T39" fmla="*/ 0 h 7269"/>
                  <a:gd name="T40" fmla="*/ 0 w 7273"/>
                  <a:gd name="T41" fmla="*/ 0 h 7269"/>
                  <a:gd name="T42" fmla="*/ 0 w 7273"/>
                  <a:gd name="T43" fmla="*/ 0 h 7269"/>
                  <a:gd name="T44" fmla="*/ 0 w 7273"/>
                  <a:gd name="T45" fmla="*/ 0 h 7269"/>
                  <a:gd name="T46" fmla="*/ 0 w 7273"/>
                  <a:gd name="T47" fmla="*/ 0 h 7269"/>
                  <a:gd name="T48" fmla="*/ 0 w 7273"/>
                  <a:gd name="T49" fmla="*/ 0 h 7269"/>
                  <a:gd name="T50" fmla="*/ 0 w 7273"/>
                  <a:gd name="T51" fmla="*/ 0 h 7269"/>
                  <a:gd name="T52" fmla="*/ 0 w 7273"/>
                  <a:gd name="T53" fmla="*/ 0 h 7269"/>
                  <a:gd name="T54" fmla="*/ 0 w 7273"/>
                  <a:gd name="T55" fmla="*/ 0 h 7269"/>
                  <a:gd name="T56" fmla="*/ 0 w 7273"/>
                  <a:gd name="T57" fmla="*/ 0 h 7269"/>
                  <a:gd name="T58" fmla="*/ 0 w 7273"/>
                  <a:gd name="T59" fmla="*/ 0 h 7269"/>
                  <a:gd name="T60" fmla="*/ 0 w 7273"/>
                  <a:gd name="T61" fmla="*/ 0 h 7269"/>
                  <a:gd name="T62" fmla="*/ 0 w 7273"/>
                  <a:gd name="T63" fmla="*/ 0 h 7269"/>
                  <a:gd name="T64" fmla="*/ 0 w 7273"/>
                  <a:gd name="T65" fmla="*/ 0 h 7269"/>
                  <a:gd name="T66" fmla="*/ 0 w 7273"/>
                  <a:gd name="T67" fmla="*/ 0 h 7269"/>
                  <a:gd name="T68" fmla="*/ 0 w 7273"/>
                  <a:gd name="T69" fmla="*/ 0 h 7269"/>
                  <a:gd name="T70" fmla="*/ 0 w 7273"/>
                  <a:gd name="T71" fmla="*/ 0 h 7269"/>
                  <a:gd name="T72" fmla="*/ 0 w 7273"/>
                  <a:gd name="T73" fmla="*/ 0 h 7269"/>
                  <a:gd name="T74" fmla="*/ 0 w 7273"/>
                  <a:gd name="T75" fmla="*/ 0 h 7269"/>
                  <a:gd name="T76" fmla="*/ 0 w 7273"/>
                  <a:gd name="T77" fmla="*/ 0 h 7269"/>
                  <a:gd name="T78" fmla="*/ 0 w 7273"/>
                  <a:gd name="T79" fmla="*/ 0 h 7269"/>
                  <a:gd name="T80" fmla="*/ 0 w 7273"/>
                  <a:gd name="T81" fmla="*/ 0 h 7269"/>
                  <a:gd name="T82" fmla="*/ 0 w 7273"/>
                  <a:gd name="T83" fmla="*/ 0 h 7269"/>
                  <a:gd name="T84" fmla="*/ 0 w 7273"/>
                  <a:gd name="T85" fmla="*/ 0 h 72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273"/>
                  <a:gd name="T130" fmla="*/ 0 h 7269"/>
                  <a:gd name="T131" fmla="*/ 7273 w 7273"/>
                  <a:gd name="T132" fmla="*/ 7269 h 72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273" h="7269">
                    <a:moveTo>
                      <a:pt x="7273" y="3634"/>
                    </a:moveTo>
                    <a:lnTo>
                      <a:pt x="7268" y="3822"/>
                    </a:lnTo>
                    <a:lnTo>
                      <a:pt x="7254" y="4006"/>
                    </a:lnTo>
                    <a:lnTo>
                      <a:pt x="7231" y="4188"/>
                    </a:lnTo>
                    <a:lnTo>
                      <a:pt x="7200" y="4367"/>
                    </a:lnTo>
                    <a:lnTo>
                      <a:pt x="7159" y="4543"/>
                    </a:lnTo>
                    <a:lnTo>
                      <a:pt x="7109" y="4715"/>
                    </a:lnTo>
                    <a:lnTo>
                      <a:pt x="7052" y="4884"/>
                    </a:lnTo>
                    <a:lnTo>
                      <a:pt x="6987" y="5049"/>
                    </a:lnTo>
                    <a:lnTo>
                      <a:pt x="6915" y="5210"/>
                    </a:lnTo>
                    <a:lnTo>
                      <a:pt x="6835" y="5367"/>
                    </a:lnTo>
                    <a:lnTo>
                      <a:pt x="6746" y="5519"/>
                    </a:lnTo>
                    <a:lnTo>
                      <a:pt x="6652" y="5666"/>
                    </a:lnTo>
                    <a:lnTo>
                      <a:pt x="6551" y="5809"/>
                    </a:lnTo>
                    <a:lnTo>
                      <a:pt x="6443" y="5946"/>
                    </a:lnTo>
                    <a:lnTo>
                      <a:pt x="6328" y="6078"/>
                    </a:lnTo>
                    <a:lnTo>
                      <a:pt x="6208" y="6204"/>
                    </a:lnTo>
                    <a:lnTo>
                      <a:pt x="6082" y="6325"/>
                    </a:lnTo>
                    <a:lnTo>
                      <a:pt x="5950" y="6439"/>
                    </a:lnTo>
                    <a:lnTo>
                      <a:pt x="5812" y="6547"/>
                    </a:lnTo>
                    <a:lnTo>
                      <a:pt x="5670" y="6648"/>
                    </a:lnTo>
                    <a:lnTo>
                      <a:pt x="5522" y="6743"/>
                    </a:lnTo>
                    <a:lnTo>
                      <a:pt x="5369" y="6830"/>
                    </a:lnTo>
                    <a:lnTo>
                      <a:pt x="5213" y="6910"/>
                    </a:lnTo>
                    <a:lnTo>
                      <a:pt x="5052" y="6983"/>
                    </a:lnTo>
                    <a:lnTo>
                      <a:pt x="4887" y="7049"/>
                    </a:lnTo>
                    <a:lnTo>
                      <a:pt x="4717" y="7105"/>
                    </a:lnTo>
                    <a:lnTo>
                      <a:pt x="4545" y="7154"/>
                    </a:lnTo>
                    <a:lnTo>
                      <a:pt x="4370" y="7195"/>
                    </a:lnTo>
                    <a:lnTo>
                      <a:pt x="4190" y="7227"/>
                    </a:lnTo>
                    <a:lnTo>
                      <a:pt x="4008" y="7250"/>
                    </a:lnTo>
                    <a:lnTo>
                      <a:pt x="3823" y="7264"/>
                    </a:lnTo>
                    <a:lnTo>
                      <a:pt x="3637" y="7269"/>
                    </a:lnTo>
                    <a:lnTo>
                      <a:pt x="3449" y="7264"/>
                    </a:lnTo>
                    <a:lnTo>
                      <a:pt x="3265" y="7250"/>
                    </a:lnTo>
                    <a:lnTo>
                      <a:pt x="3083" y="7227"/>
                    </a:lnTo>
                    <a:lnTo>
                      <a:pt x="2904" y="7195"/>
                    </a:lnTo>
                    <a:lnTo>
                      <a:pt x="2727" y="7154"/>
                    </a:lnTo>
                    <a:lnTo>
                      <a:pt x="2555" y="7105"/>
                    </a:lnTo>
                    <a:lnTo>
                      <a:pt x="2386" y="7049"/>
                    </a:lnTo>
                    <a:lnTo>
                      <a:pt x="2221" y="6983"/>
                    </a:lnTo>
                    <a:lnTo>
                      <a:pt x="2060" y="6910"/>
                    </a:lnTo>
                    <a:lnTo>
                      <a:pt x="1903" y="6830"/>
                    </a:lnTo>
                    <a:lnTo>
                      <a:pt x="1751" y="6743"/>
                    </a:lnTo>
                    <a:lnTo>
                      <a:pt x="1604" y="6648"/>
                    </a:lnTo>
                    <a:lnTo>
                      <a:pt x="1461" y="6547"/>
                    </a:lnTo>
                    <a:lnTo>
                      <a:pt x="1324" y="6439"/>
                    </a:lnTo>
                    <a:lnTo>
                      <a:pt x="1192" y="6325"/>
                    </a:lnTo>
                    <a:lnTo>
                      <a:pt x="1065" y="6204"/>
                    </a:lnTo>
                    <a:lnTo>
                      <a:pt x="944" y="6078"/>
                    </a:lnTo>
                    <a:lnTo>
                      <a:pt x="831" y="5946"/>
                    </a:lnTo>
                    <a:lnTo>
                      <a:pt x="723" y="5809"/>
                    </a:lnTo>
                    <a:lnTo>
                      <a:pt x="621" y="5666"/>
                    </a:lnTo>
                    <a:lnTo>
                      <a:pt x="526" y="5519"/>
                    </a:lnTo>
                    <a:lnTo>
                      <a:pt x="439" y="5367"/>
                    </a:lnTo>
                    <a:lnTo>
                      <a:pt x="359" y="5210"/>
                    </a:lnTo>
                    <a:lnTo>
                      <a:pt x="286" y="5049"/>
                    </a:lnTo>
                    <a:lnTo>
                      <a:pt x="221" y="4884"/>
                    </a:lnTo>
                    <a:lnTo>
                      <a:pt x="163" y="4715"/>
                    </a:lnTo>
                    <a:lnTo>
                      <a:pt x="115" y="4543"/>
                    </a:lnTo>
                    <a:lnTo>
                      <a:pt x="74" y="4367"/>
                    </a:lnTo>
                    <a:lnTo>
                      <a:pt x="42" y="4188"/>
                    </a:lnTo>
                    <a:lnTo>
                      <a:pt x="19" y="4006"/>
                    </a:lnTo>
                    <a:lnTo>
                      <a:pt x="5" y="3822"/>
                    </a:lnTo>
                    <a:lnTo>
                      <a:pt x="0" y="3634"/>
                    </a:lnTo>
                    <a:lnTo>
                      <a:pt x="5" y="3448"/>
                    </a:lnTo>
                    <a:lnTo>
                      <a:pt x="19" y="3263"/>
                    </a:lnTo>
                    <a:lnTo>
                      <a:pt x="42" y="3081"/>
                    </a:lnTo>
                    <a:lnTo>
                      <a:pt x="74" y="2902"/>
                    </a:lnTo>
                    <a:lnTo>
                      <a:pt x="115" y="2726"/>
                    </a:lnTo>
                    <a:lnTo>
                      <a:pt x="163" y="2553"/>
                    </a:lnTo>
                    <a:lnTo>
                      <a:pt x="221" y="2385"/>
                    </a:lnTo>
                    <a:lnTo>
                      <a:pt x="286" y="2220"/>
                    </a:lnTo>
                    <a:lnTo>
                      <a:pt x="359" y="2059"/>
                    </a:lnTo>
                    <a:lnTo>
                      <a:pt x="439" y="1903"/>
                    </a:lnTo>
                    <a:lnTo>
                      <a:pt x="526" y="1750"/>
                    </a:lnTo>
                    <a:lnTo>
                      <a:pt x="621" y="1602"/>
                    </a:lnTo>
                    <a:lnTo>
                      <a:pt x="723" y="1460"/>
                    </a:lnTo>
                    <a:lnTo>
                      <a:pt x="831" y="1323"/>
                    </a:lnTo>
                    <a:lnTo>
                      <a:pt x="944" y="1190"/>
                    </a:lnTo>
                    <a:lnTo>
                      <a:pt x="1065" y="1064"/>
                    </a:lnTo>
                    <a:lnTo>
                      <a:pt x="1192" y="945"/>
                    </a:lnTo>
                    <a:lnTo>
                      <a:pt x="1324" y="830"/>
                    </a:lnTo>
                    <a:lnTo>
                      <a:pt x="1461" y="722"/>
                    </a:lnTo>
                    <a:lnTo>
                      <a:pt x="1604" y="621"/>
                    </a:lnTo>
                    <a:lnTo>
                      <a:pt x="1751" y="526"/>
                    </a:lnTo>
                    <a:lnTo>
                      <a:pt x="1903" y="439"/>
                    </a:lnTo>
                    <a:lnTo>
                      <a:pt x="2060" y="358"/>
                    </a:lnTo>
                    <a:lnTo>
                      <a:pt x="2221" y="286"/>
                    </a:lnTo>
                    <a:lnTo>
                      <a:pt x="2386" y="221"/>
                    </a:lnTo>
                    <a:lnTo>
                      <a:pt x="2555" y="164"/>
                    </a:lnTo>
                    <a:lnTo>
                      <a:pt x="2727" y="115"/>
                    </a:lnTo>
                    <a:lnTo>
                      <a:pt x="2904" y="74"/>
                    </a:lnTo>
                    <a:lnTo>
                      <a:pt x="3083" y="42"/>
                    </a:lnTo>
                    <a:lnTo>
                      <a:pt x="3265" y="19"/>
                    </a:lnTo>
                    <a:lnTo>
                      <a:pt x="3449" y="5"/>
                    </a:lnTo>
                    <a:lnTo>
                      <a:pt x="3637" y="0"/>
                    </a:lnTo>
                    <a:lnTo>
                      <a:pt x="3823" y="5"/>
                    </a:lnTo>
                    <a:lnTo>
                      <a:pt x="4008" y="19"/>
                    </a:lnTo>
                    <a:lnTo>
                      <a:pt x="4190" y="42"/>
                    </a:lnTo>
                    <a:lnTo>
                      <a:pt x="4370" y="74"/>
                    </a:lnTo>
                    <a:lnTo>
                      <a:pt x="4545" y="115"/>
                    </a:lnTo>
                    <a:lnTo>
                      <a:pt x="4717" y="164"/>
                    </a:lnTo>
                    <a:lnTo>
                      <a:pt x="4887" y="221"/>
                    </a:lnTo>
                    <a:lnTo>
                      <a:pt x="5052" y="286"/>
                    </a:lnTo>
                    <a:lnTo>
                      <a:pt x="5213" y="358"/>
                    </a:lnTo>
                    <a:lnTo>
                      <a:pt x="5369" y="439"/>
                    </a:lnTo>
                    <a:lnTo>
                      <a:pt x="5522" y="526"/>
                    </a:lnTo>
                    <a:lnTo>
                      <a:pt x="5670" y="621"/>
                    </a:lnTo>
                    <a:lnTo>
                      <a:pt x="5812" y="722"/>
                    </a:lnTo>
                    <a:lnTo>
                      <a:pt x="5950" y="830"/>
                    </a:lnTo>
                    <a:lnTo>
                      <a:pt x="6082" y="945"/>
                    </a:lnTo>
                    <a:lnTo>
                      <a:pt x="6208" y="1064"/>
                    </a:lnTo>
                    <a:lnTo>
                      <a:pt x="6328" y="1190"/>
                    </a:lnTo>
                    <a:lnTo>
                      <a:pt x="6443" y="1323"/>
                    </a:lnTo>
                    <a:lnTo>
                      <a:pt x="6551" y="1460"/>
                    </a:lnTo>
                    <a:lnTo>
                      <a:pt x="6652" y="1602"/>
                    </a:lnTo>
                    <a:lnTo>
                      <a:pt x="6746" y="1750"/>
                    </a:lnTo>
                    <a:lnTo>
                      <a:pt x="6835" y="1903"/>
                    </a:lnTo>
                    <a:lnTo>
                      <a:pt x="6915" y="2059"/>
                    </a:lnTo>
                    <a:lnTo>
                      <a:pt x="6987" y="2220"/>
                    </a:lnTo>
                    <a:lnTo>
                      <a:pt x="7052" y="2385"/>
                    </a:lnTo>
                    <a:lnTo>
                      <a:pt x="7109" y="2553"/>
                    </a:lnTo>
                    <a:lnTo>
                      <a:pt x="7159" y="2726"/>
                    </a:lnTo>
                    <a:lnTo>
                      <a:pt x="7200" y="2902"/>
                    </a:lnTo>
                    <a:lnTo>
                      <a:pt x="7231" y="3081"/>
                    </a:lnTo>
                    <a:lnTo>
                      <a:pt x="7254" y="3263"/>
                    </a:lnTo>
                    <a:lnTo>
                      <a:pt x="7268" y="3448"/>
                    </a:lnTo>
                    <a:lnTo>
                      <a:pt x="7273" y="3634"/>
                    </a:lnTo>
                    <a:close/>
                  </a:path>
                </a:pathLst>
              </a:custGeom>
              <a:solidFill>
                <a:srgbClr val="179AD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95" name="Freeform 53">
                <a:extLst>
                  <a:ext uri="{FF2B5EF4-FFF2-40B4-BE49-F238E27FC236}">
                    <a16:creationId xmlns:a16="http://schemas.microsoft.com/office/drawing/2014/main" id="{B955A5A1-B56B-46C0-BAAA-E8667DF1CED6}"/>
                  </a:ext>
                </a:extLst>
              </p:cNvPr>
              <p:cNvSpPr>
                <a:spLocks noChangeAspect="1"/>
              </p:cNvSpPr>
              <p:nvPr/>
            </p:nvSpPr>
            <p:spPr bwMode="auto">
              <a:xfrm>
                <a:off x="4515" y="487"/>
                <a:ext cx="461" cy="461"/>
              </a:xfrm>
              <a:custGeom>
                <a:avLst/>
                <a:gdLst>
                  <a:gd name="T0" fmla="*/ 0 w 6916"/>
                  <a:gd name="T1" fmla="*/ 0 h 6913"/>
                  <a:gd name="T2" fmla="*/ 0 w 6916"/>
                  <a:gd name="T3" fmla="*/ 0 h 6913"/>
                  <a:gd name="T4" fmla="*/ 0 w 6916"/>
                  <a:gd name="T5" fmla="*/ 0 h 6913"/>
                  <a:gd name="T6" fmla="*/ 0 w 6916"/>
                  <a:gd name="T7" fmla="*/ 0 h 6913"/>
                  <a:gd name="T8" fmla="*/ 0 w 6916"/>
                  <a:gd name="T9" fmla="*/ 0 h 6913"/>
                  <a:gd name="T10" fmla="*/ 0 w 6916"/>
                  <a:gd name="T11" fmla="*/ 0 h 6913"/>
                  <a:gd name="T12" fmla="*/ 0 w 6916"/>
                  <a:gd name="T13" fmla="*/ 0 h 6913"/>
                  <a:gd name="T14" fmla="*/ 0 w 6916"/>
                  <a:gd name="T15" fmla="*/ 0 h 6913"/>
                  <a:gd name="T16" fmla="*/ 0 w 6916"/>
                  <a:gd name="T17" fmla="*/ 0 h 6913"/>
                  <a:gd name="T18" fmla="*/ 0 w 6916"/>
                  <a:gd name="T19" fmla="*/ 0 h 6913"/>
                  <a:gd name="T20" fmla="*/ 0 w 6916"/>
                  <a:gd name="T21" fmla="*/ 0 h 6913"/>
                  <a:gd name="T22" fmla="*/ 0 w 6916"/>
                  <a:gd name="T23" fmla="*/ 0 h 6913"/>
                  <a:gd name="T24" fmla="*/ 0 w 6916"/>
                  <a:gd name="T25" fmla="*/ 0 h 6913"/>
                  <a:gd name="T26" fmla="*/ 0 w 6916"/>
                  <a:gd name="T27" fmla="*/ 0 h 6913"/>
                  <a:gd name="T28" fmla="*/ 0 w 6916"/>
                  <a:gd name="T29" fmla="*/ 0 h 6913"/>
                  <a:gd name="T30" fmla="*/ 0 w 6916"/>
                  <a:gd name="T31" fmla="*/ 0 h 6913"/>
                  <a:gd name="T32" fmla="*/ 0 w 6916"/>
                  <a:gd name="T33" fmla="*/ 0 h 6913"/>
                  <a:gd name="T34" fmla="*/ 0 w 6916"/>
                  <a:gd name="T35" fmla="*/ 0 h 6913"/>
                  <a:gd name="T36" fmla="*/ 0 w 6916"/>
                  <a:gd name="T37" fmla="*/ 0 h 6913"/>
                  <a:gd name="T38" fmla="*/ 0 w 6916"/>
                  <a:gd name="T39" fmla="*/ 0 h 6913"/>
                  <a:gd name="T40" fmla="*/ 0 w 6916"/>
                  <a:gd name="T41" fmla="*/ 0 h 6913"/>
                  <a:gd name="T42" fmla="*/ 0 w 6916"/>
                  <a:gd name="T43" fmla="*/ 0 h 6913"/>
                  <a:gd name="T44" fmla="*/ 0 w 6916"/>
                  <a:gd name="T45" fmla="*/ 0 h 6913"/>
                  <a:gd name="T46" fmla="*/ 0 w 6916"/>
                  <a:gd name="T47" fmla="*/ 0 h 6913"/>
                  <a:gd name="T48" fmla="*/ 0 w 6916"/>
                  <a:gd name="T49" fmla="*/ 0 h 6913"/>
                  <a:gd name="T50" fmla="*/ 0 w 6916"/>
                  <a:gd name="T51" fmla="*/ 0 h 6913"/>
                  <a:gd name="T52" fmla="*/ 0 w 6916"/>
                  <a:gd name="T53" fmla="*/ 0 h 6913"/>
                  <a:gd name="T54" fmla="*/ 0 w 6916"/>
                  <a:gd name="T55" fmla="*/ 0 h 6913"/>
                  <a:gd name="T56" fmla="*/ 0 w 6916"/>
                  <a:gd name="T57" fmla="*/ 0 h 6913"/>
                  <a:gd name="T58" fmla="*/ 0 w 6916"/>
                  <a:gd name="T59" fmla="*/ 0 h 6913"/>
                  <a:gd name="T60" fmla="*/ 0 w 6916"/>
                  <a:gd name="T61" fmla="*/ 0 h 6913"/>
                  <a:gd name="T62" fmla="*/ 0 w 6916"/>
                  <a:gd name="T63" fmla="*/ 0 h 6913"/>
                  <a:gd name="T64" fmla="*/ 0 w 6916"/>
                  <a:gd name="T65" fmla="*/ 0 h 6913"/>
                  <a:gd name="T66" fmla="*/ 0 w 6916"/>
                  <a:gd name="T67" fmla="*/ 0 h 6913"/>
                  <a:gd name="T68" fmla="*/ 0 w 6916"/>
                  <a:gd name="T69" fmla="*/ 0 h 6913"/>
                  <a:gd name="T70" fmla="*/ 0 w 6916"/>
                  <a:gd name="T71" fmla="*/ 0 h 6913"/>
                  <a:gd name="T72" fmla="*/ 0 w 6916"/>
                  <a:gd name="T73" fmla="*/ 0 h 6913"/>
                  <a:gd name="T74" fmla="*/ 0 w 6916"/>
                  <a:gd name="T75" fmla="*/ 0 h 6913"/>
                  <a:gd name="T76" fmla="*/ 0 w 6916"/>
                  <a:gd name="T77" fmla="*/ 0 h 6913"/>
                  <a:gd name="T78" fmla="*/ 0 w 6916"/>
                  <a:gd name="T79" fmla="*/ 0 h 6913"/>
                  <a:gd name="T80" fmla="*/ 0 w 6916"/>
                  <a:gd name="T81" fmla="*/ 0 h 6913"/>
                  <a:gd name="T82" fmla="*/ 0 w 6916"/>
                  <a:gd name="T83" fmla="*/ 0 h 6913"/>
                  <a:gd name="T84" fmla="*/ 0 w 6916"/>
                  <a:gd name="T85" fmla="*/ 0 h 691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916"/>
                  <a:gd name="T130" fmla="*/ 0 h 6913"/>
                  <a:gd name="T131" fmla="*/ 6916 w 6916"/>
                  <a:gd name="T132" fmla="*/ 6913 h 691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916" h="6913">
                    <a:moveTo>
                      <a:pt x="6916" y="3456"/>
                    </a:moveTo>
                    <a:lnTo>
                      <a:pt x="6911" y="3635"/>
                    </a:lnTo>
                    <a:lnTo>
                      <a:pt x="6898" y="3810"/>
                    </a:lnTo>
                    <a:lnTo>
                      <a:pt x="6876" y="3983"/>
                    </a:lnTo>
                    <a:lnTo>
                      <a:pt x="6845" y="4153"/>
                    </a:lnTo>
                    <a:lnTo>
                      <a:pt x="6807" y="4320"/>
                    </a:lnTo>
                    <a:lnTo>
                      <a:pt x="6760" y="4484"/>
                    </a:lnTo>
                    <a:lnTo>
                      <a:pt x="6706" y="4645"/>
                    </a:lnTo>
                    <a:lnTo>
                      <a:pt x="6644" y="4802"/>
                    </a:lnTo>
                    <a:lnTo>
                      <a:pt x="6575" y="4954"/>
                    </a:lnTo>
                    <a:lnTo>
                      <a:pt x="6499" y="5104"/>
                    </a:lnTo>
                    <a:lnTo>
                      <a:pt x="6415" y="5249"/>
                    </a:lnTo>
                    <a:lnTo>
                      <a:pt x="6325" y="5389"/>
                    </a:lnTo>
                    <a:lnTo>
                      <a:pt x="6229" y="5524"/>
                    </a:lnTo>
                    <a:lnTo>
                      <a:pt x="6127" y="5655"/>
                    </a:lnTo>
                    <a:lnTo>
                      <a:pt x="6018" y="5780"/>
                    </a:lnTo>
                    <a:lnTo>
                      <a:pt x="5903" y="5900"/>
                    </a:lnTo>
                    <a:lnTo>
                      <a:pt x="5783" y="6015"/>
                    </a:lnTo>
                    <a:lnTo>
                      <a:pt x="5657" y="6124"/>
                    </a:lnTo>
                    <a:lnTo>
                      <a:pt x="5527" y="6226"/>
                    </a:lnTo>
                    <a:lnTo>
                      <a:pt x="5391" y="6322"/>
                    </a:lnTo>
                    <a:lnTo>
                      <a:pt x="5251" y="6413"/>
                    </a:lnTo>
                    <a:lnTo>
                      <a:pt x="5106" y="6496"/>
                    </a:lnTo>
                    <a:lnTo>
                      <a:pt x="4957" y="6571"/>
                    </a:lnTo>
                    <a:lnTo>
                      <a:pt x="4804" y="6641"/>
                    </a:lnTo>
                    <a:lnTo>
                      <a:pt x="4647" y="6703"/>
                    </a:lnTo>
                    <a:lnTo>
                      <a:pt x="4486" y="6757"/>
                    </a:lnTo>
                    <a:lnTo>
                      <a:pt x="4322" y="6804"/>
                    </a:lnTo>
                    <a:lnTo>
                      <a:pt x="4155" y="6843"/>
                    </a:lnTo>
                    <a:lnTo>
                      <a:pt x="3984" y="6873"/>
                    </a:lnTo>
                    <a:lnTo>
                      <a:pt x="3811" y="6895"/>
                    </a:lnTo>
                    <a:lnTo>
                      <a:pt x="3635" y="6909"/>
                    </a:lnTo>
                    <a:lnTo>
                      <a:pt x="3458" y="6913"/>
                    </a:lnTo>
                    <a:lnTo>
                      <a:pt x="3279" y="6909"/>
                    </a:lnTo>
                    <a:lnTo>
                      <a:pt x="3104" y="6895"/>
                    </a:lnTo>
                    <a:lnTo>
                      <a:pt x="2931" y="6873"/>
                    </a:lnTo>
                    <a:lnTo>
                      <a:pt x="2761" y="6843"/>
                    </a:lnTo>
                    <a:lnTo>
                      <a:pt x="2593" y="6804"/>
                    </a:lnTo>
                    <a:lnTo>
                      <a:pt x="2429" y="6757"/>
                    </a:lnTo>
                    <a:lnTo>
                      <a:pt x="2268" y="6703"/>
                    </a:lnTo>
                    <a:lnTo>
                      <a:pt x="2112" y="6641"/>
                    </a:lnTo>
                    <a:lnTo>
                      <a:pt x="1958" y="6571"/>
                    </a:lnTo>
                    <a:lnTo>
                      <a:pt x="1809" y="6496"/>
                    </a:lnTo>
                    <a:lnTo>
                      <a:pt x="1665" y="6413"/>
                    </a:lnTo>
                    <a:lnTo>
                      <a:pt x="1524" y="6322"/>
                    </a:lnTo>
                    <a:lnTo>
                      <a:pt x="1389" y="6226"/>
                    </a:lnTo>
                    <a:lnTo>
                      <a:pt x="1258" y="6124"/>
                    </a:lnTo>
                    <a:lnTo>
                      <a:pt x="1132" y="6015"/>
                    </a:lnTo>
                    <a:lnTo>
                      <a:pt x="1013" y="5900"/>
                    </a:lnTo>
                    <a:lnTo>
                      <a:pt x="898" y="5780"/>
                    </a:lnTo>
                    <a:lnTo>
                      <a:pt x="789" y="5655"/>
                    </a:lnTo>
                    <a:lnTo>
                      <a:pt x="686" y="5524"/>
                    </a:lnTo>
                    <a:lnTo>
                      <a:pt x="590" y="5389"/>
                    </a:lnTo>
                    <a:lnTo>
                      <a:pt x="500" y="5249"/>
                    </a:lnTo>
                    <a:lnTo>
                      <a:pt x="417" y="5104"/>
                    </a:lnTo>
                    <a:lnTo>
                      <a:pt x="340" y="4954"/>
                    </a:lnTo>
                    <a:lnTo>
                      <a:pt x="271" y="4802"/>
                    </a:lnTo>
                    <a:lnTo>
                      <a:pt x="209" y="4645"/>
                    </a:lnTo>
                    <a:lnTo>
                      <a:pt x="154" y="4484"/>
                    </a:lnTo>
                    <a:lnTo>
                      <a:pt x="108" y="4320"/>
                    </a:lnTo>
                    <a:lnTo>
                      <a:pt x="69" y="4153"/>
                    </a:lnTo>
                    <a:lnTo>
                      <a:pt x="40" y="3983"/>
                    </a:lnTo>
                    <a:lnTo>
                      <a:pt x="17" y="3810"/>
                    </a:lnTo>
                    <a:lnTo>
                      <a:pt x="4" y="3635"/>
                    </a:lnTo>
                    <a:lnTo>
                      <a:pt x="0" y="3456"/>
                    </a:lnTo>
                    <a:lnTo>
                      <a:pt x="4" y="3279"/>
                    </a:lnTo>
                    <a:lnTo>
                      <a:pt x="17" y="3103"/>
                    </a:lnTo>
                    <a:lnTo>
                      <a:pt x="40" y="2931"/>
                    </a:lnTo>
                    <a:lnTo>
                      <a:pt x="69" y="2760"/>
                    </a:lnTo>
                    <a:lnTo>
                      <a:pt x="108" y="2593"/>
                    </a:lnTo>
                    <a:lnTo>
                      <a:pt x="154" y="2429"/>
                    </a:lnTo>
                    <a:lnTo>
                      <a:pt x="209" y="2268"/>
                    </a:lnTo>
                    <a:lnTo>
                      <a:pt x="271" y="2111"/>
                    </a:lnTo>
                    <a:lnTo>
                      <a:pt x="340" y="1958"/>
                    </a:lnTo>
                    <a:lnTo>
                      <a:pt x="417" y="1809"/>
                    </a:lnTo>
                    <a:lnTo>
                      <a:pt x="500" y="1664"/>
                    </a:lnTo>
                    <a:lnTo>
                      <a:pt x="590" y="1524"/>
                    </a:lnTo>
                    <a:lnTo>
                      <a:pt x="686" y="1389"/>
                    </a:lnTo>
                    <a:lnTo>
                      <a:pt x="789" y="1258"/>
                    </a:lnTo>
                    <a:lnTo>
                      <a:pt x="898" y="1132"/>
                    </a:lnTo>
                    <a:lnTo>
                      <a:pt x="1013" y="1012"/>
                    </a:lnTo>
                    <a:lnTo>
                      <a:pt x="1132" y="898"/>
                    </a:lnTo>
                    <a:lnTo>
                      <a:pt x="1258" y="789"/>
                    </a:lnTo>
                    <a:lnTo>
                      <a:pt x="1389" y="687"/>
                    </a:lnTo>
                    <a:lnTo>
                      <a:pt x="1524" y="590"/>
                    </a:lnTo>
                    <a:lnTo>
                      <a:pt x="1665" y="501"/>
                    </a:lnTo>
                    <a:lnTo>
                      <a:pt x="1809" y="417"/>
                    </a:lnTo>
                    <a:lnTo>
                      <a:pt x="1958" y="341"/>
                    </a:lnTo>
                    <a:lnTo>
                      <a:pt x="2112" y="272"/>
                    </a:lnTo>
                    <a:lnTo>
                      <a:pt x="2268" y="210"/>
                    </a:lnTo>
                    <a:lnTo>
                      <a:pt x="2429" y="156"/>
                    </a:lnTo>
                    <a:lnTo>
                      <a:pt x="2593" y="109"/>
                    </a:lnTo>
                    <a:lnTo>
                      <a:pt x="2761" y="71"/>
                    </a:lnTo>
                    <a:lnTo>
                      <a:pt x="2931" y="40"/>
                    </a:lnTo>
                    <a:lnTo>
                      <a:pt x="3104" y="19"/>
                    </a:lnTo>
                    <a:lnTo>
                      <a:pt x="3279" y="5"/>
                    </a:lnTo>
                    <a:lnTo>
                      <a:pt x="3458" y="0"/>
                    </a:lnTo>
                    <a:lnTo>
                      <a:pt x="3635" y="5"/>
                    </a:lnTo>
                    <a:lnTo>
                      <a:pt x="3811" y="19"/>
                    </a:lnTo>
                    <a:lnTo>
                      <a:pt x="3984" y="40"/>
                    </a:lnTo>
                    <a:lnTo>
                      <a:pt x="4155" y="71"/>
                    </a:lnTo>
                    <a:lnTo>
                      <a:pt x="4322" y="109"/>
                    </a:lnTo>
                    <a:lnTo>
                      <a:pt x="4486" y="156"/>
                    </a:lnTo>
                    <a:lnTo>
                      <a:pt x="4647" y="210"/>
                    </a:lnTo>
                    <a:lnTo>
                      <a:pt x="4804" y="272"/>
                    </a:lnTo>
                    <a:lnTo>
                      <a:pt x="4957" y="341"/>
                    </a:lnTo>
                    <a:lnTo>
                      <a:pt x="5106" y="417"/>
                    </a:lnTo>
                    <a:lnTo>
                      <a:pt x="5251" y="501"/>
                    </a:lnTo>
                    <a:lnTo>
                      <a:pt x="5391" y="590"/>
                    </a:lnTo>
                    <a:lnTo>
                      <a:pt x="5527" y="687"/>
                    </a:lnTo>
                    <a:lnTo>
                      <a:pt x="5657" y="789"/>
                    </a:lnTo>
                    <a:lnTo>
                      <a:pt x="5783" y="898"/>
                    </a:lnTo>
                    <a:lnTo>
                      <a:pt x="5903" y="1012"/>
                    </a:lnTo>
                    <a:lnTo>
                      <a:pt x="6018" y="1132"/>
                    </a:lnTo>
                    <a:lnTo>
                      <a:pt x="6127" y="1258"/>
                    </a:lnTo>
                    <a:lnTo>
                      <a:pt x="6229" y="1389"/>
                    </a:lnTo>
                    <a:lnTo>
                      <a:pt x="6325" y="1524"/>
                    </a:lnTo>
                    <a:lnTo>
                      <a:pt x="6415" y="1664"/>
                    </a:lnTo>
                    <a:lnTo>
                      <a:pt x="6499" y="1809"/>
                    </a:lnTo>
                    <a:lnTo>
                      <a:pt x="6575" y="1958"/>
                    </a:lnTo>
                    <a:lnTo>
                      <a:pt x="6644" y="2111"/>
                    </a:lnTo>
                    <a:lnTo>
                      <a:pt x="6706" y="2268"/>
                    </a:lnTo>
                    <a:lnTo>
                      <a:pt x="6760" y="2429"/>
                    </a:lnTo>
                    <a:lnTo>
                      <a:pt x="6807" y="2593"/>
                    </a:lnTo>
                    <a:lnTo>
                      <a:pt x="6845" y="2760"/>
                    </a:lnTo>
                    <a:lnTo>
                      <a:pt x="6876" y="2931"/>
                    </a:lnTo>
                    <a:lnTo>
                      <a:pt x="6898" y="3103"/>
                    </a:lnTo>
                    <a:lnTo>
                      <a:pt x="6911" y="3279"/>
                    </a:lnTo>
                    <a:lnTo>
                      <a:pt x="6916" y="3456"/>
                    </a:lnTo>
                    <a:close/>
                  </a:path>
                </a:pathLst>
              </a:custGeom>
              <a:solidFill>
                <a:srgbClr val="5EB0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96" name="Freeform 54">
                <a:extLst>
                  <a:ext uri="{FF2B5EF4-FFF2-40B4-BE49-F238E27FC236}">
                    <a16:creationId xmlns:a16="http://schemas.microsoft.com/office/drawing/2014/main" id="{A482B4E7-26CD-4D98-A0E3-B5D661ACFF8C}"/>
                  </a:ext>
                </a:extLst>
              </p:cNvPr>
              <p:cNvSpPr>
                <a:spLocks noChangeAspect="1"/>
              </p:cNvSpPr>
              <p:nvPr/>
            </p:nvSpPr>
            <p:spPr bwMode="auto">
              <a:xfrm>
                <a:off x="4643" y="616"/>
                <a:ext cx="213" cy="213"/>
              </a:xfrm>
              <a:custGeom>
                <a:avLst/>
                <a:gdLst>
                  <a:gd name="T0" fmla="*/ 0 w 3194"/>
                  <a:gd name="T1" fmla="*/ 0 h 3193"/>
                  <a:gd name="T2" fmla="*/ 0 w 3194"/>
                  <a:gd name="T3" fmla="*/ 0 h 3193"/>
                  <a:gd name="T4" fmla="*/ 0 w 3194"/>
                  <a:gd name="T5" fmla="*/ 0 h 3193"/>
                  <a:gd name="T6" fmla="*/ 0 w 3194"/>
                  <a:gd name="T7" fmla="*/ 0 h 3193"/>
                  <a:gd name="T8" fmla="*/ 0 w 3194"/>
                  <a:gd name="T9" fmla="*/ 0 h 3193"/>
                  <a:gd name="T10" fmla="*/ 0 w 3194"/>
                  <a:gd name="T11" fmla="*/ 0 h 3193"/>
                  <a:gd name="T12" fmla="*/ 0 w 3194"/>
                  <a:gd name="T13" fmla="*/ 0 h 3193"/>
                  <a:gd name="T14" fmla="*/ 0 w 3194"/>
                  <a:gd name="T15" fmla="*/ 0 h 3193"/>
                  <a:gd name="T16" fmla="*/ 0 w 3194"/>
                  <a:gd name="T17" fmla="*/ 0 h 3193"/>
                  <a:gd name="T18" fmla="*/ 0 w 3194"/>
                  <a:gd name="T19" fmla="*/ 0 h 3193"/>
                  <a:gd name="T20" fmla="*/ 0 w 3194"/>
                  <a:gd name="T21" fmla="*/ 0 h 3193"/>
                  <a:gd name="T22" fmla="*/ 0 w 3194"/>
                  <a:gd name="T23" fmla="*/ 0 h 3193"/>
                  <a:gd name="T24" fmla="*/ 0 w 3194"/>
                  <a:gd name="T25" fmla="*/ 0 h 3193"/>
                  <a:gd name="T26" fmla="*/ 0 w 3194"/>
                  <a:gd name="T27" fmla="*/ 0 h 3193"/>
                  <a:gd name="T28" fmla="*/ 0 w 3194"/>
                  <a:gd name="T29" fmla="*/ 0 h 3193"/>
                  <a:gd name="T30" fmla="*/ 0 w 3194"/>
                  <a:gd name="T31" fmla="*/ 0 h 3193"/>
                  <a:gd name="T32" fmla="*/ 0 w 3194"/>
                  <a:gd name="T33" fmla="*/ 0 h 3193"/>
                  <a:gd name="T34" fmla="*/ 0 w 3194"/>
                  <a:gd name="T35" fmla="*/ 0 h 3193"/>
                  <a:gd name="T36" fmla="*/ 0 w 3194"/>
                  <a:gd name="T37" fmla="*/ 0 h 3193"/>
                  <a:gd name="T38" fmla="*/ 0 w 3194"/>
                  <a:gd name="T39" fmla="*/ 0 h 3193"/>
                  <a:gd name="T40" fmla="*/ 0 w 3194"/>
                  <a:gd name="T41" fmla="*/ 0 h 3193"/>
                  <a:gd name="T42" fmla="*/ 0 w 3194"/>
                  <a:gd name="T43" fmla="*/ 0 h 3193"/>
                  <a:gd name="T44" fmla="*/ 0 w 3194"/>
                  <a:gd name="T45" fmla="*/ 0 h 3193"/>
                  <a:gd name="T46" fmla="*/ 0 w 3194"/>
                  <a:gd name="T47" fmla="*/ 0 h 3193"/>
                  <a:gd name="T48" fmla="*/ 0 w 3194"/>
                  <a:gd name="T49" fmla="*/ 0 h 3193"/>
                  <a:gd name="T50" fmla="*/ 0 w 3194"/>
                  <a:gd name="T51" fmla="*/ 0 h 3193"/>
                  <a:gd name="T52" fmla="*/ 0 w 3194"/>
                  <a:gd name="T53" fmla="*/ 0 h 3193"/>
                  <a:gd name="T54" fmla="*/ 0 w 3194"/>
                  <a:gd name="T55" fmla="*/ 0 h 3193"/>
                  <a:gd name="T56" fmla="*/ 0 w 3194"/>
                  <a:gd name="T57" fmla="*/ 0 h 3193"/>
                  <a:gd name="T58" fmla="*/ 0 w 3194"/>
                  <a:gd name="T59" fmla="*/ 0 h 3193"/>
                  <a:gd name="T60" fmla="*/ 0 w 3194"/>
                  <a:gd name="T61" fmla="*/ 0 h 3193"/>
                  <a:gd name="T62" fmla="*/ 0 w 3194"/>
                  <a:gd name="T63" fmla="*/ 0 h 3193"/>
                  <a:gd name="T64" fmla="*/ 0 w 3194"/>
                  <a:gd name="T65" fmla="*/ 0 h 3193"/>
                  <a:gd name="T66" fmla="*/ 0 w 3194"/>
                  <a:gd name="T67" fmla="*/ 0 h 3193"/>
                  <a:gd name="T68" fmla="*/ 0 w 3194"/>
                  <a:gd name="T69" fmla="*/ 0 h 3193"/>
                  <a:gd name="T70" fmla="*/ 0 w 3194"/>
                  <a:gd name="T71" fmla="*/ 0 h 3193"/>
                  <a:gd name="T72" fmla="*/ 0 w 3194"/>
                  <a:gd name="T73" fmla="*/ 0 h 3193"/>
                  <a:gd name="T74" fmla="*/ 0 w 3194"/>
                  <a:gd name="T75" fmla="*/ 0 h 3193"/>
                  <a:gd name="T76" fmla="*/ 0 w 3194"/>
                  <a:gd name="T77" fmla="*/ 0 h 3193"/>
                  <a:gd name="T78" fmla="*/ 0 w 3194"/>
                  <a:gd name="T79" fmla="*/ 0 h 3193"/>
                  <a:gd name="T80" fmla="*/ 0 w 3194"/>
                  <a:gd name="T81" fmla="*/ 0 h 3193"/>
                  <a:gd name="T82" fmla="*/ 0 w 3194"/>
                  <a:gd name="T83" fmla="*/ 0 h 3193"/>
                  <a:gd name="T84" fmla="*/ 0 w 3194"/>
                  <a:gd name="T85" fmla="*/ 0 h 31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194"/>
                  <a:gd name="T130" fmla="*/ 0 h 3193"/>
                  <a:gd name="T131" fmla="*/ 3194 w 3194"/>
                  <a:gd name="T132" fmla="*/ 3193 h 31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194" h="3193">
                    <a:moveTo>
                      <a:pt x="3164" y="1290"/>
                    </a:moveTo>
                    <a:lnTo>
                      <a:pt x="3178" y="1371"/>
                    </a:lnTo>
                    <a:lnTo>
                      <a:pt x="3187" y="1452"/>
                    </a:lnTo>
                    <a:lnTo>
                      <a:pt x="3193" y="1532"/>
                    </a:lnTo>
                    <a:lnTo>
                      <a:pt x="3194" y="1612"/>
                    </a:lnTo>
                    <a:lnTo>
                      <a:pt x="3192" y="1690"/>
                    </a:lnTo>
                    <a:lnTo>
                      <a:pt x="3184" y="1769"/>
                    </a:lnTo>
                    <a:lnTo>
                      <a:pt x="3174" y="1846"/>
                    </a:lnTo>
                    <a:lnTo>
                      <a:pt x="3161" y="1923"/>
                    </a:lnTo>
                    <a:lnTo>
                      <a:pt x="3142" y="1999"/>
                    </a:lnTo>
                    <a:lnTo>
                      <a:pt x="3121" y="2073"/>
                    </a:lnTo>
                    <a:lnTo>
                      <a:pt x="3096" y="2146"/>
                    </a:lnTo>
                    <a:lnTo>
                      <a:pt x="3068" y="2217"/>
                    </a:lnTo>
                    <a:lnTo>
                      <a:pt x="3037" y="2288"/>
                    </a:lnTo>
                    <a:lnTo>
                      <a:pt x="3001" y="2355"/>
                    </a:lnTo>
                    <a:lnTo>
                      <a:pt x="2963" y="2422"/>
                    </a:lnTo>
                    <a:lnTo>
                      <a:pt x="2922" y="2487"/>
                    </a:lnTo>
                    <a:lnTo>
                      <a:pt x="2878" y="2549"/>
                    </a:lnTo>
                    <a:lnTo>
                      <a:pt x="2831" y="2610"/>
                    </a:lnTo>
                    <a:lnTo>
                      <a:pt x="2780" y="2668"/>
                    </a:lnTo>
                    <a:lnTo>
                      <a:pt x="2727" y="2723"/>
                    </a:lnTo>
                    <a:lnTo>
                      <a:pt x="2672" y="2777"/>
                    </a:lnTo>
                    <a:lnTo>
                      <a:pt x="2613" y="2827"/>
                    </a:lnTo>
                    <a:lnTo>
                      <a:pt x="2553" y="2875"/>
                    </a:lnTo>
                    <a:lnTo>
                      <a:pt x="2490" y="2920"/>
                    </a:lnTo>
                    <a:lnTo>
                      <a:pt x="2424" y="2962"/>
                    </a:lnTo>
                    <a:lnTo>
                      <a:pt x="2356" y="3001"/>
                    </a:lnTo>
                    <a:lnTo>
                      <a:pt x="2286" y="3036"/>
                    </a:lnTo>
                    <a:lnTo>
                      <a:pt x="2213" y="3069"/>
                    </a:lnTo>
                    <a:lnTo>
                      <a:pt x="2139" y="3097"/>
                    </a:lnTo>
                    <a:lnTo>
                      <a:pt x="2063" y="3123"/>
                    </a:lnTo>
                    <a:lnTo>
                      <a:pt x="1984" y="3144"/>
                    </a:lnTo>
                    <a:lnTo>
                      <a:pt x="1904" y="3162"/>
                    </a:lnTo>
                    <a:lnTo>
                      <a:pt x="1823" y="3176"/>
                    </a:lnTo>
                    <a:lnTo>
                      <a:pt x="1742" y="3185"/>
                    </a:lnTo>
                    <a:lnTo>
                      <a:pt x="1662" y="3191"/>
                    </a:lnTo>
                    <a:lnTo>
                      <a:pt x="1582" y="3193"/>
                    </a:lnTo>
                    <a:lnTo>
                      <a:pt x="1503" y="3190"/>
                    </a:lnTo>
                    <a:lnTo>
                      <a:pt x="1424" y="3183"/>
                    </a:lnTo>
                    <a:lnTo>
                      <a:pt x="1346" y="3173"/>
                    </a:lnTo>
                    <a:lnTo>
                      <a:pt x="1270" y="3159"/>
                    </a:lnTo>
                    <a:lnTo>
                      <a:pt x="1194" y="3141"/>
                    </a:lnTo>
                    <a:lnTo>
                      <a:pt x="1120" y="3120"/>
                    </a:lnTo>
                    <a:lnTo>
                      <a:pt x="1047" y="3094"/>
                    </a:lnTo>
                    <a:lnTo>
                      <a:pt x="975" y="3067"/>
                    </a:lnTo>
                    <a:lnTo>
                      <a:pt x="905" y="3035"/>
                    </a:lnTo>
                    <a:lnTo>
                      <a:pt x="838" y="3000"/>
                    </a:lnTo>
                    <a:lnTo>
                      <a:pt x="771" y="2962"/>
                    </a:lnTo>
                    <a:lnTo>
                      <a:pt x="706" y="2920"/>
                    </a:lnTo>
                    <a:lnTo>
                      <a:pt x="644" y="2876"/>
                    </a:lnTo>
                    <a:lnTo>
                      <a:pt x="583" y="2829"/>
                    </a:lnTo>
                    <a:lnTo>
                      <a:pt x="525" y="2779"/>
                    </a:lnTo>
                    <a:lnTo>
                      <a:pt x="470" y="2726"/>
                    </a:lnTo>
                    <a:lnTo>
                      <a:pt x="416" y="2671"/>
                    </a:lnTo>
                    <a:lnTo>
                      <a:pt x="365" y="2613"/>
                    </a:lnTo>
                    <a:lnTo>
                      <a:pt x="318" y="2552"/>
                    </a:lnTo>
                    <a:lnTo>
                      <a:pt x="273" y="2489"/>
                    </a:lnTo>
                    <a:lnTo>
                      <a:pt x="231" y="2423"/>
                    </a:lnTo>
                    <a:lnTo>
                      <a:pt x="192" y="2355"/>
                    </a:lnTo>
                    <a:lnTo>
                      <a:pt x="156" y="2285"/>
                    </a:lnTo>
                    <a:lnTo>
                      <a:pt x="124" y="2212"/>
                    </a:lnTo>
                    <a:lnTo>
                      <a:pt x="94" y="2138"/>
                    </a:lnTo>
                    <a:lnTo>
                      <a:pt x="70" y="2061"/>
                    </a:lnTo>
                    <a:lnTo>
                      <a:pt x="48" y="1984"/>
                    </a:lnTo>
                    <a:lnTo>
                      <a:pt x="30" y="1904"/>
                    </a:lnTo>
                    <a:lnTo>
                      <a:pt x="16" y="1823"/>
                    </a:lnTo>
                    <a:lnTo>
                      <a:pt x="7" y="1742"/>
                    </a:lnTo>
                    <a:lnTo>
                      <a:pt x="1" y="1661"/>
                    </a:lnTo>
                    <a:lnTo>
                      <a:pt x="0" y="1581"/>
                    </a:lnTo>
                    <a:lnTo>
                      <a:pt x="3" y="1502"/>
                    </a:lnTo>
                    <a:lnTo>
                      <a:pt x="9" y="1424"/>
                    </a:lnTo>
                    <a:lnTo>
                      <a:pt x="19" y="1346"/>
                    </a:lnTo>
                    <a:lnTo>
                      <a:pt x="34" y="1269"/>
                    </a:lnTo>
                    <a:lnTo>
                      <a:pt x="51" y="1193"/>
                    </a:lnTo>
                    <a:lnTo>
                      <a:pt x="73" y="1120"/>
                    </a:lnTo>
                    <a:lnTo>
                      <a:pt x="97" y="1047"/>
                    </a:lnTo>
                    <a:lnTo>
                      <a:pt x="126" y="975"/>
                    </a:lnTo>
                    <a:lnTo>
                      <a:pt x="158" y="906"/>
                    </a:lnTo>
                    <a:lnTo>
                      <a:pt x="193" y="837"/>
                    </a:lnTo>
                    <a:lnTo>
                      <a:pt x="231" y="770"/>
                    </a:lnTo>
                    <a:lnTo>
                      <a:pt x="272" y="706"/>
                    </a:lnTo>
                    <a:lnTo>
                      <a:pt x="316" y="643"/>
                    </a:lnTo>
                    <a:lnTo>
                      <a:pt x="363" y="583"/>
                    </a:lnTo>
                    <a:lnTo>
                      <a:pt x="413" y="525"/>
                    </a:lnTo>
                    <a:lnTo>
                      <a:pt x="466" y="469"/>
                    </a:lnTo>
                    <a:lnTo>
                      <a:pt x="522" y="416"/>
                    </a:lnTo>
                    <a:lnTo>
                      <a:pt x="580" y="366"/>
                    </a:lnTo>
                    <a:lnTo>
                      <a:pt x="641" y="317"/>
                    </a:lnTo>
                    <a:lnTo>
                      <a:pt x="704" y="272"/>
                    </a:lnTo>
                    <a:lnTo>
                      <a:pt x="770" y="230"/>
                    </a:lnTo>
                    <a:lnTo>
                      <a:pt x="838" y="192"/>
                    </a:lnTo>
                    <a:lnTo>
                      <a:pt x="908" y="156"/>
                    </a:lnTo>
                    <a:lnTo>
                      <a:pt x="980" y="124"/>
                    </a:lnTo>
                    <a:lnTo>
                      <a:pt x="1055" y="95"/>
                    </a:lnTo>
                    <a:lnTo>
                      <a:pt x="1131" y="69"/>
                    </a:lnTo>
                    <a:lnTo>
                      <a:pt x="1210" y="48"/>
                    </a:lnTo>
                    <a:lnTo>
                      <a:pt x="1290" y="30"/>
                    </a:lnTo>
                    <a:lnTo>
                      <a:pt x="1371" y="16"/>
                    </a:lnTo>
                    <a:lnTo>
                      <a:pt x="1452" y="7"/>
                    </a:lnTo>
                    <a:lnTo>
                      <a:pt x="1532" y="2"/>
                    </a:lnTo>
                    <a:lnTo>
                      <a:pt x="1612" y="0"/>
                    </a:lnTo>
                    <a:lnTo>
                      <a:pt x="1692" y="3"/>
                    </a:lnTo>
                    <a:lnTo>
                      <a:pt x="1770" y="9"/>
                    </a:lnTo>
                    <a:lnTo>
                      <a:pt x="1847" y="20"/>
                    </a:lnTo>
                    <a:lnTo>
                      <a:pt x="1924" y="34"/>
                    </a:lnTo>
                    <a:lnTo>
                      <a:pt x="1999" y="52"/>
                    </a:lnTo>
                    <a:lnTo>
                      <a:pt x="2074" y="72"/>
                    </a:lnTo>
                    <a:lnTo>
                      <a:pt x="2147" y="98"/>
                    </a:lnTo>
                    <a:lnTo>
                      <a:pt x="2219" y="126"/>
                    </a:lnTo>
                    <a:lnTo>
                      <a:pt x="2288" y="158"/>
                    </a:lnTo>
                    <a:lnTo>
                      <a:pt x="2357" y="192"/>
                    </a:lnTo>
                    <a:lnTo>
                      <a:pt x="2424" y="230"/>
                    </a:lnTo>
                    <a:lnTo>
                      <a:pt x="2488" y="272"/>
                    </a:lnTo>
                    <a:lnTo>
                      <a:pt x="2551" y="316"/>
                    </a:lnTo>
                    <a:lnTo>
                      <a:pt x="2611" y="363"/>
                    </a:lnTo>
                    <a:lnTo>
                      <a:pt x="2669" y="414"/>
                    </a:lnTo>
                    <a:lnTo>
                      <a:pt x="2725" y="466"/>
                    </a:lnTo>
                    <a:lnTo>
                      <a:pt x="2777" y="522"/>
                    </a:lnTo>
                    <a:lnTo>
                      <a:pt x="2829" y="580"/>
                    </a:lnTo>
                    <a:lnTo>
                      <a:pt x="2876" y="641"/>
                    </a:lnTo>
                    <a:lnTo>
                      <a:pt x="2921" y="704"/>
                    </a:lnTo>
                    <a:lnTo>
                      <a:pt x="2963" y="769"/>
                    </a:lnTo>
                    <a:lnTo>
                      <a:pt x="3002" y="838"/>
                    </a:lnTo>
                    <a:lnTo>
                      <a:pt x="3038" y="908"/>
                    </a:lnTo>
                    <a:lnTo>
                      <a:pt x="3071" y="980"/>
                    </a:lnTo>
                    <a:lnTo>
                      <a:pt x="3099" y="1054"/>
                    </a:lnTo>
                    <a:lnTo>
                      <a:pt x="3125" y="1131"/>
                    </a:lnTo>
                    <a:lnTo>
                      <a:pt x="3146" y="1209"/>
                    </a:lnTo>
                    <a:lnTo>
                      <a:pt x="3164" y="1290"/>
                    </a:lnTo>
                    <a:close/>
                  </a:path>
                </a:pathLst>
              </a:custGeom>
              <a:solidFill>
                <a:srgbClr val="6EC2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97" name="Freeform 55">
                <a:extLst>
                  <a:ext uri="{FF2B5EF4-FFF2-40B4-BE49-F238E27FC236}">
                    <a16:creationId xmlns:a16="http://schemas.microsoft.com/office/drawing/2014/main" id="{C82A1D91-D58A-404F-8C30-F604B3259876}"/>
                  </a:ext>
                </a:extLst>
              </p:cNvPr>
              <p:cNvSpPr>
                <a:spLocks noChangeAspect="1"/>
              </p:cNvSpPr>
              <p:nvPr/>
            </p:nvSpPr>
            <p:spPr bwMode="auto">
              <a:xfrm>
                <a:off x="4694" y="667"/>
                <a:ext cx="111" cy="111"/>
              </a:xfrm>
              <a:custGeom>
                <a:avLst/>
                <a:gdLst>
                  <a:gd name="T0" fmla="*/ 0 w 1668"/>
                  <a:gd name="T1" fmla="*/ 0 h 1667"/>
                  <a:gd name="T2" fmla="*/ 0 w 1668"/>
                  <a:gd name="T3" fmla="*/ 0 h 1667"/>
                  <a:gd name="T4" fmla="*/ 0 w 1668"/>
                  <a:gd name="T5" fmla="*/ 0 h 1667"/>
                  <a:gd name="T6" fmla="*/ 0 w 1668"/>
                  <a:gd name="T7" fmla="*/ 0 h 1667"/>
                  <a:gd name="T8" fmla="*/ 0 w 1668"/>
                  <a:gd name="T9" fmla="*/ 0 h 1667"/>
                  <a:gd name="T10" fmla="*/ 0 w 1668"/>
                  <a:gd name="T11" fmla="*/ 0 h 1667"/>
                  <a:gd name="T12" fmla="*/ 0 w 1668"/>
                  <a:gd name="T13" fmla="*/ 0 h 1667"/>
                  <a:gd name="T14" fmla="*/ 0 w 1668"/>
                  <a:gd name="T15" fmla="*/ 0 h 1667"/>
                  <a:gd name="T16" fmla="*/ 0 w 1668"/>
                  <a:gd name="T17" fmla="*/ 0 h 1667"/>
                  <a:gd name="T18" fmla="*/ 0 w 1668"/>
                  <a:gd name="T19" fmla="*/ 0 h 1667"/>
                  <a:gd name="T20" fmla="*/ 0 w 1668"/>
                  <a:gd name="T21" fmla="*/ 0 h 1667"/>
                  <a:gd name="T22" fmla="*/ 0 w 1668"/>
                  <a:gd name="T23" fmla="*/ 0 h 1667"/>
                  <a:gd name="T24" fmla="*/ 0 w 1668"/>
                  <a:gd name="T25" fmla="*/ 0 h 1667"/>
                  <a:gd name="T26" fmla="*/ 0 w 1668"/>
                  <a:gd name="T27" fmla="*/ 0 h 1667"/>
                  <a:gd name="T28" fmla="*/ 0 w 1668"/>
                  <a:gd name="T29" fmla="*/ 0 h 1667"/>
                  <a:gd name="T30" fmla="*/ 0 w 1668"/>
                  <a:gd name="T31" fmla="*/ 0 h 1667"/>
                  <a:gd name="T32" fmla="*/ 0 w 1668"/>
                  <a:gd name="T33" fmla="*/ 0 h 1667"/>
                  <a:gd name="T34" fmla="*/ 0 w 1668"/>
                  <a:gd name="T35" fmla="*/ 0 h 1667"/>
                  <a:gd name="T36" fmla="*/ 0 w 1668"/>
                  <a:gd name="T37" fmla="*/ 0 h 1667"/>
                  <a:gd name="T38" fmla="*/ 0 w 1668"/>
                  <a:gd name="T39" fmla="*/ 0 h 1667"/>
                  <a:gd name="T40" fmla="*/ 0 w 1668"/>
                  <a:gd name="T41" fmla="*/ 0 h 1667"/>
                  <a:gd name="T42" fmla="*/ 0 w 1668"/>
                  <a:gd name="T43" fmla="*/ 0 h 1667"/>
                  <a:gd name="T44" fmla="*/ 0 w 1668"/>
                  <a:gd name="T45" fmla="*/ 0 h 1667"/>
                  <a:gd name="T46" fmla="*/ 0 w 1668"/>
                  <a:gd name="T47" fmla="*/ 0 h 1667"/>
                  <a:gd name="T48" fmla="*/ 0 w 1668"/>
                  <a:gd name="T49" fmla="*/ 0 h 1667"/>
                  <a:gd name="T50" fmla="*/ 0 w 1668"/>
                  <a:gd name="T51" fmla="*/ 0 h 1667"/>
                  <a:gd name="T52" fmla="*/ 0 w 1668"/>
                  <a:gd name="T53" fmla="*/ 0 h 1667"/>
                  <a:gd name="T54" fmla="*/ 0 w 1668"/>
                  <a:gd name="T55" fmla="*/ 0 h 1667"/>
                  <a:gd name="T56" fmla="*/ 0 w 1668"/>
                  <a:gd name="T57" fmla="*/ 0 h 1667"/>
                  <a:gd name="T58" fmla="*/ 0 w 1668"/>
                  <a:gd name="T59" fmla="*/ 0 h 1667"/>
                  <a:gd name="T60" fmla="*/ 0 w 1668"/>
                  <a:gd name="T61" fmla="*/ 0 h 1667"/>
                  <a:gd name="T62" fmla="*/ 0 w 1668"/>
                  <a:gd name="T63" fmla="*/ 0 h 1667"/>
                  <a:gd name="T64" fmla="*/ 0 w 1668"/>
                  <a:gd name="T65" fmla="*/ 0 h 1667"/>
                  <a:gd name="T66" fmla="*/ 0 w 1668"/>
                  <a:gd name="T67" fmla="*/ 0 h 1667"/>
                  <a:gd name="T68" fmla="*/ 0 w 1668"/>
                  <a:gd name="T69" fmla="*/ 0 h 1667"/>
                  <a:gd name="T70" fmla="*/ 0 w 1668"/>
                  <a:gd name="T71" fmla="*/ 0 h 1667"/>
                  <a:gd name="T72" fmla="*/ 0 w 1668"/>
                  <a:gd name="T73" fmla="*/ 0 h 1667"/>
                  <a:gd name="T74" fmla="*/ 0 w 1668"/>
                  <a:gd name="T75" fmla="*/ 0 h 1667"/>
                  <a:gd name="T76" fmla="*/ 0 w 1668"/>
                  <a:gd name="T77" fmla="*/ 0 h 1667"/>
                  <a:gd name="T78" fmla="*/ 0 w 1668"/>
                  <a:gd name="T79" fmla="*/ 0 h 1667"/>
                  <a:gd name="T80" fmla="*/ 0 w 1668"/>
                  <a:gd name="T81" fmla="*/ 0 h 1667"/>
                  <a:gd name="T82" fmla="*/ 0 w 1668"/>
                  <a:gd name="T83" fmla="*/ 0 h 1667"/>
                  <a:gd name="T84" fmla="*/ 0 w 1668"/>
                  <a:gd name="T85" fmla="*/ 0 h 166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68"/>
                  <a:gd name="T130" fmla="*/ 0 h 1667"/>
                  <a:gd name="T131" fmla="*/ 1668 w 1668"/>
                  <a:gd name="T132" fmla="*/ 1667 h 166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68" h="1667">
                    <a:moveTo>
                      <a:pt x="1652" y="673"/>
                    </a:moveTo>
                    <a:lnTo>
                      <a:pt x="1660" y="715"/>
                    </a:lnTo>
                    <a:lnTo>
                      <a:pt x="1665" y="757"/>
                    </a:lnTo>
                    <a:lnTo>
                      <a:pt x="1667" y="799"/>
                    </a:lnTo>
                    <a:lnTo>
                      <a:pt x="1668" y="841"/>
                    </a:lnTo>
                    <a:lnTo>
                      <a:pt x="1667" y="882"/>
                    </a:lnTo>
                    <a:lnTo>
                      <a:pt x="1663" y="923"/>
                    </a:lnTo>
                    <a:lnTo>
                      <a:pt x="1658" y="964"/>
                    </a:lnTo>
                    <a:lnTo>
                      <a:pt x="1650" y="1004"/>
                    </a:lnTo>
                    <a:lnTo>
                      <a:pt x="1641" y="1043"/>
                    </a:lnTo>
                    <a:lnTo>
                      <a:pt x="1630" y="1082"/>
                    </a:lnTo>
                    <a:lnTo>
                      <a:pt x="1617" y="1120"/>
                    </a:lnTo>
                    <a:lnTo>
                      <a:pt x="1602" y="1158"/>
                    </a:lnTo>
                    <a:lnTo>
                      <a:pt x="1586" y="1194"/>
                    </a:lnTo>
                    <a:lnTo>
                      <a:pt x="1567" y="1230"/>
                    </a:lnTo>
                    <a:lnTo>
                      <a:pt x="1548" y="1265"/>
                    </a:lnTo>
                    <a:lnTo>
                      <a:pt x="1526" y="1298"/>
                    </a:lnTo>
                    <a:lnTo>
                      <a:pt x="1503" y="1331"/>
                    </a:lnTo>
                    <a:lnTo>
                      <a:pt x="1478" y="1363"/>
                    </a:lnTo>
                    <a:lnTo>
                      <a:pt x="1453" y="1393"/>
                    </a:lnTo>
                    <a:lnTo>
                      <a:pt x="1425" y="1422"/>
                    </a:lnTo>
                    <a:lnTo>
                      <a:pt x="1395" y="1450"/>
                    </a:lnTo>
                    <a:lnTo>
                      <a:pt x="1365" y="1476"/>
                    </a:lnTo>
                    <a:lnTo>
                      <a:pt x="1334" y="1501"/>
                    </a:lnTo>
                    <a:lnTo>
                      <a:pt x="1300" y="1525"/>
                    </a:lnTo>
                    <a:lnTo>
                      <a:pt x="1266" y="1546"/>
                    </a:lnTo>
                    <a:lnTo>
                      <a:pt x="1230" y="1567"/>
                    </a:lnTo>
                    <a:lnTo>
                      <a:pt x="1194" y="1585"/>
                    </a:lnTo>
                    <a:lnTo>
                      <a:pt x="1156" y="1603"/>
                    </a:lnTo>
                    <a:lnTo>
                      <a:pt x="1117" y="1617"/>
                    </a:lnTo>
                    <a:lnTo>
                      <a:pt x="1077" y="1630"/>
                    </a:lnTo>
                    <a:lnTo>
                      <a:pt x="1036" y="1642"/>
                    </a:lnTo>
                    <a:lnTo>
                      <a:pt x="994" y="1651"/>
                    </a:lnTo>
                    <a:lnTo>
                      <a:pt x="952" y="1658"/>
                    </a:lnTo>
                    <a:lnTo>
                      <a:pt x="910" y="1663"/>
                    </a:lnTo>
                    <a:lnTo>
                      <a:pt x="868" y="1666"/>
                    </a:lnTo>
                    <a:lnTo>
                      <a:pt x="826" y="1667"/>
                    </a:lnTo>
                    <a:lnTo>
                      <a:pt x="785" y="1665"/>
                    </a:lnTo>
                    <a:lnTo>
                      <a:pt x="744" y="1662"/>
                    </a:lnTo>
                    <a:lnTo>
                      <a:pt x="703" y="1657"/>
                    </a:lnTo>
                    <a:lnTo>
                      <a:pt x="663" y="1649"/>
                    </a:lnTo>
                    <a:lnTo>
                      <a:pt x="624" y="1640"/>
                    </a:lnTo>
                    <a:lnTo>
                      <a:pt x="585" y="1628"/>
                    </a:lnTo>
                    <a:lnTo>
                      <a:pt x="546" y="1616"/>
                    </a:lnTo>
                    <a:lnTo>
                      <a:pt x="509" y="1601"/>
                    </a:lnTo>
                    <a:lnTo>
                      <a:pt x="472" y="1584"/>
                    </a:lnTo>
                    <a:lnTo>
                      <a:pt x="438" y="1566"/>
                    </a:lnTo>
                    <a:lnTo>
                      <a:pt x="403" y="1546"/>
                    </a:lnTo>
                    <a:lnTo>
                      <a:pt x="369" y="1525"/>
                    </a:lnTo>
                    <a:lnTo>
                      <a:pt x="336" y="1501"/>
                    </a:lnTo>
                    <a:lnTo>
                      <a:pt x="304" y="1477"/>
                    </a:lnTo>
                    <a:lnTo>
                      <a:pt x="274" y="1451"/>
                    </a:lnTo>
                    <a:lnTo>
                      <a:pt x="245" y="1423"/>
                    </a:lnTo>
                    <a:lnTo>
                      <a:pt x="217" y="1395"/>
                    </a:lnTo>
                    <a:lnTo>
                      <a:pt x="190" y="1364"/>
                    </a:lnTo>
                    <a:lnTo>
                      <a:pt x="166" y="1332"/>
                    </a:lnTo>
                    <a:lnTo>
                      <a:pt x="142" y="1299"/>
                    </a:lnTo>
                    <a:lnTo>
                      <a:pt x="121" y="1265"/>
                    </a:lnTo>
                    <a:lnTo>
                      <a:pt x="100" y="1230"/>
                    </a:lnTo>
                    <a:lnTo>
                      <a:pt x="82" y="1193"/>
                    </a:lnTo>
                    <a:lnTo>
                      <a:pt x="64" y="1155"/>
                    </a:lnTo>
                    <a:lnTo>
                      <a:pt x="49" y="1116"/>
                    </a:lnTo>
                    <a:lnTo>
                      <a:pt x="37" y="1076"/>
                    </a:lnTo>
                    <a:lnTo>
                      <a:pt x="24" y="1035"/>
                    </a:lnTo>
                    <a:lnTo>
                      <a:pt x="15" y="994"/>
                    </a:lnTo>
                    <a:lnTo>
                      <a:pt x="8" y="951"/>
                    </a:lnTo>
                    <a:lnTo>
                      <a:pt x="4" y="909"/>
                    </a:lnTo>
                    <a:lnTo>
                      <a:pt x="1" y="867"/>
                    </a:lnTo>
                    <a:lnTo>
                      <a:pt x="0" y="826"/>
                    </a:lnTo>
                    <a:lnTo>
                      <a:pt x="1" y="784"/>
                    </a:lnTo>
                    <a:lnTo>
                      <a:pt x="5" y="743"/>
                    </a:lnTo>
                    <a:lnTo>
                      <a:pt x="10" y="703"/>
                    </a:lnTo>
                    <a:lnTo>
                      <a:pt x="17" y="663"/>
                    </a:lnTo>
                    <a:lnTo>
                      <a:pt x="26" y="623"/>
                    </a:lnTo>
                    <a:lnTo>
                      <a:pt x="38" y="584"/>
                    </a:lnTo>
                    <a:lnTo>
                      <a:pt x="51" y="546"/>
                    </a:lnTo>
                    <a:lnTo>
                      <a:pt x="65" y="509"/>
                    </a:lnTo>
                    <a:lnTo>
                      <a:pt x="82" y="472"/>
                    </a:lnTo>
                    <a:lnTo>
                      <a:pt x="100" y="437"/>
                    </a:lnTo>
                    <a:lnTo>
                      <a:pt x="121" y="402"/>
                    </a:lnTo>
                    <a:lnTo>
                      <a:pt x="142" y="368"/>
                    </a:lnTo>
                    <a:lnTo>
                      <a:pt x="165" y="335"/>
                    </a:lnTo>
                    <a:lnTo>
                      <a:pt x="189" y="304"/>
                    </a:lnTo>
                    <a:lnTo>
                      <a:pt x="216" y="274"/>
                    </a:lnTo>
                    <a:lnTo>
                      <a:pt x="244" y="245"/>
                    </a:lnTo>
                    <a:lnTo>
                      <a:pt x="272" y="217"/>
                    </a:lnTo>
                    <a:lnTo>
                      <a:pt x="303" y="191"/>
                    </a:lnTo>
                    <a:lnTo>
                      <a:pt x="335" y="165"/>
                    </a:lnTo>
                    <a:lnTo>
                      <a:pt x="368" y="142"/>
                    </a:lnTo>
                    <a:lnTo>
                      <a:pt x="402" y="120"/>
                    </a:lnTo>
                    <a:lnTo>
                      <a:pt x="438" y="100"/>
                    </a:lnTo>
                    <a:lnTo>
                      <a:pt x="474" y="81"/>
                    </a:lnTo>
                    <a:lnTo>
                      <a:pt x="512" y="65"/>
                    </a:lnTo>
                    <a:lnTo>
                      <a:pt x="551" y="49"/>
                    </a:lnTo>
                    <a:lnTo>
                      <a:pt x="591" y="36"/>
                    </a:lnTo>
                    <a:lnTo>
                      <a:pt x="631" y="25"/>
                    </a:lnTo>
                    <a:lnTo>
                      <a:pt x="673" y="15"/>
                    </a:lnTo>
                    <a:lnTo>
                      <a:pt x="716" y="8"/>
                    </a:lnTo>
                    <a:lnTo>
                      <a:pt x="758" y="3"/>
                    </a:lnTo>
                    <a:lnTo>
                      <a:pt x="800" y="0"/>
                    </a:lnTo>
                    <a:lnTo>
                      <a:pt x="841" y="0"/>
                    </a:lnTo>
                    <a:lnTo>
                      <a:pt x="884" y="1"/>
                    </a:lnTo>
                    <a:lnTo>
                      <a:pt x="925" y="4"/>
                    </a:lnTo>
                    <a:lnTo>
                      <a:pt x="964" y="10"/>
                    </a:lnTo>
                    <a:lnTo>
                      <a:pt x="1004" y="18"/>
                    </a:lnTo>
                    <a:lnTo>
                      <a:pt x="1044" y="27"/>
                    </a:lnTo>
                    <a:lnTo>
                      <a:pt x="1083" y="38"/>
                    </a:lnTo>
                    <a:lnTo>
                      <a:pt x="1121" y="50"/>
                    </a:lnTo>
                    <a:lnTo>
                      <a:pt x="1158" y="66"/>
                    </a:lnTo>
                    <a:lnTo>
                      <a:pt x="1195" y="82"/>
                    </a:lnTo>
                    <a:lnTo>
                      <a:pt x="1231" y="101"/>
                    </a:lnTo>
                    <a:lnTo>
                      <a:pt x="1266" y="120"/>
                    </a:lnTo>
                    <a:lnTo>
                      <a:pt x="1299" y="142"/>
                    </a:lnTo>
                    <a:lnTo>
                      <a:pt x="1332" y="165"/>
                    </a:lnTo>
                    <a:lnTo>
                      <a:pt x="1363" y="190"/>
                    </a:lnTo>
                    <a:lnTo>
                      <a:pt x="1394" y="215"/>
                    </a:lnTo>
                    <a:lnTo>
                      <a:pt x="1423" y="243"/>
                    </a:lnTo>
                    <a:lnTo>
                      <a:pt x="1450" y="272"/>
                    </a:lnTo>
                    <a:lnTo>
                      <a:pt x="1477" y="302"/>
                    </a:lnTo>
                    <a:lnTo>
                      <a:pt x="1502" y="334"/>
                    </a:lnTo>
                    <a:lnTo>
                      <a:pt x="1525" y="367"/>
                    </a:lnTo>
                    <a:lnTo>
                      <a:pt x="1548" y="402"/>
                    </a:lnTo>
                    <a:lnTo>
                      <a:pt x="1567" y="437"/>
                    </a:lnTo>
                    <a:lnTo>
                      <a:pt x="1587" y="474"/>
                    </a:lnTo>
                    <a:lnTo>
                      <a:pt x="1603" y="511"/>
                    </a:lnTo>
                    <a:lnTo>
                      <a:pt x="1619" y="550"/>
                    </a:lnTo>
                    <a:lnTo>
                      <a:pt x="1632" y="590"/>
                    </a:lnTo>
                    <a:lnTo>
                      <a:pt x="1643" y="631"/>
                    </a:lnTo>
                    <a:lnTo>
                      <a:pt x="1652" y="6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98" name="Freeform 56">
                <a:extLst>
                  <a:ext uri="{FF2B5EF4-FFF2-40B4-BE49-F238E27FC236}">
                    <a16:creationId xmlns:a16="http://schemas.microsoft.com/office/drawing/2014/main" id="{DFFE649B-31DA-4D1C-AC12-25DE97A33112}"/>
                  </a:ext>
                </a:extLst>
              </p:cNvPr>
              <p:cNvSpPr>
                <a:spLocks noChangeAspect="1"/>
              </p:cNvSpPr>
              <p:nvPr/>
            </p:nvSpPr>
            <p:spPr bwMode="auto">
              <a:xfrm>
                <a:off x="4524" y="603"/>
                <a:ext cx="175" cy="107"/>
              </a:xfrm>
              <a:custGeom>
                <a:avLst/>
                <a:gdLst>
                  <a:gd name="T0" fmla="*/ 0 w 2619"/>
                  <a:gd name="T1" fmla="*/ 0 h 1608"/>
                  <a:gd name="T2" fmla="*/ 0 w 2619"/>
                  <a:gd name="T3" fmla="*/ 0 h 1608"/>
                  <a:gd name="T4" fmla="*/ 0 w 2619"/>
                  <a:gd name="T5" fmla="*/ 0 h 1608"/>
                  <a:gd name="T6" fmla="*/ 0 w 2619"/>
                  <a:gd name="T7" fmla="*/ 0 h 1608"/>
                  <a:gd name="T8" fmla="*/ 0 w 2619"/>
                  <a:gd name="T9" fmla="*/ 0 h 1608"/>
                  <a:gd name="T10" fmla="*/ 0 w 2619"/>
                  <a:gd name="T11" fmla="*/ 0 h 1608"/>
                  <a:gd name="T12" fmla="*/ 0 w 2619"/>
                  <a:gd name="T13" fmla="*/ 0 h 1608"/>
                  <a:gd name="T14" fmla="*/ 0 w 2619"/>
                  <a:gd name="T15" fmla="*/ 0 h 1608"/>
                  <a:gd name="T16" fmla="*/ 0 w 2619"/>
                  <a:gd name="T17" fmla="*/ 0 h 1608"/>
                  <a:gd name="T18" fmla="*/ 0 w 2619"/>
                  <a:gd name="T19" fmla="*/ 0 h 1608"/>
                  <a:gd name="T20" fmla="*/ 0 w 2619"/>
                  <a:gd name="T21" fmla="*/ 0 h 1608"/>
                  <a:gd name="T22" fmla="*/ 0 w 2619"/>
                  <a:gd name="T23" fmla="*/ 0 h 1608"/>
                  <a:gd name="T24" fmla="*/ 0 w 2619"/>
                  <a:gd name="T25" fmla="*/ 0 h 1608"/>
                  <a:gd name="T26" fmla="*/ 0 w 2619"/>
                  <a:gd name="T27" fmla="*/ 0 h 1608"/>
                  <a:gd name="T28" fmla="*/ 0 w 2619"/>
                  <a:gd name="T29" fmla="*/ 0 h 1608"/>
                  <a:gd name="T30" fmla="*/ 0 w 2619"/>
                  <a:gd name="T31" fmla="*/ 0 h 1608"/>
                  <a:gd name="T32" fmla="*/ 0 w 2619"/>
                  <a:gd name="T33" fmla="*/ 0 h 1608"/>
                  <a:gd name="T34" fmla="*/ 0 w 2619"/>
                  <a:gd name="T35" fmla="*/ 0 h 1608"/>
                  <a:gd name="T36" fmla="*/ 0 w 2619"/>
                  <a:gd name="T37" fmla="*/ 0 h 1608"/>
                  <a:gd name="T38" fmla="*/ 0 w 2619"/>
                  <a:gd name="T39" fmla="*/ 0 h 1608"/>
                  <a:gd name="T40" fmla="*/ 0 w 2619"/>
                  <a:gd name="T41" fmla="*/ 0 h 1608"/>
                  <a:gd name="T42" fmla="*/ 0 w 2619"/>
                  <a:gd name="T43" fmla="*/ 0 h 1608"/>
                  <a:gd name="T44" fmla="*/ 0 w 2619"/>
                  <a:gd name="T45" fmla="*/ 0 h 1608"/>
                  <a:gd name="T46" fmla="*/ 0 w 2619"/>
                  <a:gd name="T47" fmla="*/ 0 h 1608"/>
                  <a:gd name="T48" fmla="*/ 0 w 2619"/>
                  <a:gd name="T49" fmla="*/ 0 h 1608"/>
                  <a:gd name="T50" fmla="*/ 0 w 2619"/>
                  <a:gd name="T51" fmla="*/ 0 h 160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619"/>
                  <a:gd name="T79" fmla="*/ 0 h 1608"/>
                  <a:gd name="T80" fmla="*/ 2619 w 2619"/>
                  <a:gd name="T81" fmla="*/ 1608 h 160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619" h="1608">
                    <a:moveTo>
                      <a:pt x="2619" y="1453"/>
                    </a:moveTo>
                    <a:lnTo>
                      <a:pt x="376" y="0"/>
                    </a:lnTo>
                    <a:lnTo>
                      <a:pt x="372" y="7"/>
                    </a:lnTo>
                    <a:lnTo>
                      <a:pt x="361" y="26"/>
                    </a:lnTo>
                    <a:lnTo>
                      <a:pt x="344" y="57"/>
                    </a:lnTo>
                    <a:lnTo>
                      <a:pt x="320" y="98"/>
                    </a:lnTo>
                    <a:lnTo>
                      <a:pt x="292" y="148"/>
                    </a:lnTo>
                    <a:lnTo>
                      <a:pt x="262" y="207"/>
                    </a:lnTo>
                    <a:lnTo>
                      <a:pt x="229" y="270"/>
                    </a:lnTo>
                    <a:lnTo>
                      <a:pt x="195" y="340"/>
                    </a:lnTo>
                    <a:lnTo>
                      <a:pt x="160" y="413"/>
                    </a:lnTo>
                    <a:lnTo>
                      <a:pt x="127" y="489"/>
                    </a:lnTo>
                    <a:lnTo>
                      <a:pt x="111" y="527"/>
                    </a:lnTo>
                    <a:lnTo>
                      <a:pt x="95" y="565"/>
                    </a:lnTo>
                    <a:lnTo>
                      <a:pt x="80" y="603"/>
                    </a:lnTo>
                    <a:lnTo>
                      <a:pt x="66" y="642"/>
                    </a:lnTo>
                    <a:lnTo>
                      <a:pt x="53" y="680"/>
                    </a:lnTo>
                    <a:lnTo>
                      <a:pt x="41" y="717"/>
                    </a:lnTo>
                    <a:lnTo>
                      <a:pt x="31" y="754"/>
                    </a:lnTo>
                    <a:lnTo>
                      <a:pt x="22" y="790"/>
                    </a:lnTo>
                    <a:lnTo>
                      <a:pt x="13" y="826"/>
                    </a:lnTo>
                    <a:lnTo>
                      <a:pt x="7" y="860"/>
                    </a:lnTo>
                    <a:lnTo>
                      <a:pt x="3" y="892"/>
                    </a:lnTo>
                    <a:lnTo>
                      <a:pt x="0" y="923"/>
                    </a:lnTo>
                    <a:lnTo>
                      <a:pt x="2567" y="1608"/>
                    </a:lnTo>
                    <a:lnTo>
                      <a:pt x="2619" y="1453"/>
                    </a:lnTo>
                    <a:close/>
                  </a:path>
                </a:pathLst>
              </a:custGeom>
              <a:solidFill>
                <a:srgbClr val="96D1F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99" name="Freeform 57">
                <a:extLst>
                  <a:ext uri="{FF2B5EF4-FFF2-40B4-BE49-F238E27FC236}">
                    <a16:creationId xmlns:a16="http://schemas.microsoft.com/office/drawing/2014/main" id="{25AE6038-313A-48AA-ABAA-E05889F37D37}"/>
                  </a:ext>
                </a:extLst>
              </p:cNvPr>
              <p:cNvSpPr>
                <a:spLocks noChangeAspect="1"/>
              </p:cNvSpPr>
              <p:nvPr/>
            </p:nvSpPr>
            <p:spPr bwMode="auto">
              <a:xfrm>
                <a:off x="4798" y="739"/>
                <a:ext cx="170" cy="95"/>
              </a:xfrm>
              <a:custGeom>
                <a:avLst/>
                <a:gdLst>
                  <a:gd name="T0" fmla="*/ 0 w 2550"/>
                  <a:gd name="T1" fmla="*/ 0 h 1419"/>
                  <a:gd name="T2" fmla="*/ 0 w 2550"/>
                  <a:gd name="T3" fmla="*/ 0 h 1419"/>
                  <a:gd name="T4" fmla="*/ 0 w 2550"/>
                  <a:gd name="T5" fmla="*/ 0 h 1419"/>
                  <a:gd name="T6" fmla="*/ 0 w 2550"/>
                  <a:gd name="T7" fmla="*/ 0 h 1419"/>
                  <a:gd name="T8" fmla="*/ 0 w 2550"/>
                  <a:gd name="T9" fmla="*/ 0 h 1419"/>
                  <a:gd name="T10" fmla="*/ 0 w 2550"/>
                  <a:gd name="T11" fmla="*/ 0 h 1419"/>
                  <a:gd name="T12" fmla="*/ 0 w 2550"/>
                  <a:gd name="T13" fmla="*/ 0 h 1419"/>
                  <a:gd name="T14" fmla="*/ 0 w 2550"/>
                  <a:gd name="T15" fmla="*/ 0 h 1419"/>
                  <a:gd name="T16" fmla="*/ 0 w 2550"/>
                  <a:gd name="T17" fmla="*/ 0 h 1419"/>
                  <a:gd name="T18" fmla="*/ 0 w 2550"/>
                  <a:gd name="T19" fmla="*/ 0 h 1419"/>
                  <a:gd name="T20" fmla="*/ 0 w 2550"/>
                  <a:gd name="T21" fmla="*/ 0 h 1419"/>
                  <a:gd name="T22" fmla="*/ 0 w 2550"/>
                  <a:gd name="T23" fmla="*/ 0 h 1419"/>
                  <a:gd name="T24" fmla="*/ 0 w 2550"/>
                  <a:gd name="T25" fmla="*/ 0 h 1419"/>
                  <a:gd name="T26" fmla="*/ 0 w 2550"/>
                  <a:gd name="T27" fmla="*/ 0 h 1419"/>
                  <a:gd name="T28" fmla="*/ 0 w 2550"/>
                  <a:gd name="T29" fmla="*/ 0 h 1419"/>
                  <a:gd name="T30" fmla="*/ 0 w 2550"/>
                  <a:gd name="T31" fmla="*/ 0 h 1419"/>
                  <a:gd name="T32" fmla="*/ 0 w 2550"/>
                  <a:gd name="T33" fmla="*/ 0 h 1419"/>
                  <a:gd name="T34" fmla="*/ 0 w 2550"/>
                  <a:gd name="T35" fmla="*/ 0 h 1419"/>
                  <a:gd name="T36" fmla="*/ 0 w 2550"/>
                  <a:gd name="T37" fmla="*/ 0 h 1419"/>
                  <a:gd name="T38" fmla="*/ 0 w 2550"/>
                  <a:gd name="T39" fmla="*/ 0 h 1419"/>
                  <a:gd name="T40" fmla="*/ 0 w 2550"/>
                  <a:gd name="T41" fmla="*/ 0 h 1419"/>
                  <a:gd name="T42" fmla="*/ 0 w 2550"/>
                  <a:gd name="T43" fmla="*/ 0 h 1419"/>
                  <a:gd name="T44" fmla="*/ 0 w 2550"/>
                  <a:gd name="T45" fmla="*/ 0 h 1419"/>
                  <a:gd name="T46" fmla="*/ 0 w 2550"/>
                  <a:gd name="T47" fmla="*/ 0 h 141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550"/>
                  <a:gd name="T73" fmla="*/ 0 h 1419"/>
                  <a:gd name="T74" fmla="*/ 2550 w 2550"/>
                  <a:gd name="T75" fmla="*/ 1419 h 141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550" h="1419">
                    <a:moveTo>
                      <a:pt x="68" y="0"/>
                    </a:moveTo>
                    <a:lnTo>
                      <a:pt x="2550" y="599"/>
                    </a:lnTo>
                    <a:lnTo>
                      <a:pt x="2548" y="604"/>
                    </a:lnTo>
                    <a:lnTo>
                      <a:pt x="2544" y="620"/>
                    </a:lnTo>
                    <a:lnTo>
                      <a:pt x="2537" y="647"/>
                    </a:lnTo>
                    <a:lnTo>
                      <a:pt x="2528" y="681"/>
                    </a:lnTo>
                    <a:lnTo>
                      <a:pt x="2515" y="724"/>
                    </a:lnTo>
                    <a:lnTo>
                      <a:pt x="2500" y="773"/>
                    </a:lnTo>
                    <a:lnTo>
                      <a:pt x="2482" y="827"/>
                    </a:lnTo>
                    <a:lnTo>
                      <a:pt x="2462" y="887"/>
                    </a:lnTo>
                    <a:lnTo>
                      <a:pt x="2439" y="950"/>
                    </a:lnTo>
                    <a:lnTo>
                      <a:pt x="2414" y="1017"/>
                    </a:lnTo>
                    <a:lnTo>
                      <a:pt x="2385" y="1085"/>
                    </a:lnTo>
                    <a:lnTo>
                      <a:pt x="2354" y="1154"/>
                    </a:lnTo>
                    <a:lnTo>
                      <a:pt x="2339" y="1189"/>
                    </a:lnTo>
                    <a:lnTo>
                      <a:pt x="2321" y="1223"/>
                    </a:lnTo>
                    <a:lnTo>
                      <a:pt x="2304" y="1258"/>
                    </a:lnTo>
                    <a:lnTo>
                      <a:pt x="2286" y="1290"/>
                    </a:lnTo>
                    <a:lnTo>
                      <a:pt x="2267" y="1324"/>
                    </a:lnTo>
                    <a:lnTo>
                      <a:pt x="2248" y="1357"/>
                    </a:lnTo>
                    <a:lnTo>
                      <a:pt x="2228" y="1389"/>
                    </a:lnTo>
                    <a:lnTo>
                      <a:pt x="2208" y="1419"/>
                    </a:lnTo>
                    <a:lnTo>
                      <a:pt x="0" y="119"/>
                    </a:lnTo>
                    <a:lnTo>
                      <a:pt x="68" y="0"/>
                    </a:lnTo>
                    <a:close/>
                  </a:path>
                </a:pathLst>
              </a:custGeom>
              <a:solidFill>
                <a:srgbClr val="96D1F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00" name="Freeform 58">
                <a:extLst>
                  <a:ext uri="{FF2B5EF4-FFF2-40B4-BE49-F238E27FC236}">
                    <a16:creationId xmlns:a16="http://schemas.microsoft.com/office/drawing/2014/main" id="{337925A6-621D-4128-B359-2846CEF49255}"/>
                  </a:ext>
                </a:extLst>
              </p:cNvPr>
              <p:cNvSpPr>
                <a:spLocks noChangeAspect="1"/>
              </p:cNvSpPr>
              <p:nvPr/>
            </p:nvSpPr>
            <p:spPr bwMode="auto">
              <a:xfrm>
                <a:off x="4804" y="661"/>
                <a:ext cx="172" cy="60"/>
              </a:xfrm>
              <a:custGeom>
                <a:avLst/>
                <a:gdLst>
                  <a:gd name="T0" fmla="*/ 0 w 2585"/>
                  <a:gd name="T1" fmla="*/ 0 h 907"/>
                  <a:gd name="T2" fmla="*/ 0 w 2585"/>
                  <a:gd name="T3" fmla="*/ 0 h 907"/>
                  <a:gd name="T4" fmla="*/ 0 w 2585"/>
                  <a:gd name="T5" fmla="*/ 0 h 907"/>
                  <a:gd name="T6" fmla="*/ 0 w 2585"/>
                  <a:gd name="T7" fmla="*/ 0 h 907"/>
                  <a:gd name="T8" fmla="*/ 0 w 2585"/>
                  <a:gd name="T9" fmla="*/ 0 h 907"/>
                  <a:gd name="T10" fmla="*/ 0 w 2585"/>
                  <a:gd name="T11" fmla="*/ 0 h 907"/>
                  <a:gd name="T12" fmla="*/ 0 w 2585"/>
                  <a:gd name="T13" fmla="*/ 0 h 907"/>
                  <a:gd name="T14" fmla="*/ 0 w 2585"/>
                  <a:gd name="T15" fmla="*/ 0 h 907"/>
                  <a:gd name="T16" fmla="*/ 0 w 2585"/>
                  <a:gd name="T17" fmla="*/ 0 h 907"/>
                  <a:gd name="T18" fmla="*/ 0 w 2585"/>
                  <a:gd name="T19" fmla="*/ 0 h 907"/>
                  <a:gd name="T20" fmla="*/ 0 w 2585"/>
                  <a:gd name="T21" fmla="*/ 0 h 907"/>
                  <a:gd name="T22" fmla="*/ 0 w 2585"/>
                  <a:gd name="T23" fmla="*/ 0 h 907"/>
                  <a:gd name="T24" fmla="*/ 0 w 2585"/>
                  <a:gd name="T25" fmla="*/ 0 h 907"/>
                  <a:gd name="T26" fmla="*/ 0 w 2585"/>
                  <a:gd name="T27" fmla="*/ 0 h 907"/>
                  <a:gd name="T28" fmla="*/ 0 w 2585"/>
                  <a:gd name="T29" fmla="*/ 0 h 907"/>
                  <a:gd name="T30" fmla="*/ 0 w 2585"/>
                  <a:gd name="T31" fmla="*/ 0 h 907"/>
                  <a:gd name="T32" fmla="*/ 0 w 2585"/>
                  <a:gd name="T33" fmla="*/ 0 h 907"/>
                  <a:gd name="T34" fmla="*/ 0 w 2585"/>
                  <a:gd name="T35" fmla="*/ 0 h 90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585"/>
                  <a:gd name="T55" fmla="*/ 0 h 907"/>
                  <a:gd name="T56" fmla="*/ 2585 w 2585"/>
                  <a:gd name="T57" fmla="*/ 907 h 90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585" h="907">
                    <a:moveTo>
                      <a:pt x="0" y="752"/>
                    </a:moveTo>
                    <a:lnTo>
                      <a:pt x="2465" y="0"/>
                    </a:lnTo>
                    <a:lnTo>
                      <a:pt x="2470" y="16"/>
                    </a:lnTo>
                    <a:lnTo>
                      <a:pt x="2484" y="61"/>
                    </a:lnTo>
                    <a:lnTo>
                      <a:pt x="2503" y="130"/>
                    </a:lnTo>
                    <a:lnTo>
                      <a:pt x="2525" y="214"/>
                    </a:lnTo>
                    <a:lnTo>
                      <a:pt x="2536" y="260"/>
                    </a:lnTo>
                    <a:lnTo>
                      <a:pt x="2546" y="307"/>
                    </a:lnTo>
                    <a:lnTo>
                      <a:pt x="2556" y="355"/>
                    </a:lnTo>
                    <a:lnTo>
                      <a:pt x="2566" y="404"/>
                    </a:lnTo>
                    <a:lnTo>
                      <a:pt x="2574" y="452"/>
                    </a:lnTo>
                    <a:lnTo>
                      <a:pt x="2579" y="498"/>
                    </a:lnTo>
                    <a:lnTo>
                      <a:pt x="2582" y="519"/>
                    </a:lnTo>
                    <a:lnTo>
                      <a:pt x="2583" y="541"/>
                    </a:lnTo>
                    <a:lnTo>
                      <a:pt x="2584" y="561"/>
                    </a:lnTo>
                    <a:lnTo>
                      <a:pt x="2585" y="581"/>
                    </a:lnTo>
                    <a:lnTo>
                      <a:pt x="18" y="907"/>
                    </a:lnTo>
                    <a:lnTo>
                      <a:pt x="0" y="752"/>
                    </a:lnTo>
                    <a:close/>
                  </a:path>
                </a:pathLst>
              </a:custGeom>
              <a:solidFill>
                <a:srgbClr val="0089C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01" name="Freeform 59">
                <a:extLst>
                  <a:ext uri="{FF2B5EF4-FFF2-40B4-BE49-F238E27FC236}">
                    <a16:creationId xmlns:a16="http://schemas.microsoft.com/office/drawing/2014/main" id="{0CEC2004-6E64-4431-AD80-B2B5FCE4AC44}"/>
                  </a:ext>
                </a:extLst>
              </p:cNvPr>
              <p:cNvSpPr>
                <a:spLocks noChangeAspect="1"/>
              </p:cNvSpPr>
              <p:nvPr/>
            </p:nvSpPr>
            <p:spPr bwMode="auto">
              <a:xfrm>
                <a:off x="4609" y="769"/>
                <a:ext cx="114" cy="152"/>
              </a:xfrm>
              <a:custGeom>
                <a:avLst/>
                <a:gdLst>
                  <a:gd name="T0" fmla="*/ 0 w 1711"/>
                  <a:gd name="T1" fmla="*/ 0 h 2274"/>
                  <a:gd name="T2" fmla="*/ 0 w 1711"/>
                  <a:gd name="T3" fmla="*/ 0 h 2274"/>
                  <a:gd name="T4" fmla="*/ 0 w 1711"/>
                  <a:gd name="T5" fmla="*/ 0 h 2274"/>
                  <a:gd name="T6" fmla="*/ 0 w 1711"/>
                  <a:gd name="T7" fmla="*/ 0 h 2274"/>
                  <a:gd name="T8" fmla="*/ 0 w 1711"/>
                  <a:gd name="T9" fmla="*/ 0 h 2274"/>
                  <a:gd name="T10" fmla="*/ 0 w 1711"/>
                  <a:gd name="T11" fmla="*/ 0 h 2274"/>
                  <a:gd name="T12" fmla="*/ 0 w 1711"/>
                  <a:gd name="T13" fmla="*/ 0 h 2274"/>
                  <a:gd name="T14" fmla="*/ 0 w 1711"/>
                  <a:gd name="T15" fmla="*/ 0 h 2274"/>
                  <a:gd name="T16" fmla="*/ 0 w 1711"/>
                  <a:gd name="T17" fmla="*/ 0 h 2274"/>
                  <a:gd name="T18" fmla="*/ 0 w 1711"/>
                  <a:gd name="T19" fmla="*/ 0 h 2274"/>
                  <a:gd name="T20" fmla="*/ 0 w 1711"/>
                  <a:gd name="T21" fmla="*/ 0 h 2274"/>
                  <a:gd name="T22" fmla="*/ 0 w 1711"/>
                  <a:gd name="T23" fmla="*/ 0 h 227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11"/>
                  <a:gd name="T37" fmla="*/ 0 h 2274"/>
                  <a:gd name="T38" fmla="*/ 1711 w 1711"/>
                  <a:gd name="T39" fmla="*/ 2274 h 227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11" h="2274">
                    <a:moveTo>
                      <a:pt x="1711" y="51"/>
                    </a:moveTo>
                    <a:lnTo>
                      <a:pt x="429" y="2274"/>
                    </a:lnTo>
                    <a:lnTo>
                      <a:pt x="412" y="2265"/>
                    </a:lnTo>
                    <a:lnTo>
                      <a:pt x="371" y="2239"/>
                    </a:lnTo>
                    <a:lnTo>
                      <a:pt x="311" y="2201"/>
                    </a:lnTo>
                    <a:lnTo>
                      <a:pt x="240" y="2157"/>
                    </a:lnTo>
                    <a:lnTo>
                      <a:pt x="166" y="2110"/>
                    </a:lnTo>
                    <a:lnTo>
                      <a:pt x="97" y="2065"/>
                    </a:lnTo>
                    <a:lnTo>
                      <a:pt x="38" y="2027"/>
                    </a:lnTo>
                    <a:lnTo>
                      <a:pt x="0" y="2000"/>
                    </a:lnTo>
                    <a:lnTo>
                      <a:pt x="1609" y="0"/>
                    </a:lnTo>
                    <a:lnTo>
                      <a:pt x="1711" y="51"/>
                    </a:lnTo>
                    <a:close/>
                  </a:path>
                </a:pathLst>
              </a:custGeom>
              <a:solidFill>
                <a:srgbClr val="0089C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02" name="Freeform 60">
                <a:extLst>
                  <a:ext uri="{FF2B5EF4-FFF2-40B4-BE49-F238E27FC236}">
                    <a16:creationId xmlns:a16="http://schemas.microsoft.com/office/drawing/2014/main" id="{3EB73DC1-766F-484F-831C-4DCE0494C56A}"/>
                  </a:ext>
                </a:extLst>
              </p:cNvPr>
              <p:cNvSpPr>
                <a:spLocks noChangeAspect="1"/>
              </p:cNvSpPr>
              <p:nvPr/>
            </p:nvSpPr>
            <p:spPr bwMode="auto">
              <a:xfrm>
                <a:off x="4556" y="568"/>
                <a:ext cx="151" cy="126"/>
              </a:xfrm>
              <a:custGeom>
                <a:avLst/>
                <a:gdLst>
                  <a:gd name="T0" fmla="*/ 0 w 2260"/>
                  <a:gd name="T1" fmla="*/ 0 h 1882"/>
                  <a:gd name="T2" fmla="*/ 0 w 2260"/>
                  <a:gd name="T3" fmla="*/ 0 h 1882"/>
                  <a:gd name="T4" fmla="*/ 0 w 2260"/>
                  <a:gd name="T5" fmla="*/ 0 h 1882"/>
                  <a:gd name="T6" fmla="*/ 0 w 2260"/>
                  <a:gd name="T7" fmla="*/ 0 h 1882"/>
                  <a:gd name="T8" fmla="*/ 0 w 2260"/>
                  <a:gd name="T9" fmla="*/ 0 h 1882"/>
                  <a:gd name="T10" fmla="*/ 0 w 2260"/>
                  <a:gd name="T11" fmla="*/ 0 h 1882"/>
                  <a:gd name="T12" fmla="*/ 0 w 2260"/>
                  <a:gd name="T13" fmla="*/ 0 h 1882"/>
                  <a:gd name="T14" fmla="*/ 0 w 2260"/>
                  <a:gd name="T15" fmla="*/ 0 h 1882"/>
                  <a:gd name="T16" fmla="*/ 0 w 2260"/>
                  <a:gd name="T17" fmla="*/ 0 h 1882"/>
                  <a:gd name="T18" fmla="*/ 0 w 2260"/>
                  <a:gd name="T19" fmla="*/ 0 h 1882"/>
                  <a:gd name="T20" fmla="*/ 0 w 2260"/>
                  <a:gd name="T21" fmla="*/ 0 h 1882"/>
                  <a:gd name="T22" fmla="*/ 0 w 2260"/>
                  <a:gd name="T23" fmla="*/ 0 h 1882"/>
                  <a:gd name="T24" fmla="*/ 0 w 2260"/>
                  <a:gd name="T25" fmla="*/ 0 h 1882"/>
                  <a:gd name="T26" fmla="*/ 0 w 2260"/>
                  <a:gd name="T27" fmla="*/ 0 h 1882"/>
                  <a:gd name="T28" fmla="*/ 0 w 2260"/>
                  <a:gd name="T29" fmla="*/ 0 h 1882"/>
                  <a:gd name="T30" fmla="*/ 0 w 2260"/>
                  <a:gd name="T31" fmla="*/ 0 h 188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60"/>
                  <a:gd name="T49" fmla="*/ 0 h 1882"/>
                  <a:gd name="T50" fmla="*/ 2260 w 2260"/>
                  <a:gd name="T51" fmla="*/ 1882 h 188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60" h="1882">
                    <a:moveTo>
                      <a:pt x="2260" y="1779"/>
                    </a:moveTo>
                    <a:lnTo>
                      <a:pt x="291" y="0"/>
                    </a:lnTo>
                    <a:lnTo>
                      <a:pt x="284" y="7"/>
                    </a:lnTo>
                    <a:lnTo>
                      <a:pt x="265" y="26"/>
                    </a:lnTo>
                    <a:lnTo>
                      <a:pt x="236" y="56"/>
                    </a:lnTo>
                    <a:lnTo>
                      <a:pt x="197" y="97"/>
                    </a:lnTo>
                    <a:lnTo>
                      <a:pt x="175" y="121"/>
                    </a:lnTo>
                    <a:lnTo>
                      <a:pt x="153" y="149"/>
                    </a:lnTo>
                    <a:lnTo>
                      <a:pt x="128" y="178"/>
                    </a:lnTo>
                    <a:lnTo>
                      <a:pt x="103" y="210"/>
                    </a:lnTo>
                    <a:lnTo>
                      <a:pt x="78" y="244"/>
                    </a:lnTo>
                    <a:lnTo>
                      <a:pt x="52" y="280"/>
                    </a:lnTo>
                    <a:lnTo>
                      <a:pt x="26" y="319"/>
                    </a:lnTo>
                    <a:lnTo>
                      <a:pt x="0" y="360"/>
                    </a:lnTo>
                    <a:lnTo>
                      <a:pt x="2157" y="1882"/>
                    </a:lnTo>
                    <a:lnTo>
                      <a:pt x="2260" y="17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03" name="Freeform 61">
                <a:extLst>
                  <a:ext uri="{FF2B5EF4-FFF2-40B4-BE49-F238E27FC236}">
                    <a16:creationId xmlns:a16="http://schemas.microsoft.com/office/drawing/2014/main" id="{E72D93E6-01A4-4715-BD75-2A754227E68F}"/>
                  </a:ext>
                </a:extLst>
              </p:cNvPr>
              <p:cNvSpPr>
                <a:spLocks noChangeAspect="1"/>
              </p:cNvSpPr>
              <p:nvPr/>
            </p:nvSpPr>
            <p:spPr bwMode="auto">
              <a:xfrm>
                <a:off x="4394" y="210"/>
                <a:ext cx="485" cy="485"/>
              </a:xfrm>
              <a:custGeom>
                <a:avLst/>
                <a:gdLst>
                  <a:gd name="T0" fmla="*/ 0 w 7273"/>
                  <a:gd name="T1" fmla="*/ 0 h 7269"/>
                  <a:gd name="T2" fmla="*/ 0 w 7273"/>
                  <a:gd name="T3" fmla="*/ 0 h 7269"/>
                  <a:gd name="T4" fmla="*/ 0 w 7273"/>
                  <a:gd name="T5" fmla="*/ 0 h 7269"/>
                  <a:gd name="T6" fmla="*/ 0 w 7273"/>
                  <a:gd name="T7" fmla="*/ 0 h 7269"/>
                  <a:gd name="T8" fmla="*/ 0 w 7273"/>
                  <a:gd name="T9" fmla="*/ 0 h 7269"/>
                  <a:gd name="T10" fmla="*/ 0 w 7273"/>
                  <a:gd name="T11" fmla="*/ 0 h 7269"/>
                  <a:gd name="T12" fmla="*/ 0 w 7273"/>
                  <a:gd name="T13" fmla="*/ 0 h 7269"/>
                  <a:gd name="T14" fmla="*/ 0 w 7273"/>
                  <a:gd name="T15" fmla="*/ 0 h 7269"/>
                  <a:gd name="T16" fmla="*/ 0 w 7273"/>
                  <a:gd name="T17" fmla="*/ 0 h 7269"/>
                  <a:gd name="T18" fmla="*/ 0 w 7273"/>
                  <a:gd name="T19" fmla="*/ 0 h 7269"/>
                  <a:gd name="T20" fmla="*/ 0 w 7273"/>
                  <a:gd name="T21" fmla="*/ 0 h 7269"/>
                  <a:gd name="T22" fmla="*/ 0 w 7273"/>
                  <a:gd name="T23" fmla="*/ 0 h 7269"/>
                  <a:gd name="T24" fmla="*/ 0 w 7273"/>
                  <a:gd name="T25" fmla="*/ 0 h 7269"/>
                  <a:gd name="T26" fmla="*/ 0 w 7273"/>
                  <a:gd name="T27" fmla="*/ 0 h 7269"/>
                  <a:gd name="T28" fmla="*/ 0 w 7273"/>
                  <a:gd name="T29" fmla="*/ 0 h 7269"/>
                  <a:gd name="T30" fmla="*/ 0 w 7273"/>
                  <a:gd name="T31" fmla="*/ 0 h 7269"/>
                  <a:gd name="T32" fmla="*/ 0 w 7273"/>
                  <a:gd name="T33" fmla="*/ 0 h 7269"/>
                  <a:gd name="T34" fmla="*/ 0 w 7273"/>
                  <a:gd name="T35" fmla="*/ 0 h 7269"/>
                  <a:gd name="T36" fmla="*/ 0 w 7273"/>
                  <a:gd name="T37" fmla="*/ 0 h 7269"/>
                  <a:gd name="T38" fmla="*/ 0 w 7273"/>
                  <a:gd name="T39" fmla="*/ 0 h 7269"/>
                  <a:gd name="T40" fmla="*/ 0 w 7273"/>
                  <a:gd name="T41" fmla="*/ 0 h 7269"/>
                  <a:gd name="T42" fmla="*/ 0 w 7273"/>
                  <a:gd name="T43" fmla="*/ 0 h 7269"/>
                  <a:gd name="T44" fmla="*/ 0 w 7273"/>
                  <a:gd name="T45" fmla="*/ 0 h 7269"/>
                  <a:gd name="T46" fmla="*/ 0 w 7273"/>
                  <a:gd name="T47" fmla="*/ 0 h 7269"/>
                  <a:gd name="T48" fmla="*/ 0 w 7273"/>
                  <a:gd name="T49" fmla="*/ 0 h 7269"/>
                  <a:gd name="T50" fmla="*/ 0 w 7273"/>
                  <a:gd name="T51" fmla="*/ 0 h 7269"/>
                  <a:gd name="T52" fmla="*/ 0 w 7273"/>
                  <a:gd name="T53" fmla="*/ 0 h 7269"/>
                  <a:gd name="T54" fmla="*/ 0 w 7273"/>
                  <a:gd name="T55" fmla="*/ 0 h 7269"/>
                  <a:gd name="T56" fmla="*/ 0 w 7273"/>
                  <a:gd name="T57" fmla="*/ 0 h 7269"/>
                  <a:gd name="T58" fmla="*/ 0 w 7273"/>
                  <a:gd name="T59" fmla="*/ 0 h 7269"/>
                  <a:gd name="T60" fmla="*/ 0 w 7273"/>
                  <a:gd name="T61" fmla="*/ 0 h 7269"/>
                  <a:gd name="T62" fmla="*/ 0 w 7273"/>
                  <a:gd name="T63" fmla="*/ 0 h 7269"/>
                  <a:gd name="T64" fmla="*/ 0 w 7273"/>
                  <a:gd name="T65" fmla="*/ 0 h 7269"/>
                  <a:gd name="T66" fmla="*/ 0 w 7273"/>
                  <a:gd name="T67" fmla="*/ 0 h 7269"/>
                  <a:gd name="T68" fmla="*/ 0 w 7273"/>
                  <a:gd name="T69" fmla="*/ 0 h 7269"/>
                  <a:gd name="T70" fmla="*/ 0 w 7273"/>
                  <a:gd name="T71" fmla="*/ 0 h 7269"/>
                  <a:gd name="T72" fmla="*/ 0 w 7273"/>
                  <a:gd name="T73" fmla="*/ 0 h 7269"/>
                  <a:gd name="T74" fmla="*/ 0 w 7273"/>
                  <a:gd name="T75" fmla="*/ 0 h 7269"/>
                  <a:gd name="T76" fmla="*/ 0 w 7273"/>
                  <a:gd name="T77" fmla="*/ 0 h 7269"/>
                  <a:gd name="T78" fmla="*/ 0 w 7273"/>
                  <a:gd name="T79" fmla="*/ 0 h 7269"/>
                  <a:gd name="T80" fmla="*/ 0 w 7273"/>
                  <a:gd name="T81" fmla="*/ 0 h 7269"/>
                  <a:gd name="T82" fmla="*/ 0 w 7273"/>
                  <a:gd name="T83" fmla="*/ 0 h 7269"/>
                  <a:gd name="T84" fmla="*/ 0 w 7273"/>
                  <a:gd name="T85" fmla="*/ 0 h 72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273"/>
                  <a:gd name="T130" fmla="*/ 0 h 7269"/>
                  <a:gd name="T131" fmla="*/ 7273 w 7273"/>
                  <a:gd name="T132" fmla="*/ 7269 h 72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273" h="7269">
                    <a:moveTo>
                      <a:pt x="7273" y="3635"/>
                    </a:moveTo>
                    <a:lnTo>
                      <a:pt x="7268" y="3821"/>
                    </a:lnTo>
                    <a:lnTo>
                      <a:pt x="7254" y="4006"/>
                    </a:lnTo>
                    <a:lnTo>
                      <a:pt x="7231" y="4188"/>
                    </a:lnTo>
                    <a:lnTo>
                      <a:pt x="7199" y="4367"/>
                    </a:lnTo>
                    <a:lnTo>
                      <a:pt x="7158" y="4542"/>
                    </a:lnTo>
                    <a:lnTo>
                      <a:pt x="7109" y="4716"/>
                    </a:lnTo>
                    <a:lnTo>
                      <a:pt x="7052" y="4884"/>
                    </a:lnTo>
                    <a:lnTo>
                      <a:pt x="6987" y="5049"/>
                    </a:lnTo>
                    <a:lnTo>
                      <a:pt x="6914" y="5211"/>
                    </a:lnTo>
                    <a:lnTo>
                      <a:pt x="6833" y="5366"/>
                    </a:lnTo>
                    <a:lnTo>
                      <a:pt x="6746" y="5519"/>
                    </a:lnTo>
                    <a:lnTo>
                      <a:pt x="6652" y="5667"/>
                    </a:lnTo>
                    <a:lnTo>
                      <a:pt x="6550" y="5809"/>
                    </a:lnTo>
                    <a:lnTo>
                      <a:pt x="6443" y="5946"/>
                    </a:lnTo>
                    <a:lnTo>
                      <a:pt x="6328" y="6078"/>
                    </a:lnTo>
                    <a:lnTo>
                      <a:pt x="6208" y="6204"/>
                    </a:lnTo>
                    <a:lnTo>
                      <a:pt x="6082" y="6324"/>
                    </a:lnTo>
                    <a:lnTo>
                      <a:pt x="5949" y="6439"/>
                    </a:lnTo>
                    <a:lnTo>
                      <a:pt x="5812" y="6547"/>
                    </a:lnTo>
                    <a:lnTo>
                      <a:pt x="5670" y="6648"/>
                    </a:lnTo>
                    <a:lnTo>
                      <a:pt x="5522" y="6742"/>
                    </a:lnTo>
                    <a:lnTo>
                      <a:pt x="5369" y="6831"/>
                    </a:lnTo>
                    <a:lnTo>
                      <a:pt x="5212" y="6910"/>
                    </a:lnTo>
                    <a:lnTo>
                      <a:pt x="5051" y="6983"/>
                    </a:lnTo>
                    <a:lnTo>
                      <a:pt x="4886" y="7048"/>
                    </a:lnTo>
                    <a:lnTo>
                      <a:pt x="4717" y="7105"/>
                    </a:lnTo>
                    <a:lnTo>
                      <a:pt x="4545" y="7154"/>
                    </a:lnTo>
                    <a:lnTo>
                      <a:pt x="4370" y="7195"/>
                    </a:lnTo>
                    <a:lnTo>
                      <a:pt x="4190" y="7227"/>
                    </a:lnTo>
                    <a:lnTo>
                      <a:pt x="4008" y="7250"/>
                    </a:lnTo>
                    <a:lnTo>
                      <a:pt x="3823" y="7264"/>
                    </a:lnTo>
                    <a:lnTo>
                      <a:pt x="3636" y="7269"/>
                    </a:lnTo>
                    <a:lnTo>
                      <a:pt x="3449" y="7264"/>
                    </a:lnTo>
                    <a:lnTo>
                      <a:pt x="3264" y="7250"/>
                    </a:lnTo>
                    <a:lnTo>
                      <a:pt x="3083" y="7227"/>
                    </a:lnTo>
                    <a:lnTo>
                      <a:pt x="2903" y="7195"/>
                    </a:lnTo>
                    <a:lnTo>
                      <a:pt x="2727" y="7154"/>
                    </a:lnTo>
                    <a:lnTo>
                      <a:pt x="2555" y="7105"/>
                    </a:lnTo>
                    <a:lnTo>
                      <a:pt x="2386" y="7048"/>
                    </a:lnTo>
                    <a:lnTo>
                      <a:pt x="2221" y="6983"/>
                    </a:lnTo>
                    <a:lnTo>
                      <a:pt x="2060" y="6910"/>
                    </a:lnTo>
                    <a:lnTo>
                      <a:pt x="1903" y="6831"/>
                    </a:lnTo>
                    <a:lnTo>
                      <a:pt x="1751" y="6742"/>
                    </a:lnTo>
                    <a:lnTo>
                      <a:pt x="1603" y="6648"/>
                    </a:lnTo>
                    <a:lnTo>
                      <a:pt x="1461" y="6547"/>
                    </a:lnTo>
                    <a:lnTo>
                      <a:pt x="1323" y="6439"/>
                    </a:lnTo>
                    <a:lnTo>
                      <a:pt x="1191" y="6324"/>
                    </a:lnTo>
                    <a:lnTo>
                      <a:pt x="1065" y="6204"/>
                    </a:lnTo>
                    <a:lnTo>
                      <a:pt x="944" y="6078"/>
                    </a:lnTo>
                    <a:lnTo>
                      <a:pt x="830" y="5946"/>
                    </a:lnTo>
                    <a:lnTo>
                      <a:pt x="723" y="5809"/>
                    </a:lnTo>
                    <a:lnTo>
                      <a:pt x="621" y="5667"/>
                    </a:lnTo>
                    <a:lnTo>
                      <a:pt x="526" y="5519"/>
                    </a:lnTo>
                    <a:lnTo>
                      <a:pt x="439" y="5366"/>
                    </a:lnTo>
                    <a:lnTo>
                      <a:pt x="359" y="5211"/>
                    </a:lnTo>
                    <a:lnTo>
                      <a:pt x="286" y="5049"/>
                    </a:lnTo>
                    <a:lnTo>
                      <a:pt x="220" y="4884"/>
                    </a:lnTo>
                    <a:lnTo>
                      <a:pt x="163" y="4716"/>
                    </a:lnTo>
                    <a:lnTo>
                      <a:pt x="115" y="4542"/>
                    </a:lnTo>
                    <a:lnTo>
                      <a:pt x="74" y="4367"/>
                    </a:lnTo>
                    <a:lnTo>
                      <a:pt x="42" y="4188"/>
                    </a:lnTo>
                    <a:lnTo>
                      <a:pt x="18" y="4006"/>
                    </a:lnTo>
                    <a:lnTo>
                      <a:pt x="5" y="3821"/>
                    </a:lnTo>
                    <a:lnTo>
                      <a:pt x="0" y="3635"/>
                    </a:lnTo>
                    <a:lnTo>
                      <a:pt x="5" y="3447"/>
                    </a:lnTo>
                    <a:lnTo>
                      <a:pt x="18" y="3263"/>
                    </a:lnTo>
                    <a:lnTo>
                      <a:pt x="42" y="3081"/>
                    </a:lnTo>
                    <a:lnTo>
                      <a:pt x="74" y="2902"/>
                    </a:lnTo>
                    <a:lnTo>
                      <a:pt x="115" y="2726"/>
                    </a:lnTo>
                    <a:lnTo>
                      <a:pt x="163" y="2554"/>
                    </a:lnTo>
                    <a:lnTo>
                      <a:pt x="220" y="2384"/>
                    </a:lnTo>
                    <a:lnTo>
                      <a:pt x="286" y="2219"/>
                    </a:lnTo>
                    <a:lnTo>
                      <a:pt x="359" y="2059"/>
                    </a:lnTo>
                    <a:lnTo>
                      <a:pt x="439" y="1902"/>
                    </a:lnTo>
                    <a:lnTo>
                      <a:pt x="526" y="1750"/>
                    </a:lnTo>
                    <a:lnTo>
                      <a:pt x="621" y="1603"/>
                    </a:lnTo>
                    <a:lnTo>
                      <a:pt x="723" y="1460"/>
                    </a:lnTo>
                    <a:lnTo>
                      <a:pt x="830" y="1323"/>
                    </a:lnTo>
                    <a:lnTo>
                      <a:pt x="944" y="1191"/>
                    </a:lnTo>
                    <a:lnTo>
                      <a:pt x="1065" y="1065"/>
                    </a:lnTo>
                    <a:lnTo>
                      <a:pt x="1191" y="945"/>
                    </a:lnTo>
                    <a:lnTo>
                      <a:pt x="1323" y="830"/>
                    </a:lnTo>
                    <a:lnTo>
                      <a:pt x="1461" y="722"/>
                    </a:lnTo>
                    <a:lnTo>
                      <a:pt x="1603" y="621"/>
                    </a:lnTo>
                    <a:lnTo>
                      <a:pt x="1751" y="527"/>
                    </a:lnTo>
                    <a:lnTo>
                      <a:pt x="1903" y="439"/>
                    </a:lnTo>
                    <a:lnTo>
                      <a:pt x="2060" y="359"/>
                    </a:lnTo>
                    <a:lnTo>
                      <a:pt x="2221" y="286"/>
                    </a:lnTo>
                    <a:lnTo>
                      <a:pt x="2386" y="220"/>
                    </a:lnTo>
                    <a:lnTo>
                      <a:pt x="2555" y="164"/>
                    </a:lnTo>
                    <a:lnTo>
                      <a:pt x="2727" y="115"/>
                    </a:lnTo>
                    <a:lnTo>
                      <a:pt x="2903" y="74"/>
                    </a:lnTo>
                    <a:lnTo>
                      <a:pt x="3083" y="42"/>
                    </a:lnTo>
                    <a:lnTo>
                      <a:pt x="3264" y="18"/>
                    </a:lnTo>
                    <a:lnTo>
                      <a:pt x="3449" y="5"/>
                    </a:lnTo>
                    <a:lnTo>
                      <a:pt x="3636" y="0"/>
                    </a:lnTo>
                    <a:lnTo>
                      <a:pt x="3823" y="5"/>
                    </a:lnTo>
                    <a:lnTo>
                      <a:pt x="4008" y="18"/>
                    </a:lnTo>
                    <a:lnTo>
                      <a:pt x="4190" y="42"/>
                    </a:lnTo>
                    <a:lnTo>
                      <a:pt x="4370" y="74"/>
                    </a:lnTo>
                    <a:lnTo>
                      <a:pt x="4545" y="115"/>
                    </a:lnTo>
                    <a:lnTo>
                      <a:pt x="4717" y="164"/>
                    </a:lnTo>
                    <a:lnTo>
                      <a:pt x="4886" y="220"/>
                    </a:lnTo>
                    <a:lnTo>
                      <a:pt x="5051" y="286"/>
                    </a:lnTo>
                    <a:lnTo>
                      <a:pt x="5212" y="359"/>
                    </a:lnTo>
                    <a:lnTo>
                      <a:pt x="5369" y="439"/>
                    </a:lnTo>
                    <a:lnTo>
                      <a:pt x="5522" y="527"/>
                    </a:lnTo>
                    <a:lnTo>
                      <a:pt x="5670" y="621"/>
                    </a:lnTo>
                    <a:lnTo>
                      <a:pt x="5812" y="722"/>
                    </a:lnTo>
                    <a:lnTo>
                      <a:pt x="5949" y="830"/>
                    </a:lnTo>
                    <a:lnTo>
                      <a:pt x="6082" y="945"/>
                    </a:lnTo>
                    <a:lnTo>
                      <a:pt x="6208" y="1065"/>
                    </a:lnTo>
                    <a:lnTo>
                      <a:pt x="6328" y="1191"/>
                    </a:lnTo>
                    <a:lnTo>
                      <a:pt x="6443" y="1323"/>
                    </a:lnTo>
                    <a:lnTo>
                      <a:pt x="6550" y="1460"/>
                    </a:lnTo>
                    <a:lnTo>
                      <a:pt x="6652" y="1603"/>
                    </a:lnTo>
                    <a:lnTo>
                      <a:pt x="6746" y="1750"/>
                    </a:lnTo>
                    <a:lnTo>
                      <a:pt x="6833" y="1902"/>
                    </a:lnTo>
                    <a:lnTo>
                      <a:pt x="6914" y="2059"/>
                    </a:lnTo>
                    <a:lnTo>
                      <a:pt x="6987" y="2219"/>
                    </a:lnTo>
                    <a:lnTo>
                      <a:pt x="7052" y="2384"/>
                    </a:lnTo>
                    <a:lnTo>
                      <a:pt x="7109" y="2554"/>
                    </a:lnTo>
                    <a:lnTo>
                      <a:pt x="7158" y="2726"/>
                    </a:lnTo>
                    <a:lnTo>
                      <a:pt x="7199" y="2902"/>
                    </a:lnTo>
                    <a:lnTo>
                      <a:pt x="7231" y="3081"/>
                    </a:lnTo>
                    <a:lnTo>
                      <a:pt x="7254" y="3263"/>
                    </a:lnTo>
                    <a:lnTo>
                      <a:pt x="7268" y="3447"/>
                    </a:lnTo>
                    <a:lnTo>
                      <a:pt x="7273" y="3635"/>
                    </a:lnTo>
                    <a:close/>
                  </a:path>
                </a:pathLst>
              </a:custGeom>
              <a:solidFill>
                <a:srgbClr val="DF8C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04" name="Freeform 62">
                <a:extLst>
                  <a:ext uri="{FF2B5EF4-FFF2-40B4-BE49-F238E27FC236}">
                    <a16:creationId xmlns:a16="http://schemas.microsoft.com/office/drawing/2014/main" id="{9599EDE8-760C-46C0-B5A9-84CE81517D12}"/>
                  </a:ext>
                </a:extLst>
              </p:cNvPr>
              <p:cNvSpPr>
                <a:spLocks noChangeAspect="1"/>
              </p:cNvSpPr>
              <p:nvPr/>
            </p:nvSpPr>
            <p:spPr bwMode="auto">
              <a:xfrm>
                <a:off x="4406" y="222"/>
                <a:ext cx="461" cy="461"/>
              </a:xfrm>
              <a:custGeom>
                <a:avLst/>
                <a:gdLst>
                  <a:gd name="T0" fmla="*/ 0 w 6917"/>
                  <a:gd name="T1" fmla="*/ 0 h 6913"/>
                  <a:gd name="T2" fmla="*/ 0 w 6917"/>
                  <a:gd name="T3" fmla="*/ 0 h 6913"/>
                  <a:gd name="T4" fmla="*/ 0 w 6917"/>
                  <a:gd name="T5" fmla="*/ 0 h 6913"/>
                  <a:gd name="T6" fmla="*/ 0 w 6917"/>
                  <a:gd name="T7" fmla="*/ 0 h 6913"/>
                  <a:gd name="T8" fmla="*/ 0 w 6917"/>
                  <a:gd name="T9" fmla="*/ 0 h 6913"/>
                  <a:gd name="T10" fmla="*/ 0 w 6917"/>
                  <a:gd name="T11" fmla="*/ 0 h 6913"/>
                  <a:gd name="T12" fmla="*/ 0 w 6917"/>
                  <a:gd name="T13" fmla="*/ 0 h 6913"/>
                  <a:gd name="T14" fmla="*/ 0 w 6917"/>
                  <a:gd name="T15" fmla="*/ 0 h 6913"/>
                  <a:gd name="T16" fmla="*/ 0 w 6917"/>
                  <a:gd name="T17" fmla="*/ 0 h 6913"/>
                  <a:gd name="T18" fmla="*/ 0 w 6917"/>
                  <a:gd name="T19" fmla="*/ 0 h 6913"/>
                  <a:gd name="T20" fmla="*/ 0 w 6917"/>
                  <a:gd name="T21" fmla="*/ 0 h 6913"/>
                  <a:gd name="T22" fmla="*/ 0 w 6917"/>
                  <a:gd name="T23" fmla="*/ 0 h 6913"/>
                  <a:gd name="T24" fmla="*/ 0 w 6917"/>
                  <a:gd name="T25" fmla="*/ 0 h 6913"/>
                  <a:gd name="T26" fmla="*/ 0 w 6917"/>
                  <a:gd name="T27" fmla="*/ 0 h 6913"/>
                  <a:gd name="T28" fmla="*/ 0 w 6917"/>
                  <a:gd name="T29" fmla="*/ 0 h 6913"/>
                  <a:gd name="T30" fmla="*/ 0 w 6917"/>
                  <a:gd name="T31" fmla="*/ 0 h 6913"/>
                  <a:gd name="T32" fmla="*/ 0 w 6917"/>
                  <a:gd name="T33" fmla="*/ 0 h 6913"/>
                  <a:gd name="T34" fmla="*/ 0 w 6917"/>
                  <a:gd name="T35" fmla="*/ 0 h 6913"/>
                  <a:gd name="T36" fmla="*/ 0 w 6917"/>
                  <a:gd name="T37" fmla="*/ 0 h 6913"/>
                  <a:gd name="T38" fmla="*/ 0 w 6917"/>
                  <a:gd name="T39" fmla="*/ 0 h 6913"/>
                  <a:gd name="T40" fmla="*/ 0 w 6917"/>
                  <a:gd name="T41" fmla="*/ 0 h 6913"/>
                  <a:gd name="T42" fmla="*/ 0 w 6917"/>
                  <a:gd name="T43" fmla="*/ 0 h 6913"/>
                  <a:gd name="T44" fmla="*/ 0 w 6917"/>
                  <a:gd name="T45" fmla="*/ 0 h 6913"/>
                  <a:gd name="T46" fmla="*/ 0 w 6917"/>
                  <a:gd name="T47" fmla="*/ 0 h 6913"/>
                  <a:gd name="T48" fmla="*/ 0 w 6917"/>
                  <a:gd name="T49" fmla="*/ 0 h 6913"/>
                  <a:gd name="T50" fmla="*/ 0 w 6917"/>
                  <a:gd name="T51" fmla="*/ 0 h 6913"/>
                  <a:gd name="T52" fmla="*/ 0 w 6917"/>
                  <a:gd name="T53" fmla="*/ 0 h 6913"/>
                  <a:gd name="T54" fmla="*/ 0 w 6917"/>
                  <a:gd name="T55" fmla="*/ 0 h 6913"/>
                  <a:gd name="T56" fmla="*/ 0 w 6917"/>
                  <a:gd name="T57" fmla="*/ 0 h 6913"/>
                  <a:gd name="T58" fmla="*/ 0 w 6917"/>
                  <a:gd name="T59" fmla="*/ 0 h 6913"/>
                  <a:gd name="T60" fmla="*/ 0 w 6917"/>
                  <a:gd name="T61" fmla="*/ 0 h 6913"/>
                  <a:gd name="T62" fmla="*/ 0 w 6917"/>
                  <a:gd name="T63" fmla="*/ 0 h 6913"/>
                  <a:gd name="T64" fmla="*/ 0 w 6917"/>
                  <a:gd name="T65" fmla="*/ 0 h 6913"/>
                  <a:gd name="T66" fmla="*/ 0 w 6917"/>
                  <a:gd name="T67" fmla="*/ 0 h 6913"/>
                  <a:gd name="T68" fmla="*/ 0 w 6917"/>
                  <a:gd name="T69" fmla="*/ 0 h 6913"/>
                  <a:gd name="T70" fmla="*/ 0 w 6917"/>
                  <a:gd name="T71" fmla="*/ 0 h 6913"/>
                  <a:gd name="T72" fmla="*/ 0 w 6917"/>
                  <a:gd name="T73" fmla="*/ 0 h 6913"/>
                  <a:gd name="T74" fmla="*/ 0 w 6917"/>
                  <a:gd name="T75" fmla="*/ 0 h 6913"/>
                  <a:gd name="T76" fmla="*/ 0 w 6917"/>
                  <a:gd name="T77" fmla="*/ 0 h 6913"/>
                  <a:gd name="T78" fmla="*/ 0 w 6917"/>
                  <a:gd name="T79" fmla="*/ 0 h 6913"/>
                  <a:gd name="T80" fmla="*/ 0 w 6917"/>
                  <a:gd name="T81" fmla="*/ 0 h 6913"/>
                  <a:gd name="T82" fmla="*/ 0 w 6917"/>
                  <a:gd name="T83" fmla="*/ 0 h 6913"/>
                  <a:gd name="T84" fmla="*/ 0 w 6917"/>
                  <a:gd name="T85" fmla="*/ 0 h 691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917"/>
                  <a:gd name="T130" fmla="*/ 0 h 6913"/>
                  <a:gd name="T131" fmla="*/ 6917 w 6917"/>
                  <a:gd name="T132" fmla="*/ 6913 h 691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917" h="6913">
                    <a:moveTo>
                      <a:pt x="6917" y="3457"/>
                    </a:moveTo>
                    <a:lnTo>
                      <a:pt x="6912" y="3634"/>
                    </a:lnTo>
                    <a:lnTo>
                      <a:pt x="6898" y="3810"/>
                    </a:lnTo>
                    <a:lnTo>
                      <a:pt x="6877" y="3983"/>
                    </a:lnTo>
                    <a:lnTo>
                      <a:pt x="6846" y="4153"/>
                    </a:lnTo>
                    <a:lnTo>
                      <a:pt x="6807" y="4320"/>
                    </a:lnTo>
                    <a:lnTo>
                      <a:pt x="6761" y="4484"/>
                    </a:lnTo>
                    <a:lnTo>
                      <a:pt x="6706" y="4645"/>
                    </a:lnTo>
                    <a:lnTo>
                      <a:pt x="6645" y="4802"/>
                    </a:lnTo>
                    <a:lnTo>
                      <a:pt x="6575" y="4955"/>
                    </a:lnTo>
                    <a:lnTo>
                      <a:pt x="6499" y="5104"/>
                    </a:lnTo>
                    <a:lnTo>
                      <a:pt x="6415" y="5249"/>
                    </a:lnTo>
                    <a:lnTo>
                      <a:pt x="6326" y="5389"/>
                    </a:lnTo>
                    <a:lnTo>
                      <a:pt x="6230" y="5524"/>
                    </a:lnTo>
                    <a:lnTo>
                      <a:pt x="6126" y="5655"/>
                    </a:lnTo>
                    <a:lnTo>
                      <a:pt x="6018" y="5781"/>
                    </a:lnTo>
                    <a:lnTo>
                      <a:pt x="5904" y="5900"/>
                    </a:lnTo>
                    <a:lnTo>
                      <a:pt x="5784" y="6015"/>
                    </a:lnTo>
                    <a:lnTo>
                      <a:pt x="5658" y="6124"/>
                    </a:lnTo>
                    <a:lnTo>
                      <a:pt x="5527" y="6226"/>
                    </a:lnTo>
                    <a:lnTo>
                      <a:pt x="5392" y="6323"/>
                    </a:lnTo>
                    <a:lnTo>
                      <a:pt x="5252" y="6412"/>
                    </a:lnTo>
                    <a:lnTo>
                      <a:pt x="5107" y="6496"/>
                    </a:lnTo>
                    <a:lnTo>
                      <a:pt x="4957" y="6572"/>
                    </a:lnTo>
                    <a:lnTo>
                      <a:pt x="4805" y="6641"/>
                    </a:lnTo>
                    <a:lnTo>
                      <a:pt x="4648" y="6703"/>
                    </a:lnTo>
                    <a:lnTo>
                      <a:pt x="4487" y="6757"/>
                    </a:lnTo>
                    <a:lnTo>
                      <a:pt x="4323" y="6804"/>
                    </a:lnTo>
                    <a:lnTo>
                      <a:pt x="4156" y="6842"/>
                    </a:lnTo>
                    <a:lnTo>
                      <a:pt x="3984" y="6873"/>
                    </a:lnTo>
                    <a:lnTo>
                      <a:pt x="3812" y="6894"/>
                    </a:lnTo>
                    <a:lnTo>
                      <a:pt x="3636" y="6908"/>
                    </a:lnTo>
                    <a:lnTo>
                      <a:pt x="3458" y="6913"/>
                    </a:lnTo>
                    <a:lnTo>
                      <a:pt x="3280" y="6908"/>
                    </a:lnTo>
                    <a:lnTo>
                      <a:pt x="3105" y="6894"/>
                    </a:lnTo>
                    <a:lnTo>
                      <a:pt x="2931" y="6873"/>
                    </a:lnTo>
                    <a:lnTo>
                      <a:pt x="2761" y="6842"/>
                    </a:lnTo>
                    <a:lnTo>
                      <a:pt x="2594" y="6804"/>
                    </a:lnTo>
                    <a:lnTo>
                      <a:pt x="2430" y="6757"/>
                    </a:lnTo>
                    <a:lnTo>
                      <a:pt x="2269" y="6703"/>
                    </a:lnTo>
                    <a:lnTo>
                      <a:pt x="2112" y="6641"/>
                    </a:lnTo>
                    <a:lnTo>
                      <a:pt x="1959" y="6572"/>
                    </a:lnTo>
                    <a:lnTo>
                      <a:pt x="1810" y="6496"/>
                    </a:lnTo>
                    <a:lnTo>
                      <a:pt x="1665" y="6412"/>
                    </a:lnTo>
                    <a:lnTo>
                      <a:pt x="1525" y="6323"/>
                    </a:lnTo>
                    <a:lnTo>
                      <a:pt x="1389" y="6226"/>
                    </a:lnTo>
                    <a:lnTo>
                      <a:pt x="1258" y="6124"/>
                    </a:lnTo>
                    <a:lnTo>
                      <a:pt x="1133" y="6015"/>
                    </a:lnTo>
                    <a:lnTo>
                      <a:pt x="1013" y="5900"/>
                    </a:lnTo>
                    <a:lnTo>
                      <a:pt x="898" y="5781"/>
                    </a:lnTo>
                    <a:lnTo>
                      <a:pt x="790" y="5655"/>
                    </a:lnTo>
                    <a:lnTo>
                      <a:pt x="687" y="5524"/>
                    </a:lnTo>
                    <a:lnTo>
                      <a:pt x="591" y="5389"/>
                    </a:lnTo>
                    <a:lnTo>
                      <a:pt x="501" y="5249"/>
                    </a:lnTo>
                    <a:lnTo>
                      <a:pt x="418" y="5104"/>
                    </a:lnTo>
                    <a:lnTo>
                      <a:pt x="341" y="4955"/>
                    </a:lnTo>
                    <a:lnTo>
                      <a:pt x="272" y="4802"/>
                    </a:lnTo>
                    <a:lnTo>
                      <a:pt x="209" y="4645"/>
                    </a:lnTo>
                    <a:lnTo>
                      <a:pt x="155" y="4484"/>
                    </a:lnTo>
                    <a:lnTo>
                      <a:pt x="109" y="4320"/>
                    </a:lnTo>
                    <a:lnTo>
                      <a:pt x="70" y="4153"/>
                    </a:lnTo>
                    <a:lnTo>
                      <a:pt x="40" y="3983"/>
                    </a:lnTo>
                    <a:lnTo>
                      <a:pt x="18" y="3810"/>
                    </a:lnTo>
                    <a:lnTo>
                      <a:pt x="4" y="3634"/>
                    </a:lnTo>
                    <a:lnTo>
                      <a:pt x="0" y="3457"/>
                    </a:lnTo>
                    <a:lnTo>
                      <a:pt x="4" y="3278"/>
                    </a:lnTo>
                    <a:lnTo>
                      <a:pt x="18" y="3103"/>
                    </a:lnTo>
                    <a:lnTo>
                      <a:pt x="40" y="2930"/>
                    </a:lnTo>
                    <a:lnTo>
                      <a:pt x="70" y="2760"/>
                    </a:lnTo>
                    <a:lnTo>
                      <a:pt x="109" y="2593"/>
                    </a:lnTo>
                    <a:lnTo>
                      <a:pt x="155" y="2429"/>
                    </a:lnTo>
                    <a:lnTo>
                      <a:pt x="209" y="2268"/>
                    </a:lnTo>
                    <a:lnTo>
                      <a:pt x="272" y="2111"/>
                    </a:lnTo>
                    <a:lnTo>
                      <a:pt x="341" y="1957"/>
                    </a:lnTo>
                    <a:lnTo>
                      <a:pt x="418" y="1809"/>
                    </a:lnTo>
                    <a:lnTo>
                      <a:pt x="501" y="1664"/>
                    </a:lnTo>
                    <a:lnTo>
                      <a:pt x="591" y="1524"/>
                    </a:lnTo>
                    <a:lnTo>
                      <a:pt x="687" y="1389"/>
                    </a:lnTo>
                    <a:lnTo>
                      <a:pt x="790" y="1258"/>
                    </a:lnTo>
                    <a:lnTo>
                      <a:pt x="898" y="1133"/>
                    </a:lnTo>
                    <a:lnTo>
                      <a:pt x="1013" y="1013"/>
                    </a:lnTo>
                    <a:lnTo>
                      <a:pt x="1133" y="898"/>
                    </a:lnTo>
                    <a:lnTo>
                      <a:pt x="1258" y="789"/>
                    </a:lnTo>
                    <a:lnTo>
                      <a:pt x="1389" y="687"/>
                    </a:lnTo>
                    <a:lnTo>
                      <a:pt x="1525" y="591"/>
                    </a:lnTo>
                    <a:lnTo>
                      <a:pt x="1665" y="500"/>
                    </a:lnTo>
                    <a:lnTo>
                      <a:pt x="1810" y="417"/>
                    </a:lnTo>
                    <a:lnTo>
                      <a:pt x="1959" y="342"/>
                    </a:lnTo>
                    <a:lnTo>
                      <a:pt x="2112" y="272"/>
                    </a:lnTo>
                    <a:lnTo>
                      <a:pt x="2269" y="210"/>
                    </a:lnTo>
                    <a:lnTo>
                      <a:pt x="2430" y="156"/>
                    </a:lnTo>
                    <a:lnTo>
                      <a:pt x="2594" y="109"/>
                    </a:lnTo>
                    <a:lnTo>
                      <a:pt x="2761" y="70"/>
                    </a:lnTo>
                    <a:lnTo>
                      <a:pt x="2931" y="40"/>
                    </a:lnTo>
                    <a:lnTo>
                      <a:pt x="3105" y="18"/>
                    </a:lnTo>
                    <a:lnTo>
                      <a:pt x="3280" y="4"/>
                    </a:lnTo>
                    <a:lnTo>
                      <a:pt x="3458" y="0"/>
                    </a:lnTo>
                    <a:lnTo>
                      <a:pt x="3636" y="4"/>
                    </a:lnTo>
                    <a:lnTo>
                      <a:pt x="3812" y="18"/>
                    </a:lnTo>
                    <a:lnTo>
                      <a:pt x="3984" y="40"/>
                    </a:lnTo>
                    <a:lnTo>
                      <a:pt x="4156" y="70"/>
                    </a:lnTo>
                    <a:lnTo>
                      <a:pt x="4323" y="109"/>
                    </a:lnTo>
                    <a:lnTo>
                      <a:pt x="4487" y="156"/>
                    </a:lnTo>
                    <a:lnTo>
                      <a:pt x="4648" y="210"/>
                    </a:lnTo>
                    <a:lnTo>
                      <a:pt x="4805" y="272"/>
                    </a:lnTo>
                    <a:lnTo>
                      <a:pt x="4957" y="342"/>
                    </a:lnTo>
                    <a:lnTo>
                      <a:pt x="5107" y="417"/>
                    </a:lnTo>
                    <a:lnTo>
                      <a:pt x="5252" y="500"/>
                    </a:lnTo>
                    <a:lnTo>
                      <a:pt x="5392" y="591"/>
                    </a:lnTo>
                    <a:lnTo>
                      <a:pt x="5527" y="687"/>
                    </a:lnTo>
                    <a:lnTo>
                      <a:pt x="5658" y="789"/>
                    </a:lnTo>
                    <a:lnTo>
                      <a:pt x="5784" y="898"/>
                    </a:lnTo>
                    <a:lnTo>
                      <a:pt x="5904" y="1013"/>
                    </a:lnTo>
                    <a:lnTo>
                      <a:pt x="6018" y="1133"/>
                    </a:lnTo>
                    <a:lnTo>
                      <a:pt x="6126" y="1258"/>
                    </a:lnTo>
                    <a:lnTo>
                      <a:pt x="6230" y="1389"/>
                    </a:lnTo>
                    <a:lnTo>
                      <a:pt x="6326" y="1524"/>
                    </a:lnTo>
                    <a:lnTo>
                      <a:pt x="6415" y="1664"/>
                    </a:lnTo>
                    <a:lnTo>
                      <a:pt x="6499" y="1809"/>
                    </a:lnTo>
                    <a:lnTo>
                      <a:pt x="6575" y="1957"/>
                    </a:lnTo>
                    <a:lnTo>
                      <a:pt x="6645" y="2111"/>
                    </a:lnTo>
                    <a:lnTo>
                      <a:pt x="6706" y="2268"/>
                    </a:lnTo>
                    <a:lnTo>
                      <a:pt x="6761" y="2429"/>
                    </a:lnTo>
                    <a:lnTo>
                      <a:pt x="6807" y="2593"/>
                    </a:lnTo>
                    <a:lnTo>
                      <a:pt x="6846" y="2760"/>
                    </a:lnTo>
                    <a:lnTo>
                      <a:pt x="6877" y="2930"/>
                    </a:lnTo>
                    <a:lnTo>
                      <a:pt x="6898" y="3103"/>
                    </a:lnTo>
                    <a:lnTo>
                      <a:pt x="6912" y="3278"/>
                    </a:lnTo>
                    <a:lnTo>
                      <a:pt x="6917" y="3457"/>
                    </a:lnTo>
                    <a:close/>
                  </a:path>
                </a:pathLst>
              </a:custGeom>
              <a:solidFill>
                <a:srgbClr val="E9C1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05" name="Freeform 63">
                <a:extLst>
                  <a:ext uri="{FF2B5EF4-FFF2-40B4-BE49-F238E27FC236}">
                    <a16:creationId xmlns:a16="http://schemas.microsoft.com/office/drawing/2014/main" id="{C82BB276-9FA6-46A2-AB2C-DA3E77EA19AE}"/>
                  </a:ext>
                </a:extLst>
              </p:cNvPr>
              <p:cNvSpPr>
                <a:spLocks noChangeAspect="1"/>
              </p:cNvSpPr>
              <p:nvPr/>
            </p:nvSpPr>
            <p:spPr bwMode="auto">
              <a:xfrm>
                <a:off x="4534" y="351"/>
                <a:ext cx="213" cy="213"/>
              </a:xfrm>
              <a:custGeom>
                <a:avLst/>
                <a:gdLst>
                  <a:gd name="T0" fmla="*/ 0 w 3193"/>
                  <a:gd name="T1" fmla="*/ 0 h 3192"/>
                  <a:gd name="T2" fmla="*/ 0 w 3193"/>
                  <a:gd name="T3" fmla="*/ 0 h 3192"/>
                  <a:gd name="T4" fmla="*/ 0 w 3193"/>
                  <a:gd name="T5" fmla="*/ 0 h 3192"/>
                  <a:gd name="T6" fmla="*/ 0 w 3193"/>
                  <a:gd name="T7" fmla="*/ 0 h 3192"/>
                  <a:gd name="T8" fmla="*/ 0 w 3193"/>
                  <a:gd name="T9" fmla="*/ 0 h 3192"/>
                  <a:gd name="T10" fmla="*/ 0 w 3193"/>
                  <a:gd name="T11" fmla="*/ 0 h 3192"/>
                  <a:gd name="T12" fmla="*/ 0 w 3193"/>
                  <a:gd name="T13" fmla="*/ 0 h 3192"/>
                  <a:gd name="T14" fmla="*/ 0 w 3193"/>
                  <a:gd name="T15" fmla="*/ 0 h 3192"/>
                  <a:gd name="T16" fmla="*/ 0 w 3193"/>
                  <a:gd name="T17" fmla="*/ 0 h 3192"/>
                  <a:gd name="T18" fmla="*/ 0 w 3193"/>
                  <a:gd name="T19" fmla="*/ 0 h 3192"/>
                  <a:gd name="T20" fmla="*/ 0 w 3193"/>
                  <a:gd name="T21" fmla="*/ 0 h 3192"/>
                  <a:gd name="T22" fmla="*/ 0 w 3193"/>
                  <a:gd name="T23" fmla="*/ 0 h 3192"/>
                  <a:gd name="T24" fmla="*/ 0 w 3193"/>
                  <a:gd name="T25" fmla="*/ 0 h 3192"/>
                  <a:gd name="T26" fmla="*/ 0 w 3193"/>
                  <a:gd name="T27" fmla="*/ 0 h 3192"/>
                  <a:gd name="T28" fmla="*/ 0 w 3193"/>
                  <a:gd name="T29" fmla="*/ 0 h 3192"/>
                  <a:gd name="T30" fmla="*/ 0 w 3193"/>
                  <a:gd name="T31" fmla="*/ 0 h 3192"/>
                  <a:gd name="T32" fmla="*/ 0 w 3193"/>
                  <a:gd name="T33" fmla="*/ 0 h 3192"/>
                  <a:gd name="T34" fmla="*/ 0 w 3193"/>
                  <a:gd name="T35" fmla="*/ 0 h 3192"/>
                  <a:gd name="T36" fmla="*/ 0 w 3193"/>
                  <a:gd name="T37" fmla="*/ 0 h 3192"/>
                  <a:gd name="T38" fmla="*/ 0 w 3193"/>
                  <a:gd name="T39" fmla="*/ 0 h 3192"/>
                  <a:gd name="T40" fmla="*/ 0 w 3193"/>
                  <a:gd name="T41" fmla="*/ 0 h 3192"/>
                  <a:gd name="T42" fmla="*/ 0 w 3193"/>
                  <a:gd name="T43" fmla="*/ 0 h 3192"/>
                  <a:gd name="T44" fmla="*/ 0 w 3193"/>
                  <a:gd name="T45" fmla="*/ 0 h 3192"/>
                  <a:gd name="T46" fmla="*/ 0 w 3193"/>
                  <a:gd name="T47" fmla="*/ 0 h 3192"/>
                  <a:gd name="T48" fmla="*/ 0 w 3193"/>
                  <a:gd name="T49" fmla="*/ 0 h 3192"/>
                  <a:gd name="T50" fmla="*/ 0 w 3193"/>
                  <a:gd name="T51" fmla="*/ 0 h 3192"/>
                  <a:gd name="T52" fmla="*/ 0 w 3193"/>
                  <a:gd name="T53" fmla="*/ 0 h 3192"/>
                  <a:gd name="T54" fmla="*/ 0 w 3193"/>
                  <a:gd name="T55" fmla="*/ 0 h 3192"/>
                  <a:gd name="T56" fmla="*/ 0 w 3193"/>
                  <a:gd name="T57" fmla="*/ 0 h 3192"/>
                  <a:gd name="T58" fmla="*/ 0 w 3193"/>
                  <a:gd name="T59" fmla="*/ 0 h 3192"/>
                  <a:gd name="T60" fmla="*/ 0 w 3193"/>
                  <a:gd name="T61" fmla="*/ 0 h 3192"/>
                  <a:gd name="T62" fmla="*/ 0 w 3193"/>
                  <a:gd name="T63" fmla="*/ 0 h 3192"/>
                  <a:gd name="T64" fmla="*/ 0 w 3193"/>
                  <a:gd name="T65" fmla="*/ 0 h 3192"/>
                  <a:gd name="T66" fmla="*/ 0 w 3193"/>
                  <a:gd name="T67" fmla="*/ 0 h 3192"/>
                  <a:gd name="T68" fmla="*/ 0 w 3193"/>
                  <a:gd name="T69" fmla="*/ 0 h 3192"/>
                  <a:gd name="T70" fmla="*/ 0 w 3193"/>
                  <a:gd name="T71" fmla="*/ 0 h 3192"/>
                  <a:gd name="T72" fmla="*/ 0 w 3193"/>
                  <a:gd name="T73" fmla="*/ 0 h 3192"/>
                  <a:gd name="T74" fmla="*/ 0 w 3193"/>
                  <a:gd name="T75" fmla="*/ 0 h 3192"/>
                  <a:gd name="T76" fmla="*/ 0 w 3193"/>
                  <a:gd name="T77" fmla="*/ 0 h 3192"/>
                  <a:gd name="T78" fmla="*/ 0 w 3193"/>
                  <a:gd name="T79" fmla="*/ 0 h 3192"/>
                  <a:gd name="T80" fmla="*/ 0 w 3193"/>
                  <a:gd name="T81" fmla="*/ 0 h 3192"/>
                  <a:gd name="T82" fmla="*/ 0 w 3193"/>
                  <a:gd name="T83" fmla="*/ 0 h 3192"/>
                  <a:gd name="T84" fmla="*/ 0 w 3193"/>
                  <a:gd name="T85" fmla="*/ 0 h 3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193"/>
                  <a:gd name="T130" fmla="*/ 0 h 3192"/>
                  <a:gd name="T131" fmla="*/ 3193 w 3193"/>
                  <a:gd name="T132" fmla="*/ 3192 h 3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193" h="3192">
                    <a:moveTo>
                      <a:pt x="3164" y="1289"/>
                    </a:moveTo>
                    <a:lnTo>
                      <a:pt x="3177" y="1370"/>
                    </a:lnTo>
                    <a:lnTo>
                      <a:pt x="3187" y="1451"/>
                    </a:lnTo>
                    <a:lnTo>
                      <a:pt x="3192" y="1532"/>
                    </a:lnTo>
                    <a:lnTo>
                      <a:pt x="3193" y="1611"/>
                    </a:lnTo>
                    <a:lnTo>
                      <a:pt x="3191" y="1691"/>
                    </a:lnTo>
                    <a:lnTo>
                      <a:pt x="3184" y="1769"/>
                    </a:lnTo>
                    <a:lnTo>
                      <a:pt x="3174" y="1846"/>
                    </a:lnTo>
                    <a:lnTo>
                      <a:pt x="3159" y="1923"/>
                    </a:lnTo>
                    <a:lnTo>
                      <a:pt x="3142" y="1998"/>
                    </a:lnTo>
                    <a:lnTo>
                      <a:pt x="3121" y="2073"/>
                    </a:lnTo>
                    <a:lnTo>
                      <a:pt x="3096" y="2146"/>
                    </a:lnTo>
                    <a:lnTo>
                      <a:pt x="3067" y="2217"/>
                    </a:lnTo>
                    <a:lnTo>
                      <a:pt x="3035" y="2287"/>
                    </a:lnTo>
                    <a:lnTo>
                      <a:pt x="3001" y="2356"/>
                    </a:lnTo>
                    <a:lnTo>
                      <a:pt x="2963" y="2422"/>
                    </a:lnTo>
                    <a:lnTo>
                      <a:pt x="2922" y="2487"/>
                    </a:lnTo>
                    <a:lnTo>
                      <a:pt x="2878" y="2549"/>
                    </a:lnTo>
                    <a:lnTo>
                      <a:pt x="2830" y="2610"/>
                    </a:lnTo>
                    <a:lnTo>
                      <a:pt x="2780" y="2667"/>
                    </a:lnTo>
                    <a:lnTo>
                      <a:pt x="2727" y="2724"/>
                    </a:lnTo>
                    <a:lnTo>
                      <a:pt x="2671" y="2777"/>
                    </a:lnTo>
                    <a:lnTo>
                      <a:pt x="2613" y="2827"/>
                    </a:lnTo>
                    <a:lnTo>
                      <a:pt x="2553" y="2875"/>
                    </a:lnTo>
                    <a:lnTo>
                      <a:pt x="2489" y="2919"/>
                    </a:lnTo>
                    <a:lnTo>
                      <a:pt x="2423" y="2961"/>
                    </a:lnTo>
                    <a:lnTo>
                      <a:pt x="2356" y="3000"/>
                    </a:lnTo>
                    <a:lnTo>
                      <a:pt x="2286" y="3036"/>
                    </a:lnTo>
                    <a:lnTo>
                      <a:pt x="2213" y="3069"/>
                    </a:lnTo>
                    <a:lnTo>
                      <a:pt x="2138" y="3098"/>
                    </a:lnTo>
                    <a:lnTo>
                      <a:pt x="2062" y="3123"/>
                    </a:lnTo>
                    <a:lnTo>
                      <a:pt x="1983" y="3145"/>
                    </a:lnTo>
                    <a:lnTo>
                      <a:pt x="1904" y="3162"/>
                    </a:lnTo>
                    <a:lnTo>
                      <a:pt x="1823" y="3176"/>
                    </a:lnTo>
                    <a:lnTo>
                      <a:pt x="1742" y="3186"/>
                    </a:lnTo>
                    <a:lnTo>
                      <a:pt x="1662" y="3191"/>
                    </a:lnTo>
                    <a:lnTo>
                      <a:pt x="1582" y="3192"/>
                    </a:lnTo>
                    <a:lnTo>
                      <a:pt x="1503" y="3190"/>
                    </a:lnTo>
                    <a:lnTo>
                      <a:pt x="1424" y="3183"/>
                    </a:lnTo>
                    <a:lnTo>
                      <a:pt x="1346" y="3172"/>
                    </a:lnTo>
                    <a:lnTo>
                      <a:pt x="1270" y="3159"/>
                    </a:lnTo>
                    <a:lnTo>
                      <a:pt x="1194" y="3141"/>
                    </a:lnTo>
                    <a:lnTo>
                      <a:pt x="1119" y="3119"/>
                    </a:lnTo>
                    <a:lnTo>
                      <a:pt x="1046" y="3094"/>
                    </a:lnTo>
                    <a:lnTo>
                      <a:pt x="975" y="3067"/>
                    </a:lnTo>
                    <a:lnTo>
                      <a:pt x="905" y="3035"/>
                    </a:lnTo>
                    <a:lnTo>
                      <a:pt x="837" y="3000"/>
                    </a:lnTo>
                    <a:lnTo>
                      <a:pt x="771" y="2961"/>
                    </a:lnTo>
                    <a:lnTo>
                      <a:pt x="706" y="2920"/>
                    </a:lnTo>
                    <a:lnTo>
                      <a:pt x="643" y="2876"/>
                    </a:lnTo>
                    <a:lnTo>
                      <a:pt x="583" y="2829"/>
                    </a:lnTo>
                    <a:lnTo>
                      <a:pt x="525" y="2779"/>
                    </a:lnTo>
                    <a:lnTo>
                      <a:pt x="469" y="2727"/>
                    </a:lnTo>
                    <a:lnTo>
                      <a:pt x="416" y="2670"/>
                    </a:lnTo>
                    <a:lnTo>
                      <a:pt x="365" y="2613"/>
                    </a:lnTo>
                    <a:lnTo>
                      <a:pt x="317" y="2551"/>
                    </a:lnTo>
                    <a:lnTo>
                      <a:pt x="272" y="2489"/>
                    </a:lnTo>
                    <a:lnTo>
                      <a:pt x="230" y="2423"/>
                    </a:lnTo>
                    <a:lnTo>
                      <a:pt x="191" y="2355"/>
                    </a:lnTo>
                    <a:lnTo>
                      <a:pt x="155" y="2285"/>
                    </a:lnTo>
                    <a:lnTo>
                      <a:pt x="124" y="2212"/>
                    </a:lnTo>
                    <a:lnTo>
                      <a:pt x="94" y="2138"/>
                    </a:lnTo>
                    <a:lnTo>
                      <a:pt x="69" y="2062"/>
                    </a:lnTo>
                    <a:lnTo>
                      <a:pt x="48" y="1984"/>
                    </a:lnTo>
                    <a:lnTo>
                      <a:pt x="29" y="1903"/>
                    </a:lnTo>
                    <a:lnTo>
                      <a:pt x="16" y="1822"/>
                    </a:lnTo>
                    <a:lnTo>
                      <a:pt x="7" y="1741"/>
                    </a:lnTo>
                    <a:lnTo>
                      <a:pt x="1" y="1661"/>
                    </a:lnTo>
                    <a:lnTo>
                      <a:pt x="0" y="1581"/>
                    </a:lnTo>
                    <a:lnTo>
                      <a:pt x="3" y="1502"/>
                    </a:lnTo>
                    <a:lnTo>
                      <a:pt x="9" y="1423"/>
                    </a:lnTo>
                    <a:lnTo>
                      <a:pt x="19" y="1346"/>
                    </a:lnTo>
                    <a:lnTo>
                      <a:pt x="33" y="1270"/>
                    </a:lnTo>
                    <a:lnTo>
                      <a:pt x="51" y="1194"/>
                    </a:lnTo>
                    <a:lnTo>
                      <a:pt x="72" y="1120"/>
                    </a:lnTo>
                    <a:lnTo>
                      <a:pt x="97" y="1046"/>
                    </a:lnTo>
                    <a:lnTo>
                      <a:pt x="126" y="975"/>
                    </a:lnTo>
                    <a:lnTo>
                      <a:pt x="158" y="905"/>
                    </a:lnTo>
                    <a:lnTo>
                      <a:pt x="192" y="837"/>
                    </a:lnTo>
                    <a:lnTo>
                      <a:pt x="230" y="770"/>
                    </a:lnTo>
                    <a:lnTo>
                      <a:pt x="271" y="706"/>
                    </a:lnTo>
                    <a:lnTo>
                      <a:pt x="315" y="643"/>
                    </a:lnTo>
                    <a:lnTo>
                      <a:pt x="363" y="583"/>
                    </a:lnTo>
                    <a:lnTo>
                      <a:pt x="413" y="525"/>
                    </a:lnTo>
                    <a:lnTo>
                      <a:pt x="466" y="469"/>
                    </a:lnTo>
                    <a:lnTo>
                      <a:pt x="521" y="416"/>
                    </a:lnTo>
                    <a:lnTo>
                      <a:pt x="580" y="366"/>
                    </a:lnTo>
                    <a:lnTo>
                      <a:pt x="640" y="318"/>
                    </a:lnTo>
                    <a:lnTo>
                      <a:pt x="704" y="272"/>
                    </a:lnTo>
                    <a:lnTo>
                      <a:pt x="770" y="230"/>
                    </a:lnTo>
                    <a:lnTo>
                      <a:pt x="837" y="192"/>
                    </a:lnTo>
                    <a:lnTo>
                      <a:pt x="908" y="156"/>
                    </a:lnTo>
                    <a:lnTo>
                      <a:pt x="980" y="124"/>
                    </a:lnTo>
                    <a:lnTo>
                      <a:pt x="1055" y="95"/>
                    </a:lnTo>
                    <a:lnTo>
                      <a:pt x="1130" y="70"/>
                    </a:lnTo>
                    <a:lnTo>
                      <a:pt x="1209" y="48"/>
                    </a:lnTo>
                    <a:lnTo>
                      <a:pt x="1289" y="30"/>
                    </a:lnTo>
                    <a:lnTo>
                      <a:pt x="1370" y="16"/>
                    </a:lnTo>
                    <a:lnTo>
                      <a:pt x="1451" y="7"/>
                    </a:lnTo>
                    <a:lnTo>
                      <a:pt x="1531" y="1"/>
                    </a:lnTo>
                    <a:lnTo>
                      <a:pt x="1611" y="0"/>
                    </a:lnTo>
                    <a:lnTo>
                      <a:pt x="1691" y="3"/>
                    </a:lnTo>
                    <a:lnTo>
                      <a:pt x="1769" y="9"/>
                    </a:lnTo>
                    <a:lnTo>
                      <a:pt x="1847" y="19"/>
                    </a:lnTo>
                    <a:lnTo>
                      <a:pt x="1924" y="34"/>
                    </a:lnTo>
                    <a:lnTo>
                      <a:pt x="1999" y="51"/>
                    </a:lnTo>
                    <a:lnTo>
                      <a:pt x="2074" y="73"/>
                    </a:lnTo>
                    <a:lnTo>
                      <a:pt x="2147" y="97"/>
                    </a:lnTo>
                    <a:lnTo>
                      <a:pt x="2218" y="126"/>
                    </a:lnTo>
                    <a:lnTo>
                      <a:pt x="2288" y="158"/>
                    </a:lnTo>
                    <a:lnTo>
                      <a:pt x="2357" y="193"/>
                    </a:lnTo>
                    <a:lnTo>
                      <a:pt x="2423" y="230"/>
                    </a:lnTo>
                    <a:lnTo>
                      <a:pt x="2488" y="271"/>
                    </a:lnTo>
                    <a:lnTo>
                      <a:pt x="2550" y="316"/>
                    </a:lnTo>
                    <a:lnTo>
                      <a:pt x="2611" y="364"/>
                    </a:lnTo>
                    <a:lnTo>
                      <a:pt x="2668" y="413"/>
                    </a:lnTo>
                    <a:lnTo>
                      <a:pt x="2725" y="466"/>
                    </a:lnTo>
                    <a:lnTo>
                      <a:pt x="2777" y="521"/>
                    </a:lnTo>
                    <a:lnTo>
                      <a:pt x="2828" y="580"/>
                    </a:lnTo>
                    <a:lnTo>
                      <a:pt x="2875" y="640"/>
                    </a:lnTo>
                    <a:lnTo>
                      <a:pt x="2921" y="704"/>
                    </a:lnTo>
                    <a:lnTo>
                      <a:pt x="2963" y="769"/>
                    </a:lnTo>
                    <a:lnTo>
                      <a:pt x="3002" y="837"/>
                    </a:lnTo>
                    <a:lnTo>
                      <a:pt x="3037" y="908"/>
                    </a:lnTo>
                    <a:lnTo>
                      <a:pt x="3070" y="980"/>
                    </a:lnTo>
                    <a:lnTo>
                      <a:pt x="3099" y="1054"/>
                    </a:lnTo>
                    <a:lnTo>
                      <a:pt x="3125" y="1131"/>
                    </a:lnTo>
                    <a:lnTo>
                      <a:pt x="3146" y="1209"/>
                    </a:lnTo>
                    <a:lnTo>
                      <a:pt x="3164" y="1289"/>
                    </a:lnTo>
                    <a:close/>
                  </a:path>
                </a:pathLst>
              </a:custGeom>
              <a:solidFill>
                <a:srgbClr val="EDCC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06" name="Freeform 64">
                <a:extLst>
                  <a:ext uri="{FF2B5EF4-FFF2-40B4-BE49-F238E27FC236}">
                    <a16:creationId xmlns:a16="http://schemas.microsoft.com/office/drawing/2014/main" id="{24CB68F6-14C3-49C0-B6F0-E2E203292483}"/>
                  </a:ext>
                </a:extLst>
              </p:cNvPr>
              <p:cNvSpPr>
                <a:spLocks noChangeAspect="1"/>
              </p:cNvSpPr>
              <p:nvPr/>
            </p:nvSpPr>
            <p:spPr bwMode="auto">
              <a:xfrm>
                <a:off x="4585" y="402"/>
                <a:ext cx="111" cy="111"/>
              </a:xfrm>
              <a:custGeom>
                <a:avLst/>
                <a:gdLst>
                  <a:gd name="T0" fmla="*/ 0 w 1669"/>
                  <a:gd name="T1" fmla="*/ 0 h 1667"/>
                  <a:gd name="T2" fmla="*/ 0 w 1669"/>
                  <a:gd name="T3" fmla="*/ 0 h 1667"/>
                  <a:gd name="T4" fmla="*/ 0 w 1669"/>
                  <a:gd name="T5" fmla="*/ 0 h 1667"/>
                  <a:gd name="T6" fmla="*/ 0 w 1669"/>
                  <a:gd name="T7" fmla="*/ 0 h 1667"/>
                  <a:gd name="T8" fmla="*/ 0 w 1669"/>
                  <a:gd name="T9" fmla="*/ 0 h 1667"/>
                  <a:gd name="T10" fmla="*/ 0 w 1669"/>
                  <a:gd name="T11" fmla="*/ 0 h 1667"/>
                  <a:gd name="T12" fmla="*/ 0 w 1669"/>
                  <a:gd name="T13" fmla="*/ 0 h 1667"/>
                  <a:gd name="T14" fmla="*/ 0 w 1669"/>
                  <a:gd name="T15" fmla="*/ 0 h 1667"/>
                  <a:gd name="T16" fmla="*/ 0 w 1669"/>
                  <a:gd name="T17" fmla="*/ 0 h 1667"/>
                  <a:gd name="T18" fmla="*/ 0 w 1669"/>
                  <a:gd name="T19" fmla="*/ 0 h 1667"/>
                  <a:gd name="T20" fmla="*/ 0 w 1669"/>
                  <a:gd name="T21" fmla="*/ 0 h 1667"/>
                  <a:gd name="T22" fmla="*/ 0 w 1669"/>
                  <a:gd name="T23" fmla="*/ 0 h 1667"/>
                  <a:gd name="T24" fmla="*/ 0 w 1669"/>
                  <a:gd name="T25" fmla="*/ 0 h 1667"/>
                  <a:gd name="T26" fmla="*/ 0 w 1669"/>
                  <a:gd name="T27" fmla="*/ 0 h 1667"/>
                  <a:gd name="T28" fmla="*/ 0 w 1669"/>
                  <a:gd name="T29" fmla="*/ 0 h 1667"/>
                  <a:gd name="T30" fmla="*/ 0 w 1669"/>
                  <a:gd name="T31" fmla="*/ 0 h 1667"/>
                  <a:gd name="T32" fmla="*/ 0 w 1669"/>
                  <a:gd name="T33" fmla="*/ 0 h 1667"/>
                  <a:gd name="T34" fmla="*/ 0 w 1669"/>
                  <a:gd name="T35" fmla="*/ 0 h 1667"/>
                  <a:gd name="T36" fmla="*/ 0 w 1669"/>
                  <a:gd name="T37" fmla="*/ 0 h 1667"/>
                  <a:gd name="T38" fmla="*/ 0 w 1669"/>
                  <a:gd name="T39" fmla="*/ 0 h 1667"/>
                  <a:gd name="T40" fmla="*/ 0 w 1669"/>
                  <a:gd name="T41" fmla="*/ 0 h 1667"/>
                  <a:gd name="T42" fmla="*/ 0 w 1669"/>
                  <a:gd name="T43" fmla="*/ 0 h 1667"/>
                  <a:gd name="T44" fmla="*/ 0 w 1669"/>
                  <a:gd name="T45" fmla="*/ 0 h 1667"/>
                  <a:gd name="T46" fmla="*/ 0 w 1669"/>
                  <a:gd name="T47" fmla="*/ 0 h 1667"/>
                  <a:gd name="T48" fmla="*/ 0 w 1669"/>
                  <a:gd name="T49" fmla="*/ 0 h 1667"/>
                  <a:gd name="T50" fmla="*/ 0 w 1669"/>
                  <a:gd name="T51" fmla="*/ 0 h 1667"/>
                  <a:gd name="T52" fmla="*/ 0 w 1669"/>
                  <a:gd name="T53" fmla="*/ 0 h 1667"/>
                  <a:gd name="T54" fmla="*/ 0 w 1669"/>
                  <a:gd name="T55" fmla="*/ 0 h 1667"/>
                  <a:gd name="T56" fmla="*/ 0 w 1669"/>
                  <a:gd name="T57" fmla="*/ 0 h 1667"/>
                  <a:gd name="T58" fmla="*/ 0 w 1669"/>
                  <a:gd name="T59" fmla="*/ 0 h 1667"/>
                  <a:gd name="T60" fmla="*/ 0 w 1669"/>
                  <a:gd name="T61" fmla="*/ 0 h 1667"/>
                  <a:gd name="T62" fmla="*/ 0 w 1669"/>
                  <a:gd name="T63" fmla="*/ 0 h 1667"/>
                  <a:gd name="T64" fmla="*/ 0 w 1669"/>
                  <a:gd name="T65" fmla="*/ 0 h 1667"/>
                  <a:gd name="T66" fmla="*/ 0 w 1669"/>
                  <a:gd name="T67" fmla="*/ 0 h 1667"/>
                  <a:gd name="T68" fmla="*/ 0 w 1669"/>
                  <a:gd name="T69" fmla="*/ 0 h 1667"/>
                  <a:gd name="T70" fmla="*/ 0 w 1669"/>
                  <a:gd name="T71" fmla="*/ 0 h 1667"/>
                  <a:gd name="T72" fmla="*/ 0 w 1669"/>
                  <a:gd name="T73" fmla="*/ 0 h 1667"/>
                  <a:gd name="T74" fmla="*/ 0 w 1669"/>
                  <a:gd name="T75" fmla="*/ 0 h 1667"/>
                  <a:gd name="T76" fmla="*/ 0 w 1669"/>
                  <a:gd name="T77" fmla="*/ 0 h 1667"/>
                  <a:gd name="T78" fmla="*/ 0 w 1669"/>
                  <a:gd name="T79" fmla="*/ 0 h 1667"/>
                  <a:gd name="T80" fmla="*/ 0 w 1669"/>
                  <a:gd name="T81" fmla="*/ 0 h 1667"/>
                  <a:gd name="T82" fmla="*/ 0 w 1669"/>
                  <a:gd name="T83" fmla="*/ 0 h 1667"/>
                  <a:gd name="T84" fmla="*/ 0 w 1669"/>
                  <a:gd name="T85" fmla="*/ 0 h 166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69"/>
                  <a:gd name="T130" fmla="*/ 0 h 1667"/>
                  <a:gd name="T131" fmla="*/ 1669 w 1669"/>
                  <a:gd name="T132" fmla="*/ 1667 h 166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69" h="1667">
                    <a:moveTo>
                      <a:pt x="1653" y="674"/>
                    </a:moveTo>
                    <a:lnTo>
                      <a:pt x="1660" y="717"/>
                    </a:lnTo>
                    <a:lnTo>
                      <a:pt x="1665" y="759"/>
                    </a:lnTo>
                    <a:lnTo>
                      <a:pt x="1667" y="801"/>
                    </a:lnTo>
                    <a:lnTo>
                      <a:pt x="1669" y="842"/>
                    </a:lnTo>
                    <a:lnTo>
                      <a:pt x="1667" y="884"/>
                    </a:lnTo>
                    <a:lnTo>
                      <a:pt x="1663" y="925"/>
                    </a:lnTo>
                    <a:lnTo>
                      <a:pt x="1658" y="965"/>
                    </a:lnTo>
                    <a:lnTo>
                      <a:pt x="1651" y="1004"/>
                    </a:lnTo>
                    <a:lnTo>
                      <a:pt x="1642" y="1044"/>
                    </a:lnTo>
                    <a:lnTo>
                      <a:pt x="1631" y="1083"/>
                    </a:lnTo>
                    <a:lnTo>
                      <a:pt x="1617" y="1121"/>
                    </a:lnTo>
                    <a:lnTo>
                      <a:pt x="1603" y="1158"/>
                    </a:lnTo>
                    <a:lnTo>
                      <a:pt x="1586" y="1195"/>
                    </a:lnTo>
                    <a:lnTo>
                      <a:pt x="1568" y="1231"/>
                    </a:lnTo>
                    <a:lnTo>
                      <a:pt x="1549" y="1266"/>
                    </a:lnTo>
                    <a:lnTo>
                      <a:pt x="1527" y="1300"/>
                    </a:lnTo>
                    <a:lnTo>
                      <a:pt x="1503" y="1332"/>
                    </a:lnTo>
                    <a:lnTo>
                      <a:pt x="1479" y="1363"/>
                    </a:lnTo>
                    <a:lnTo>
                      <a:pt x="1452" y="1394"/>
                    </a:lnTo>
                    <a:lnTo>
                      <a:pt x="1426" y="1423"/>
                    </a:lnTo>
                    <a:lnTo>
                      <a:pt x="1396" y="1450"/>
                    </a:lnTo>
                    <a:lnTo>
                      <a:pt x="1366" y="1477"/>
                    </a:lnTo>
                    <a:lnTo>
                      <a:pt x="1334" y="1501"/>
                    </a:lnTo>
                    <a:lnTo>
                      <a:pt x="1300" y="1525"/>
                    </a:lnTo>
                    <a:lnTo>
                      <a:pt x="1267" y="1548"/>
                    </a:lnTo>
                    <a:lnTo>
                      <a:pt x="1231" y="1568"/>
                    </a:lnTo>
                    <a:lnTo>
                      <a:pt x="1195" y="1587"/>
                    </a:lnTo>
                    <a:lnTo>
                      <a:pt x="1157" y="1603"/>
                    </a:lnTo>
                    <a:lnTo>
                      <a:pt x="1118" y="1618"/>
                    </a:lnTo>
                    <a:lnTo>
                      <a:pt x="1078" y="1632"/>
                    </a:lnTo>
                    <a:lnTo>
                      <a:pt x="1037" y="1643"/>
                    </a:lnTo>
                    <a:lnTo>
                      <a:pt x="995" y="1652"/>
                    </a:lnTo>
                    <a:lnTo>
                      <a:pt x="953" y="1659"/>
                    </a:lnTo>
                    <a:lnTo>
                      <a:pt x="911" y="1664"/>
                    </a:lnTo>
                    <a:lnTo>
                      <a:pt x="869" y="1667"/>
                    </a:lnTo>
                    <a:lnTo>
                      <a:pt x="827" y="1667"/>
                    </a:lnTo>
                    <a:lnTo>
                      <a:pt x="786" y="1666"/>
                    </a:lnTo>
                    <a:lnTo>
                      <a:pt x="745" y="1663"/>
                    </a:lnTo>
                    <a:lnTo>
                      <a:pt x="704" y="1657"/>
                    </a:lnTo>
                    <a:lnTo>
                      <a:pt x="664" y="1650"/>
                    </a:lnTo>
                    <a:lnTo>
                      <a:pt x="625" y="1641"/>
                    </a:lnTo>
                    <a:lnTo>
                      <a:pt x="586" y="1630"/>
                    </a:lnTo>
                    <a:lnTo>
                      <a:pt x="548" y="1617"/>
                    </a:lnTo>
                    <a:lnTo>
                      <a:pt x="510" y="1602"/>
                    </a:lnTo>
                    <a:lnTo>
                      <a:pt x="473" y="1585"/>
                    </a:lnTo>
                    <a:lnTo>
                      <a:pt x="438" y="1567"/>
                    </a:lnTo>
                    <a:lnTo>
                      <a:pt x="403" y="1548"/>
                    </a:lnTo>
                    <a:lnTo>
                      <a:pt x="370" y="1526"/>
                    </a:lnTo>
                    <a:lnTo>
                      <a:pt x="337" y="1502"/>
                    </a:lnTo>
                    <a:lnTo>
                      <a:pt x="305" y="1478"/>
                    </a:lnTo>
                    <a:lnTo>
                      <a:pt x="275" y="1452"/>
                    </a:lnTo>
                    <a:lnTo>
                      <a:pt x="245" y="1425"/>
                    </a:lnTo>
                    <a:lnTo>
                      <a:pt x="218" y="1395"/>
                    </a:lnTo>
                    <a:lnTo>
                      <a:pt x="191" y="1365"/>
                    </a:lnTo>
                    <a:lnTo>
                      <a:pt x="167" y="1333"/>
                    </a:lnTo>
                    <a:lnTo>
                      <a:pt x="143" y="1301"/>
                    </a:lnTo>
                    <a:lnTo>
                      <a:pt x="121" y="1266"/>
                    </a:lnTo>
                    <a:lnTo>
                      <a:pt x="101" y="1231"/>
                    </a:lnTo>
                    <a:lnTo>
                      <a:pt x="82" y="1194"/>
                    </a:lnTo>
                    <a:lnTo>
                      <a:pt x="65" y="1156"/>
                    </a:lnTo>
                    <a:lnTo>
                      <a:pt x="50" y="1117"/>
                    </a:lnTo>
                    <a:lnTo>
                      <a:pt x="37" y="1077"/>
                    </a:lnTo>
                    <a:lnTo>
                      <a:pt x="26" y="1036"/>
                    </a:lnTo>
                    <a:lnTo>
                      <a:pt x="16" y="994"/>
                    </a:lnTo>
                    <a:lnTo>
                      <a:pt x="9" y="952"/>
                    </a:lnTo>
                    <a:lnTo>
                      <a:pt x="5" y="910"/>
                    </a:lnTo>
                    <a:lnTo>
                      <a:pt x="1" y="868"/>
                    </a:lnTo>
                    <a:lnTo>
                      <a:pt x="0" y="826"/>
                    </a:lnTo>
                    <a:lnTo>
                      <a:pt x="1" y="785"/>
                    </a:lnTo>
                    <a:lnTo>
                      <a:pt x="6" y="744"/>
                    </a:lnTo>
                    <a:lnTo>
                      <a:pt x="11" y="703"/>
                    </a:lnTo>
                    <a:lnTo>
                      <a:pt x="18" y="663"/>
                    </a:lnTo>
                    <a:lnTo>
                      <a:pt x="27" y="624"/>
                    </a:lnTo>
                    <a:lnTo>
                      <a:pt x="38" y="585"/>
                    </a:lnTo>
                    <a:lnTo>
                      <a:pt x="52" y="547"/>
                    </a:lnTo>
                    <a:lnTo>
                      <a:pt x="66" y="510"/>
                    </a:lnTo>
                    <a:lnTo>
                      <a:pt x="82" y="474"/>
                    </a:lnTo>
                    <a:lnTo>
                      <a:pt x="101" y="438"/>
                    </a:lnTo>
                    <a:lnTo>
                      <a:pt x="121" y="403"/>
                    </a:lnTo>
                    <a:lnTo>
                      <a:pt x="143" y="369"/>
                    </a:lnTo>
                    <a:lnTo>
                      <a:pt x="165" y="336"/>
                    </a:lnTo>
                    <a:lnTo>
                      <a:pt x="190" y="305"/>
                    </a:lnTo>
                    <a:lnTo>
                      <a:pt x="217" y="275"/>
                    </a:lnTo>
                    <a:lnTo>
                      <a:pt x="244" y="245"/>
                    </a:lnTo>
                    <a:lnTo>
                      <a:pt x="273" y="218"/>
                    </a:lnTo>
                    <a:lnTo>
                      <a:pt x="304" y="191"/>
                    </a:lnTo>
                    <a:lnTo>
                      <a:pt x="336" y="166"/>
                    </a:lnTo>
                    <a:lnTo>
                      <a:pt x="368" y="143"/>
                    </a:lnTo>
                    <a:lnTo>
                      <a:pt x="402" y="121"/>
                    </a:lnTo>
                    <a:lnTo>
                      <a:pt x="438" y="101"/>
                    </a:lnTo>
                    <a:lnTo>
                      <a:pt x="475" y="82"/>
                    </a:lnTo>
                    <a:lnTo>
                      <a:pt x="513" y="65"/>
                    </a:lnTo>
                    <a:lnTo>
                      <a:pt x="552" y="51"/>
                    </a:lnTo>
                    <a:lnTo>
                      <a:pt x="592" y="37"/>
                    </a:lnTo>
                    <a:lnTo>
                      <a:pt x="632" y="26"/>
                    </a:lnTo>
                    <a:lnTo>
                      <a:pt x="674" y="17"/>
                    </a:lnTo>
                    <a:lnTo>
                      <a:pt x="717" y="10"/>
                    </a:lnTo>
                    <a:lnTo>
                      <a:pt x="759" y="4"/>
                    </a:lnTo>
                    <a:lnTo>
                      <a:pt x="801" y="1"/>
                    </a:lnTo>
                    <a:lnTo>
                      <a:pt x="842" y="0"/>
                    </a:lnTo>
                    <a:lnTo>
                      <a:pt x="884" y="2"/>
                    </a:lnTo>
                    <a:lnTo>
                      <a:pt x="925" y="5"/>
                    </a:lnTo>
                    <a:lnTo>
                      <a:pt x="965" y="11"/>
                    </a:lnTo>
                    <a:lnTo>
                      <a:pt x="1005" y="18"/>
                    </a:lnTo>
                    <a:lnTo>
                      <a:pt x="1045" y="28"/>
                    </a:lnTo>
                    <a:lnTo>
                      <a:pt x="1084" y="38"/>
                    </a:lnTo>
                    <a:lnTo>
                      <a:pt x="1122" y="52"/>
                    </a:lnTo>
                    <a:lnTo>
                      <a:pt x="1159" y="66"/>
                    </a:lnTo>
                    <a:lnTo>
                      <a:pt x="1196" y="83"/>
                    </a:lnTo>
                    <a:lnTo>
                      <a:pt x="1232" y="101"/>
                    </a:lnTo>
                    <a:lnTo>
                      <a:pt x="1267" y="121"/>
                    </a:lnTo>
                    <a:lnTo>
                      <a:pt x="1299" y="143"/>
                    </a:lnTo>
                    <a:lnTo>
                      <a:pt x="1332" y="165"/>
                    </a:lnTo>
                    <a:lnTo>
                      <a:pt x="1364" y="190"/>
                    </a:lnTo>
                    <a:lnTo>
                      <a:pt x="1395" y="217"/>
                    </a:lnTo>
                    <a:lnTo>
                      <a:pt x="1423" y="244"/>
                    </a:lnTo>
                    <a:lnTo>
                      <a:pt x="1451" y="273"/>
                    </a:lnTo>
                    <a:lnTo>
                      <a:pt x="1478" y="304"/>
                    </a:lnTo>
                    <a:lnTo>
                      <a:pt x="1502" y="335"/>
                    </a:lnTo>
                    <a:lnTo>
                      <a:pt x="1526" y="368"/>
                    </a:lnTo>
                    <a:lnTo>
                      <a:pt x="1549" y="402"/>
                    </a:lnTo>
                    <a:lnTo>
                      <a:pt x="1568" y="438"/>
                    </a:lnTo>
                    <a:lnTo>
                      <a:pt x="1588" y="475"/>
                    </a:lnTo>
                    <a:lnTo>
                      <a:pt x="1604" y="513"/>
                    </a:lnTo>
                    <a:lnTo>
                      <a:pt x="1619" y="552"/>
                    </a:lnTo>
                    <a:lnTo>
                      <a:pt x="1633" y="592"/>
                    </a:lnTo>
                    <a:lnTo>
                      <a:pt x="1644" y="633"/>
                    </a:lnTo>
                    <a:lnTo>
                      <a:pt x="1653" y="6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07" name="Freeform 65">
                <a:extLst>
                  <a:ext uri="{FF2B5EF4-FFF2-40B4-BE49-F238E27FC236}">
                    <a16:creationId xmlns:a16="http://schemas.microsoft.com/office/drawing/2014/main" id="{88E8B0EE-2E0D-4A6F-8D8B-B509BA54816D}"/>
                  </a:ext>
                </a:extLst>
              </p:cNvPr>
              <p:cNvSpPr>
                <a:spLocks noChangeAspect="1"/>
              </p:cNvSpPr>
              <p:nvPr/>
            </p:nvSpPr>
            <p:spPr bwMode="auto">
              <a:xfrm>
                <a:off x="4415" y="337"/>
                <a:ext cx="175" cy="108"/>
              </a:xfrm>
              <a:custGeom>
                <a:avLst/>
                <a:gdLst>
                  <a:gd name="T0" fmla="*/ 0 w 2618"/>
                  <a:gd name="T1" fmla="*/ 0 h 1607"/>
                  <a:gd name="T2" fmla="*/ 0 w 2618"/>
                  <a:gd name="T3" fmla="*/ 0 h 1607"/>
                  <a:gd name="T4" fmla="*/ 0 w 2618"/>
                  <a:gd name="T5" fmla="*/ 0 h 1607"/>
                  <a:gd name="T6" fmla="*/ 0 w 2618"/>
                  <a:gd name="T7" fmla="*/ 0 h 1607"/>
                  <a:gd name="T8" fmla="*/ 0 w 2618"/>
                  <a:gd name="T9" fmla="*/ 0 h 1607"/>
                  <a:gd name="T10" fmla="*/ 0 w 2618"/>
                  <a:gd name="T11" fmla="*/ 0 h 1607"/>
                  <a:gd name="T12" fmla="*/ 0 w 2618"/>
                  <a:gd name="T13" fmla="*/ 0 h 1607"/>
                  <a:gd name="T14" fmla="*/ 0 w 2618"/>
                  <a:gd name="T15" fmla="*/ 0 h 1607"/>
                  <a:gd name="T16" fmla="*/ 0 w 2618"/>
                  <a:gd name="T17" fmla="*/ 0 h 1607"/>
                  <a:gd name="T18" fmla="*/ 0 w 2618"/>
                  <a:gd name="T19" fmla="*/ 0 h 1607"/>
                  <a:gd name="T20" fmla="*/ 0 w 2618"/>
                  <a:gd name="T21" fmla="*/ 0 h 1607"/>
                  <a:gd name="T22" fmla="*/ 0 w 2618"/>
                  <a:gd name="T23" fmla="*/ 0 h 1607"/>
                  <a:gd name="T24" fmla="*/ 0 w 2618"/>
                  <a:gd name="T25" fmla="*/ 0 h 1607"/>
                  <a:gd name="T26" fmla="*/ 0 w 2618"/>
                  <a:gd name="T27" fmla="*/ 0 h 1607"/>
                  <a:gd name="T28" fmla="*/ 0 w 2618"/>
                  <a:gd name="T29" fmla="*/ 0 h 1607"/>
                  <a:gd name="T30" fmla="*/ 0 w 2618"/>
                  <a:gd name="T31" fmla="*/ 0 h 1607"/>
                  <a:gd name="T32" fmla="*/ 0 w 2618"/>
                  <a:gd name="T33" fmla="*/ 0 h 1607"/>
                  <a:gd name="T34" fmla="*/ 0 w 2618"/>
                  <a:gd name="T35" fmla="*/ 0 h 1607"/>
                  <a:gd name="T36" fmla="*/ 0 w 2618"/>
                  <a:gd name="T37" fmla="*/ 0 h 1607"/>
                  <a:gd name="T38" fmla="*/ 0 w 2618"/>
                  <a:gd name="T39" fmla="*/ 0 h 1607"/>
                  <a:gd name="T40" fmla="*/ 0 w 2618"/>
                  <a:gd name="T41" fmla="*/ 0 h 1607"/>
                  <a:gd name="T42" fmla="*/ 0 w 2618"/>
                  <a:gd name="T43" fmla="*/ 0 h 1607"/>
                  <a:gd name="T44" fmla="*/ 0 w 2618"/>
                  <a:gd name="T45" fmla="*/ 0 h 1607"/>
                  <a:gd name="T46" fmla="*/ 0 w 2618"/>
                  <a:gd name="T47" fmla="*/ 0 h 1607"/>
                  <a:gd name="T48" fmla="*/ 0 w 2618"/>
                  <a:gd name="T49" fmla="*/ 0 h 1607"/>
                  <a:gd name="T50" fmla="*/ 0 w 2618"/>
                  <a:gd name="T51" fmla="*/ 0 h 160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618"/>
                  <a:gd name="T79" fmla="*/ 0 h 1607"/>
                  <a:gd name="T80" fmla="*/ 2618 w 2618"/>
                  <a:gd name="T81" fmla="*/ 1607 h 160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618" h="1607">
                    <a:moveTo>
                      <a:pt x="2618" y="1453"/>
                    </a:moveTo>
                    <a:lnTo>
                      <a:pt x="376" y="0"/>
                    </a:lnTo>
                    <a:lnTo>
                      <a:pt x="372" y="6"/>
                    </a:lnTo>
                    <a:lnTo>
                      <a:pt x="361" y="26"/>
                    </a:lnTo>
                    <a:lnTo>
                      <a:pt x="343" y="57"/>
                    </a:lnTo>
                    <a:lnTo>
                      <a:pt x="320" y="98"/>
                    </a:lnTo>
                    <a:lnTo>
                      <a:pt x="292" y="149"/>
                    </a:lnTo>
                    <a:lnTo>
                      <a:pt x="261" y="206"/>
                    </a:lnTo>
                    <a:lnTo>
                      <a:pt x="228" y="271"/>
                    </a:lnTo>
                    <a:lnTo>
                      <a:pt x="195" y="339"/>
                    </a:lnTo>
                    <a:lnTo>
                      <a:pt x="160" y="413"/>
                    </a:lnTo>
                    <a:lnTo>
                      <a:pt x="127" y="488"/>
                    </a:lnTo>
                    <a:lnTo>
                      <a:pt x="111" y="527"/>
                    </a:lnTo>
                    <a:lnTo>
                      <a:pt x="95" y="565"/>
                    </a:lnTo>
                    <a:lnTo>
                      <a:pt x="80" y="604"/>
                    </a:lnTo>
                    <a:lnTo>
                      <a:pt x="65" y="642"/>
                    </a:lnTo>
                    <a:lnTo>
                      <a:pt x="53" y="679"/>
                    </a:lnTo>
                    <a:lnTo>
                      <a:pt x="41" y="717"/>
                    </a:lnTo>
                    <a:lnTo>
                      <a:pt x="31" y="754"/>
                    </a:lnTo>
                    <a:lnTo>
                      <a:pt x="21" y="790"/>
                    </a:lnTo>
                    <a:lnTo>
                      <a:pt x="13" y="825"/>
                    </a:lnTo>
                    <a:lnTo>
                      <a:pt x="7" y="859"/>
                    </a:lnTo>
                    <a:lnTo>
                      <a:pt x="2" y="892"/>
                    </a:lnTo>
                    <a:lnTo>
                      <a:pt x="0" y="923"/>
                    </a:lnTo>
                    <a:lnTo>
                      <a:pt x="2567" y="1607"/>
                    </a:lnTo>
                    <a:lnTo>
                      <a:pt x="2618" y="1453"/>
                    </a:lnTo>
                    <a:close/>
                  </a:path>
                </a:pathLst>
              </a:custGeom>
              <a:solidFill>
                <a:srgbClr val="E6E89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08" name="Freeform 66">
                <a:extLst>
                  <a:ext uri="{FF2B5EF4-FFF2-40B4-BE49-F238E27FC236}">
                    <a16:creationId xmlns:a16="http://schemas.microsoft.com/office/drawing/2014/main" id="{5DF92EA7-65D4-4B50-B336-C7250C2F2DB1}"/>
                  </a:ext>
                </a:extLst>
              </p:cNvPr>
              <p:cNvSpPr>
                <a:spLocks noChangeAspect="1"/>
              </p:cNvSpPr>
              <p:nvPr/>
            </p:nvSpPr>
            <p:spPr bwMode="auto">
              <a:xfrm>
                <a:off x="4689" y="474"/>
                <a:ext cx="170" cy="95"/>
              </a:xfrm>
              <a:custGeom>
                <a:avLst/>
                <a:gdLst>
                  <a:gd name="T0" fmla="*/ 0 w 2550"/>
                  <a:gd name="T1" fmla="*/ 0 h 1421"/>
                  <a:gd name="T2" fmla="*/ 0 w 2550"/>
                  <a:gd name="T3" fmla="*/ 0 h 1421"/>
                  <a:gd name="T4" fmla="*/ 0 w 2550"/>
                  <a:gd name="T5" fmla="*/ 0 h 1421"/>
                  <a:gd name="T6" fmla="*/ 0 w 2550"/>
                  <a:gd name="T7" fmla="*/ 0 h 1421"/>
                  <a:gd name="T8" fmla="*/ 0 w 2550"/>
                  <a:gd name="T9" fmla="*/ 0 h 1421"/>
                  <a:gd name="T10" fmla="*/ 0 w 2550"/>
                  <a:gd name="T11" fmla="*/ 0 h 1421"/>
                  <a:gd name="T12" fmla="*/ 0 w 2550"/>
                  <a:gd name="T13" fmla="*/ 0 h 1421"/>
                  <a:gd name="T14" fmla="*/ 0 w 2550"/>
                  <a:gd name="T15" fmla="*/ 0 h 1421"/>
                  <a:gd name="T16" fmla="*/ 0 w 2550"/>
                  <a:gd name="T17" fmla="*/ 0 h 1421"/>
                  <a:gd name="T18" fmla="*/ 0 w 2550"/>
                  <a:gd name="T19" fmla="*/ 0 h 1421"/>
                  <a:gd name="T20" fmla="*/ 0 w 2550"/>
                  <a:gd name="T21" fmla="*/ 0 h 1421"/>
                  <a:gd name="T22" fmla="*/ 0 w 2550"/>
                  <a:gd name="T23" fmla="*/ 0 h 1421"/>
                  <a:gd name="T24" fmla="*/ 0 w 2550"/>
                  <a:gd name="T25" fmla="*/ 0 h 1421"/>
                  <a:gd name="T26" fmla="*/ 0 w 2550"/>
                  <a:gd name="T27" fmla="*/ 0 h 1421"/>
                  <a:gd name="T28" fmla="*/ 0 w 2550"/>
                  <a:gd name="T29" fmla="*/ 0 h 1421"/>
                  <a:gd name="T30" fmla="*/ 0 w 2550"/>
                  <a:gd name="T31" fmla="*/ 0 h 1421"/>
                  <a:gd name="T32" fmla="*/ 0 w 2550"/>
                  <a:gd name="T33" fmla="*/ 0 h 1421"/>
                  <a:gd name="T34" fmla="*/ 0 w 2550"/>
                  <a:gd name="T35" fmla="*/ 0 h 1421"/>
                  <a:gd name="T36" fmla="*/ 0 w 2550"/>
                  <a:gd name="T37" fmla="*/ 0 h 1421"/>
                  <a:gd name="T38" fmla="*/ 0 w 2550"/>
                  <a:gd name="T39" fmla="*/ 0 h 1421"/>
                  <a:gd name="T40" fmla="*/ 0 w 2550"/>
                  <a:gd name="T41" fmla="*/ 0 h 1421"/>
                  <a:gd name="T42" fmla="*/ 0 w 2550"/>
                  <a:gd name="T43" fmla="*/ 0 h 1421"/>
                  <a:gd name="T44" fmla="*/ 0 w 2550"/>
                  <a:gd name="T45" fmla="*/ 0 h 1421"/>
                  <a:gd name="T46" fmla="*/ 0 w 2550"/>
                  <a:gd name="T47" fmla="*/ 0 h 14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550"/>
                  <a:gd name="T73" fmla="*/ 0 h 1421"/>
                  <a:gd name="T74" fmla="*/ 2550 w 2550"/>
                  <a:gd name="T75" fmla="*/ 1421 h 14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550" h="1421">
                    <a:moveTo>
                      <a:pt x="68" y="0"/>
                    </a:moveTo>
                    <a:lnTo>
                      <a:pt x="2550" y="600"/>
                    </a:lnTo>
                    <a:lnTo>
                      <a:pt x="2548" y="605"/>
                    </a:lnTo>
                    <a:lnTo>
                      <a:pt x="2544" y="621"/>
                    </a:lnTo>
                    <a:lnTo>
                      <a:pt x="2536" y="647"/>
                    </a:lnTo>
                    <a:lnTo>
                      <a:pt x="2527" y="682"/>
                    </a:lnTo>
                    <a:lnTo>
                      <a:pt x="2515" y="725"/>
                    </a:lnTo>
                    <a:lnTo>
                      <a:pt x="2500" y="773"/>
                    </a:lnTo>
                    <a:lnTo>
                      <a:pt x="2482" y="828"/>
                    </a:lnTo>
                    <a:lnTo>
                      <a:pt x="2462" y="888"/>
                    </a:lnTo>
                    <a:lnTo>
                      <a:pt x="2439" y="951"/>
                    </a:lnTo>
                    <a:lnTo>
                      <a:pt x="2413" y="1018"/>
                    </a:lnTo>
                    <a:lnTo>
                      <a:pt x="2385" y="1086"/>
                    </a:lnTo>
                    <a:lnTo>
                      <a:pt x="2354" y="1155"/>
                    </a:lnTo>
                    <a:lnTo>
                      <a:pt x="2338" y="1189"/>
                    </a:lnTo>
                    <a:lnTo>
                      <a:pt x="2321" y="1224"/>
                    </a:lnTo>
                    <a:lnTo>
                      <a:pt x="2304" y="1258"/>
                    </a:lnTo>
                    <a:lnTo>
                      <a:pt x="2285" y="1292"/>
                    </a:lnTo>
                    <a:lnTo>
                      <a:pt x="2267" y="1325"/>
                    </a:lnTo>
                    <a:lnTo>
                      <a:pt x="2247" y="1357"/>
                    </a:lnTo>
                    <a:lnTo>
                      <a:pt x="2228" y="1389"/>
                    </a:lnTo>
                    <a:lnTo>
                      <a:pt x="2207" y="1421"/>
                    </a:lnTo>
                    <a:lnTo>
                      <a:pt x="0" y="120"/>
                    </a:lnTo>
                    <a:lnTo>
                      <a:pt x="68" y="0"/>
                    </a:lnTo>
                    <a:close/>
                  </a:path>
                </a:pathLst>
              </a:custGeom>
              <a:solidFill>
                <a:srgbClr val="E6E89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09" name="Freeform 67">
                <a:extLst>
                  <a:ext uri="{FF2B5EF4-FFF2-40B4-BE49-F238E27FC236}">
                    <a16:creationId xmlns:a16="http://schemas.microsoft.com/office/drawing/2014/main" id="{2491C5CF-A4FF-4E26-B4B5-F05D90D09C86}"/>
                  </a:ext>
                </a:extLst>
              </p:cNvPr>
              <p:cNvSpPr>
                <a:spLocks noChangeAspect="1"/>
              </p:cNvSpPr>
              <p:nvPr/>
            </p:nvSpPr>
            <p:spPr bwMode="auto">
              <a:xfrm>
                <a:off x="4695" y="396"/>
                <a:ext cx="172" cy="60"/>
              </a:xfrm>
              <a:custGeom>
                <a:avLst/>
                <a:gdLst>
                  <a:gd name="T0" fmla="*/ 0 w 2584"/>
                  <a:gd name="T1" fmla="*/ 0 h 906"/>
                  <a:gd name="T2" fmla="*/ 0 w 2584"/>
                  <a:gd name="T3" fmla="*/ 0 h 906"/>
                  <a:gd name="T4" fmla="*/ 0 w 2584"/>
                  <a:gd name="T5" fmla="*/ 0 h 906"/>
                  <a:gd name="T6" fmla="*/ 0 w 2584"/>
                  <a:gd name="T7" fmla="*/ 0 h 906"/>
                  <a:gd name="T8" fmla="*/ 0 w 2584"/>
                  <a:gd name="T9" fmla="*/ 0 h 906"/>
                  <a:gd name="T10" fmla="*/ 0 w 2584"/>
                  <a:gd name="T11" fmla="*/ 0 h 906"/>
                  <a:gd name="T12" fmla="*/ 0 w 2584"/>
                  <a:gd name="T13" fmla="*/ 0 h 906"/>
                  <a:gd name="T14" fmla="*/ 0 w 2584"/>
                  <a:gd name="T15" fmla="*/ 0 h 906"/>
                  <a:gd name="T16" fmla="*/ 0 w 2584"/>
                  <a:gd name="T17" fmla="*/ 0 h 906"/>
                  <a:gd name="T18" fmla="*/ 0 w 2584"/>
                  <a:gd name="T19" fmla="*/ 0 h 906"/>
                  <a:gd name="T20" fmla="*/ 0 w 2584"/>
                  <a:gd name="T21" fmla="*/ 0 h 906"/>
                  <a:gd name="T22" fmla="*/ 0 w 2584"/>
                  <a:gd name="T23" fmla="*/ 0 h 906"/>
                  <a:gd name="T24" fmla="*/ 0 w 2584"/>
                  <a:gd name="T25" fmla="*/ 0 h 906"/>
                  <a:gd name="T26" fmla="*/ 0 w 2584"/>
                  <a:gd name="T27" fmla="*/ 0 h 906"/>
                  <a:gd name="T28" fmla="*/ 0 w 2584"/>
                  <a:gd name="T29" fmla="*/ 0 h 906"/>
                  <a:gd name="T30" fmla="*/ 0 w 2584"/>
                  <a:gd name="T31" fmla="*/ 0 h 906"/>
                  <a:gd name="T32" fmla="*/ 0 w 2584"/>
                  <a:gd name="T33" fmla="*/ 0 h 906"/>
                  <a:gd name="T34" fmla="*/ 0 w 2584"/>
                  <a:gd name="T35" fmla="*/ 0 h 90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584"/>
                  <a:gd name="T55" fmla="*/ 0 h 906"/>
                  <a:gd name="T56" fmla="*/ 2584 w 2584"/>
                  <a:gd name="T57" fmla="*/ 906 h 90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584" h="906">
                    <a:moveTo>
                      <a:pt x="0" y="752"/>
                    </a:moveTo>
                    <a:lnTo>
                      <a:pt x="2465" y="0"/>
                    </a:lnTo>
                    <a:lnTo>
                      <a:pt x="2470" y="16"/>
                    </a:lnTo>
                    <a:lnTo>
                      <a:pt x="2483" y="62"/>
                    </a:lnTo>
                    <a:lnTo>
                      <a:pt x="2502" y="129"/>
                    </a:lnTo>
                    <a:lnTo>
                      <a:pt x="2524" y="213"/>
                    </a:lnTo>
                    <a:lnTo>
                      <a:pt x="2536" y="259"/>
                    </a:lnTo>
                    <a:lnTo>
                      <a:pt x="2546" y="307"/>
                    </a:lnTo>
                    <a:lnTo>
                      <a:pt x="2556" y="356"/>
                    </a:lnTo>
                    <a:lnTo>
                      <a:pt x="2565" y="404"/>
                    </a:lnTo>
                    <a:lnTo>
                      <a:pt x="2573" y="452"/>
                    </a:lnTo>
                    <a:lnTo>
                      <a:pt x="2579" y="497"/>
                    </a:lnTo>
                    <a:lnTo>
                      <a:pt x="2581" y="520"/>
                    </a:lnTo>
                    <a:lnTo>
                      <a:pt x="2583" y="541"/>
                    </a:lnTo>
                    <a:lnTo>
                      <a:pt x="2584" y="562"/>
                    </a:lnTo>
                    <a:lnTo>
                      <a:pt x="2584" y="581"/>
                    </a:lnTo>
                    <a:lnTo>
                      <a:pt x="18" y="906"/>
                    </a:lnTo>
                    <a:lnTo>
                      <a:pt x="0" y="752"/>
                    </a:lnTo>
                    <a:close/>
                  </a:path>
                </a:pathLst>
              </a:custGeom>
              <a:solidFill>
                <a:srgbClr val="DF8C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10" name="Freeform 68">
                <a:extLst>
                  <a:ext uri="{FF2B5EF4-FFF2-40B4-BE49-F238E27FC236}">
                    <a16:creationId xmlns:a16="http://schemas.microsoft.com/office/drawing/2014/main" id="{3771BCD7-FB85-4A2B-8E8D-A4CE7B9EA65A}"/>
                  </a:ext>
                </a:extLst>
              </p:cNvPr>
              <p:cNvSpPr>
                <a:spLocks noChangeAspect="1"/>
              </p:cNvSpPr>
              <p:nvPr/>
            </p:nvSpPr>
            <p:spPr bwMode="auto">
              <a:xfrm>
                <a:off x="4500" y="504"/>
                <a:ext cx="114" cy="152"/>
              </a:xfrm>
              <a:custGeom>
                <a:avLst/>
                <a:gdLst>
                  <a:gd name="T0" fmla="*/ 0 w 1711"/>
                  <a:gd name="T1" fmla="*/ 0 h 2275"/>
                  <a:gd name="T2" fmla="*/ 0 w 1711"/>
                  <a:gd name="T3" fmla="*/ 0 h 2275"/>
                  <a:gd name="T4" fmla="*/ 0 w 1711"/>
                  <a:gd name="T5" fmla="*/ 0 h 2275"/>
                  <a:gd name="T6" fmla="*/ 0 w 1711"/>
                  <a:gd name="T7" fmla="*/ 0 h 2275"/>
                  <a:gd name="T8" fmla="*/ 0 w 1711"/>
                  <a:gd name="T9" fmla="*/ 0 h 2275"/>
                  <a:gd name="T10" fmla="*/ 0 w 1711"/>
                  <a:gd name="T11" fmla="*/ 0 h 2275"/>
                  <a:gd name="T12" fmla="*/ 0 w 1711"/>
                  <a:gd name="T13" fmla="*/ 0 h 2275"/>
                  <a:gd name="T14" fmla="*/ 0 w 1711"/>
                  <a:gd name="T15" fmla="*/ 0 h 2275"/>
                  <a:gd name="T16" fmla="*/ 0 w 1711"/>
                  <a:gd name="T17" fmla="*/ 0 h 2275"/>
                  <a:gd name="T18" fmla="*/ 0 w 1711"/>
                  <a:gd name="T19" fmla="*/ 0 h 2275"/>
                  <a:gd name="T20" fmla="*/ 0 w 1711"/>
                  <a:gd name="T21" fmla="*/ 0 h 2275"/>
                  <a:gd name="T22" fmla="*/ 0 w 1711"/>
                  <a:gd name="T23" fmla="*/ 0 h 22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11"/>
                  <a:gd name="T37" fmla="*/ 0 h 2275"/>
                  <a:gd name="T38" fmla="*/ 1711 w 1711"/>
                  <a:gd name="T39" fmla="*/ 2275 h 227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11" h="2275">
                    <a:moveTo>
                      <a:pt x="1711" y="52"/>
                    </a:moveTo>
                    <a:lnTo>
                      <a:pt x="428" y="2275"/>
                    </a:lnTo>
                    <a:lnTo>
                      <a:pt x="412" y="2266"/>
                    </a:lnTo>
                    <a:lnTo>
                      <a:pt x="371" y="2239"/>
                    </a:lnTo>
                    <a:lnTo>
                      <a:pt x="311" y="2202"/>
                    </a:lnTo>
                    <a:lnTo>
                      <a:pt x="240" y="2157"/>
                    </a:lnTo>
                    <a:lnTo>
                      <a:pt x="165" y="2111"/>
                    </a:lnTo>
                    <a:lnTo>
                      <a:pt x="96" y="2066"/>
                    </a:lnTo>
                    <a:lnTo>
                      <a:pt x="38" y="2028"/>
                    </a:lnTo>
                    <a:lnTo>
                      <a:pt x="0" y="2001"/>
                    </a:lnTo>
                    <a:lnTo>
                      <a:pt x="1609" y="0"/>
                    </a:lnTo>
                    <a:lnTo>
                      <a:pt x="1711" y="52"/>
                    </a:lnTo>
                    <a:close/>
                  </a:path>
                </a:pathLst>
              </a:custGeom>
              <a:solidFill>
                <a:srgbClr val="DF8C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611" name="Freeform 69">
                <a:extLst>
                  <a:ext uri="{FF2B5EF4-FFF2-40B4-BE49-F238E27FC236}">
                    <a16:creationId xmlns:a16="http://schemas.microsoft.com/office/drawing/2014/main" id="{DE34A27B-1A0E-4243-AC96-50E3597D851E}"/>
                  </a:ext>
                </a:extLst>
              </p:cNvPr>
              <p:cNvSpPr>
                <a:spLocks noChangeAspect="1"/>
              </p:cNvSpPr>
              <p:nvPr/>
            </p:nvSpPr>
            <p:spPr bwMode="auto">
              <a:xfrm>
                <a:off x="4447" y="303"/>
                <a:ext cx="151" cy="126"/>
              </a:xfrm>
              <a:custGeom>
                <a:avLst/>
                <a:gdLst>
                  <a:gd name="T0" fmla="*/ 0 w 2259"/>
                  <a:gd name="T1" fmla="*/ 0 h 1881"/>
                  <a:gd name="T2" fmla="*/ 0 w 2259"/>
                  <a:gd name="T3" fmla="*/ 0 h 1881"/>
                  <a:gd name="T4" fmla="*/ 0 w 2259"/>
                  <a:gd name="T5" fmla="*/ 0 h 1881"/>
                  <a:gd name="T6" fmla="*/ 0 w 2259"/>
                  <a:gd name="T7" fmla="*/ 0 h 1881"/>
                  <a:gd name="T8" fmla="*/ 0 w 2259"/>
                  <a:gd name="T9" fmla="*/ 0 h 1881"/>
                  <a:gd name="T10" fmla="*/ 0 w 2259"/>
                  <a:gd name="T11" fmla="*/ 0 h 1881"/>
                  <a:gd name="T12" fmla="*/ 0 w 2259"/>
                  <a:gd name="T13" fmla="*/ 0 h 1881"/>
                  <a:gd name="T14" fmla="*/ 0 w 2259"/>
                  <a:gd name="T15" fmla="*/ 0 h 1881"/>
                  <a:gd name="T16" fmla="*/ 0 w 2259"/>
                  <a:gd name="T17" fmla="*/ 0 h 1881"/>
                  <a:gd name="T18" fmla="*/ 0 w 2259"/>
                  <a:gd name="T19" fmla="*/ 0 h 1881"/>
                  <a:gd name="T20" fmla="*/ 0 w 2259"/>
                  <a:gd name="T21" fmla="*/ 0 h 1881"/>
                  <a:gd name="T22" fmla="*/ 0 w 2259"/>
                  <a:gd name="T23" fmla="*/ 0 h 1881"/>
                  <a:gd name="T24" fmla="*/ 0 w 2259"/>
                  <a:gd name="T25" fmla="*/ 0 h 1881"/>
                  <a:gd name="T26" fmla="*/ 0 w 2259"/>
                  <a:gd name="T27" fmla="*/ 0 h 1881"/>
                  <a:gd name="T28" fmla="*/ 0 w 2259"/>
                  <a:gd name="T29" fmla="*/ 0 h 1881"/>
                  <a:gd name="T30" fmla="*/ 0 w 2259"/>
                  <a:gd name="T31" fmla="*/ 0 h 188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59"/>
                  <a:gd name="T49" fmla="*/ 0 h 1881"/>
                  <a:gd name="T50" fmla="*/ 2259 w 2259"/>
                  <a:gd name="T51" fmla="*/ 1881 h 188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59" h="1881">
                    <a:moveTo>
                      <a:pt x="2259" y="1779"/>
                    </a:moveTo>
                    <a:lnTo>
                      <a:pt x="291" y="0"/>
                    </a:lnTo>
                    <a:lnTo>
                      <a:pt x="284" y="6"/>
                    </a:lnTo>
                    <a:lnTo>
                      <a:pt x="265" y="24"/>
                    </a:lnTo>
                    <a:lnTo>
                      <a:pt x="235" y="55"/>
                    </a:lnTo>
                    <a:lnTo>
                      <a:pt x="196" y="96"/>
                    </a:lnTo>
                    <a:lnTo>
                      <a:pt x="175" y="121"/>
                    </a:lnTo>
                    <a:lnTo>
                      <a:pt x="152" y="147"/>
                    </a:lnTo>
                    <a:lnTo>
                      <a:pt x="128" y="177"/>
                    </a:lnTo>
                    <a:lnTo>
                      <a:pt x="103" y="209"/>
                    </a:lnTo>
                    <a:lnTo>
                      <a:pt x="78" y="244"/>
                    </a:lnTo>
                    <a:lnTo>
                      <a:pt x="52" y="279"/>
                    </a:lnTo>
                    <a:lnTo>
                      <a:pt x="25" y="318"/>
                    </a:lnTo>
                    <a:lnTo>
                      <a:pt x="0" y="358"/>
                    </a:lnTo>
                    <a:lnTo>
                      <a:pt x="2156" y="1881"/>
                    </a:lnTo>
                    <a:lnTo>
                      <a:pt x="2259" y="17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pic>
          <p:nvPicPr>
            <p:cNvPr id="87072" name="Picture 449" descr="C:\Documents and Settings\강시영\Local Settings\Temporary Internet Files\Content.IE5\1OX0YNS2\MCj04339420000[1].png">
              <a:extLst>
                <a:ext uri="{FF2B5EF4-FFF2-40B4-BE49-F238E27FC236}">
                  <a16:creationId xmlns:a16="http://schemas.microsoft.com/office/drawing/2014/main" id="{18C902DF-7CD1-431E-8456-600DAA3C65C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26088" y="1916099"/>
              <a:ext cx="619125" cy="614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7073" name="그룹 653">
              <a:extLst>
                <a:ext uri="{FF2B5EF4-FFF2-40B4-BE49-F238E27FC236}">
                  <a16:creationId xmlns:a16="http://schemas.microsoft.com/office/drawing/2014/main" id="{1410BC14-9326-4D98-B16F-D65D61300D1D}"/>
                </a:ext>
              </a:extLst>
            </p:cNvPr>
            <p:cNvGrpSpPr>
              <a:grpSpLocks noChangeAspect="1"/>
            </p:cNvGrpSpPr>
            <p:nvPr/>
          </p:nvGrpSpPr>
          <p:grpSpPr bwMode="auto">
            <a:xfrm>
              <a:off x="5205413" y="4021128"/>
              <a:ext cx="527050" cy="527051"/>
              <a:chOff x="7239000" y="3348038"/>
              <a:chExt cx="746125" cy="800100"/>
            </a:xfrm>
          </p:grpSpPr>
          <p:sp>
            <p:nvSpPr>
              <p:cNvPr id="87587" name="Freeform 16">
                <a:extLst>
                  <a:ext uri="{FF2B5EF4-FFF2-40B4-BE49-F238E27FC236}">
                    <a16:creationId xmlns:a16="http://schemas.microsoft.com/office/drawing/2014/main" id="{35DC8691-D308-44BD-956B-71AAE1773EBA}"/>
                  </a:ext>
                </a:extLst>
              </p:cNvPr>
              <p:cNvSpPr>
                <a:spLocks/>
              </p:cNvSpPr>
              <p:nvPr/>
            </p:nvSpPr>
            <p:spPr bwMode="auto">
              <a:xfrm>
                <a:off x="7239000" y="3648075"/>
                <a:ext cx="501650" cy="500063"/>
              </a:xfrm>
              <a:custGeom>
                <a:avLst/>
                <a:gdLst>
                  <a:gd name="T0" fmla="*/ 2147483646 w 631"/>
                  <a:gd name="T1" fmla="*/ 2147483646 h 632"/>
                  <a:gd name="T2" fmla="*/ 2147483646 w 631"/>
                  <a:gd name="T3" fmla="*/ 2147483646 h 632"/>
                  <a:gd name="T4" fmla="*/ 2147483646 w 631"/>
                  <a:gd name="T5" fmla="*/ 2147483646 h 632"/>
                  <a:gd name="T6" fmla="*/ 2147483646 w 631"/>
                  <a:gd name="T7" fmla="*/ 2147483646 h 632"/>
                  <a:gd name="T8" fmla="*/ 2147483646 w 631"/>
                  <a:gd name="T9" fmla="*/ 2147483646 h 632"/>
                  <a:gd name="T10" fmla="*/ 2147483646 w 631"/>
                  <a:gd name="T11" fmla="*/ 2147483646 h 632"/>
                  <a:gd name="T12" fmla="*/ 2147483646 w 631"/>
                  <a:gd name="T13" fmla="*/ 2147483646 h 632"/>
                  <a:gd name="T14" fmla="*/ 2147483646 w 631"/>
                  <a:gd name="T15" fmla="*/ 2147483646 h 632"/>
                  <a:gd name="T16" fmla="*/ 2147483646 w 631"/>
                  <a:gd name="T17" fmla="*/ 2147483646 h 632"/>
                  <a:gd name="T18" fmla="*/ 2147483646 w 631"/>
                  <a:gd name="T19" fmla="*/ 2147483646 h 632"/>
                  <a:gd name="T20" fmla="*/ 2147483646 w 631"/>
                  <a:gd name="T21" fmla="*/ 2147483646 h 632"/>
                  <a:gd name="T22" fmla="*/ 2147483646 w 631"/>
                  <a:gd name="T23" fmla="*/ 2147483646 h 632"/>
                  <a:gd name="T24" fmla="*/ 2147483646 w 631"/>
                  <a:gd name="T25" fmla="*/ 2147483646 h 632"/>
                  <a:gd name="T26" fmla="*/ 2147483646 w 631"/>
                  <a:gd name="T27" fmla="*/ 2147483646 h 632"/>
                  <a:gd name="T28" fmla="*/ 2147483646 w 631"/>
                  <a:gd name="T29" fmla="*/ 0 h 632"/>
                  <a:gd name="T30" fmla="*/ 2147483646 w 631"/>
                  <a:gd name="T31" fmla="*/ 2147483646 h 632"/>
                  <a:gd name="T32" fmla="*/ 2147483646 w 631"/>
                  <a:gd name="T33" fmla="*/ 2147483646 h 632"/>
                  <a:gd name="T34" fmla="*/ 2147483646 w 631"/>
                  <a:gd name="T35" fmla="*/ 2147483646 h 632"/>
                  <a:gd name="T36" fmla="*/ 2147483646 w 631"/>
                  <a:gd name="T37" fmla="*/ 2147483646 h 632"/>
                  <a:gd name="T38" fmla="*/ 2147483646 w 631"/>
                  <a:gd name="T39" fmla="*/ 2147483646 h 632"/>
                  <a:gd name="T40" fmla="*/ 2147483646 w 631"/>
                  <a:gd name="T41" fmla="*/ 2147483646 h 632"/>
                  <a:gd name="T42" fmla="*/ 2147483646 w 631"/>
                  <a:gd name="T43" fmla="*/ 2147483646 h 632"/>
                  <a:gd name="T44" fmla="*/ 2147483646 w 631"/>
                  <a:gd name="T45" fmla="*/ 2147483646 h 632"/>
                  <a:gd name="T46" fmla="*/ 2147483646 w 631"/>
                  <a:gd name="T47" fmla="*/ 2147483646 h 632"/>
                  <a:gd name="T48" fmla="*/ 2147483646 w 631"/>
                  <a:gd name="T49" fmla="*/ 2147483646 h 632"/>
                  <a:gd name="T50" fmla="*/ 2147483646 w 631"/>
                  <a:gd name="T51" fmla="*/ 2147483646 h 632"/>
                  <a:gd name="T52" fmla="*/ 2147483646 w 631"/>
                  <a:gd name="T53" fmla="*/ 2147483646 h 632"/>
                  <a:gd name="T54" fmla="*/ 2147483646 w 631"/>
                  <a:gd name="T55" fmla="*/ 2147483646 h 632"/>
                  <a:gd name="T56" fmla="*/ 0 w 631"/>
                  <a:gd name="T57" fmla="*/ 2147483646 h 632"/>
                  <a:gd name="T58" fmla="*/ 2147483646 w 631"/>
                  <a:gd name="T59" fmla="*/ 2147483646 h 632"/>
                  <a:gd name="T60" fmla="*/ 2147483646 w 631"/>
                  <a:gd name="T61" fmla="*/ 2147483646 h 632"/>
                  <a:gd name="T62" fmla="*/ 2147483646 w 631"/>
                  <a:gd name="T63" fmla="*/ 2147483646 h 632"/>
                  <a:gd name="T64" fmla="*/ 2147483646 w 631"/>
                  <a:gd name="T65" fmla="*/ 2147483646 h 632"/>
                  <a:gd name="T66" fmla="*/ 2147483646 w 631"/>
                  <a:gd name="T67" fmla="*/ 2147483646 h 632"/>
                  <a:gd name="T68" fmla="*/ 2147483646 w 631"/>
                  <a:gd name="T69" fmla="*/ 2147483646 h 632"/>
                  <a:gd name="T70" fmla="*/ 2147483646 w 631"/>
                  <a:gd name="T71" fmla="*/ 2147483646 h 632"/>
                  <a:gd name="T72" fmla="*/ 2147483646 w 631"/>
                  <a:gd name="T73" fmla="*/ 2147483646 h 632"/>
                  <a:gd name="T74" fmla="*/ 2147483646 w 631"/>
                  <a:gd name="T75" fmla="*/ 2147483646 h 632"/>
                  <a:gd name="T76" fmla="*/ 2147483646 w 631"/>
                  <a:gd name="T77" fmla="*/ 2147483646 h 632"/>
                  <a:gd name="T78" fmla="*/ 2147483646 w 631"/>
                  <a:gd name="T79" fmla="*/ 2147483646 h 632"/>
                  <a:gd name="T80" fmla="*/ 2147483646 w 631"/>
                  <a:gd name="T81" fmla="*/ 2147483646 h 632"/>
                  <a:gd name="T82" fmla="*/ 2147483646 w 631"/>
                  <a:gd name="T83" fmla="*/ 2147483646 h 632"/>
                  <a:gd name="T84" fmla="*/ 2147483646 w 631"/>
                  <a:gd name="T85" fmla="*/ 2147483646 h 632"/>
                  <a:gd name="T86" fmla="*/ 2147483646 w 631"/>
                  <a:gd name="T87" fmla="*/ 2147483646 h 632"/>
                  <a:gd name="T88" fmla="*/ 2147483646 w 631"/>
                  <a:gd name="T89" fmla="*/ 2147483646 h 632"/>
                  <a:gd name="T90" fmla="*/ 2147483646 w 631"/>
                  <a:gd name="T91" fmla="*/ 2147483646 h 632"/>
                  <a:gd name="T92" fmla="*/ 2147483646 w 631"/>
                  <a:gd name="T93" fmla="*/ 2147483646 h 632"/>
                  <a:gd name="T94" fmla="*/ 2147483646 w 631"/>
                  <a:gd name="T95" fmla="*/ 2147483646 h 632"/>
                  <a:gd name="T96" fmla="*/ 2147483646 w 631"/>
                  <a:gd name="T97" fmla="*/ 2147483646 h 632"/>
                  <a:gd name="T98" fmla="*/ 2147483646 w 631"/>
                  <a:gd name="T99" fmla="*/ 2147483646 h 632"/>
                  <a:gd name="T100" fmla="*/ 2147483646 w 631"/>
                  <a:gd name="T101" fmla="*/ 2147483646 h 632"/>
                  <a:gd name="T102" fmla="*/ 2147483646 w 631"/>
                  <a:gd name="T103" fmla="*/ 2147483646 h 632"/>
                  <a:gd name="T104" fmla="*/ 2147483646 w 631"/>
                  <a:gd name="T105" fmla="*/ 2147483646 h 632"/>
                  <a:gd name="T106" fmla="*/ 2147483646 w 631"/>
                  <a:gd name="T107" fmla="*/ 2147483646 h 632"/>
                  <a:gd name="T108" fmla="*/ 2147483646 w 631"/>
                  <a:gd name="T109" fmla="*/ 2147483646 h 632"/>
                  <a:gd name="T110" fmla="*/ 2147483646 w 631"/>
                  <a:gd name="T111" fmla="*/ 2147483646 h 632"/>
                  <a:gd name="T112" fmla="*/ 2147483646 w 631"/>
                  <a:gd name="T113" fmla="*/ 2147483646 h 63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31"/>
                  <a:gd name="T172" fmla="*/ 0 h 632"/>
                  <a:gd name="T173" fmla="*/ 631 w 631"/>
                  <a:gd name="T174" fmla="*/ 632 h 63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31" h="632">
                    <a:moveTo>
                      <a:pt x="631" y="266"/>
                    </a:moveTo>
                    <a:lnTo>
                      <a:pt x="588" y="149"/>
                    </a:lnTo>
                    <a:lnTo>
                      <a:pt x="498" y="158"/>
                    </a:lnTo>
                    <a:lnTo>
                      <a:pt x="495" y="156"/>
                    </a:lnTo>
                    <a:lnTo>
                      <a:pt x="493" y="153"/>
                    </a:lnTo>
                    <a:lnTo>
                      <a:pt x="491" y="151"/>
                    </a:lnTo>
                    <a:lnTo>
                      <a:pt x="489" y="149"/>
                    </a:lnTo>
                    <a:lnTo>
                      <a:pt x="506" y="58"/>
                    </a:lnTo>
                    <a:lnTo>
                      <a:pt x="391" y="5"/>
                    </a:lnTo>
                    <a:lnTo>
                      <a:pt x="333" y="76"/>
                    </a:lnTo>
                    <a:lnTo>
                      <a:pt x="329" y="75"/>
                    </a:lnTo>
                    <a:lnTo>
                      <a:pt x="326" y="75"/>
                    </a:lnTo>
                    <a:lnTo>
                      <a:pt x="323" y="75"/>
                    </a:lnTo>
                    <a:lnTo>
                      <a:pt x="319" y="75"/>
                    </a:lnTo>
                    <a:lnTo>
                      <a:pt x="267" y="0"/>
                    </a:lnTo>
                    <a:lnTo>
                      <a:pt x="149" y="44"/>
                    </a:lnTo>
                    <a:lnTo>
                      <a:pt x="158" y="133"/>
                    </a:lnTo>
                    <a:lnTo>
                      <a:pt x="155" y="135"/>
                    </a:lnTo>
                    <a:lnTo>
                      <a:pt x="152" y="137"/>
                    </a:lnTo>
                    <a:lnTo>
                      <a:pt x="149" y="141"/>
                    </a:lnTo>
                    <a:lnTo>
                      <a:pt x="146" y="143"/>
                    </a:lnTo>
                    <a:lnTo>
                      <a:pt x="59" y="127"/>
                    </a:lnTo>
                    <a:lnTo>
                      <a:pt x="5" y="242"/>
                    </a:lnTo>
                    <a:lnTo>
                      <a:pt x="72" y="295"/>
                    </a:lnTo>
                    <a:lnTo>
                      <a:pt x="72" y="300"/>
                    </a:lnTo>
                    <a:lnTo>
                      <a:pt x="72" y="304"/>
                    </a:lnTo>
                    <a:lnTo>
                      <a:pt x="71" y="310"/>
                    </a:lnTo>
                    <a:lnTo>
                      <a:pt x="71" y="315"/>
                    </a:lnTo>
                    <a:lnTo>
                      <a:pt x="0" y="363"/>
                    </a:lnTo>
                    <a:lnTo>
                      <a:pt x="44" y="483"/>
                    </a:lnTo>
                    <a:lnTo>
                      <a:pt x="129" y="474"/>
                    </a:lnTo>
                    <a:lnTo>
                      <a:pt x="132" y="477"/>
                    </a:lnTo>
                    <a:lnTo>
                      <a:pt x="136" y="481"/>
                    </a:lnTo>
                    <a:lnTo>
                      <a:pt x="139" y="485"/>
                    </a:lnTo>
                    <a:lnTo>
                      <a:pt x="143" y="489"/>
                    </a:lnTo>
                    <a:lnTo>
                      <a:pt x="127" y="573"/>
                    </a:lnTo>
                    <a:lnTo>
                      <a:pt x="242" y="626"/>
                    </a:lnTo>
                    <a:lnTo>
                      <a:pt x="296" y="559"/>
                    </a:lnTo>
                    <a:lnTo>
                      <a:pt x="301" y="560"/>
                    </a:lnTo>
                    <a:lnTo>
                      <a:pt x="306" y="560"/>
                    </a:lnTo>
                    <a:lnTo>
                      <a:pt x="311" y="560"/>
                    </a:lnTo>
                    <a:lnTo>
                      <a:pt x="316" y="560"/>
                    </a:lnTo>
                    <a:lnTo>
                      <a:pt x="365" y="632"/>
                    </a:lnTo>
                    <a:lnTo>
                      <a:pt x="484" y="588"/>
                    </a:lnTo>
                    <a:lnTo>
                      <a:pt x="475" y="500"/>
                    </a:lnTo>
                    <a:lnTo>
                      <a:pt x="477" y="498"/>
                    </a:lnTo>
                    <a:lnTo>
                      <a:pt x="480" y="495"/>
                    </a:lnTo>
                    <a:lnTo>
                      <a:pt x="484" y="491"/>
                    </a:lnTo>
                    <a:lnTo>
                      <a:pt x="487" y="488"/>
                    </a:lnTo>
                    <a:lnTo>
                      <a:pt x="573" y="505"/>
                    </a:lnTo>
                    <a:lnTo>
                      <a:pt x="626" y="390"/>
                    </a:lnTo>
                    <a:lnTo>
                      <a:pt x="555" y="332"/>
                    </a:lnTo>
                    <a:lnTo>
                      <a:pt x="557" y="329"/>
                    </a:lnTo>
                    <a:lnTo>
                      <a:pt x="557" y="325"/>
                    </a:lnTo>
                    <a:lnTo>
                      <a:pt x="557" y="322"/>
                    </a:lnTo>
                    <a:lnTo>
                      <a:pt x="557" y="317"/>
                    </a:lnTo>
                    <a:lnTo>
                      <a:pt x="631" y="2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88" name="Freeform 17">
                <a:extLst>
                  <a:ext uri="{FF2B5EF4-FFF2-40B4-BE49-F238E27FC236}">
                    <a16:creationId xmlns:a16="http://schemas.microsoft.com/office/drawing/2014/main" id="{3D685B1E-DB6F-4353-B4CD-3ED56F2CC255}"/>
                  </a:ext>
                </a:extLst>
              </p:cNvPr>
              <p:cNvSpPr>
                <a:spLocks/>
              </p:cNvSpPr>
              <p:nvPr/>
            </p:nvSpPr>
            <p:spPr bwMode="auto">
              <a:xfrm>
                <a:off x="7270750" y="3678238"/>
                <a:ext cx="438150" cy="439738"/>
              </a:xfrm>
              <a:custGeom>
                <a:avLst/>
                <a:gdLst>
                  <a:gd name="T0" fmla="*/ 2147483646 w 553"/>
                  <a:gd name="T1" fmla="*/ 2147483646 h 555"/>
                  <a:gd name="T2" fmla="*/ 2147483646 w 553"/>
                  <a:gd name="T3" fmla="*/ 2147483646 h 555"/>
                  <a:gd name="T4" fmla="*/ 2147483646 w 553"/>
                  <a:gd name="T5" fmla="*/ 2147483646 h 555"/>
                  <a:gd name="T6" fmla="*/ 2147483646 w 553"/>
                  <a:gd name="T7" fmla="*/ 2147483646 h 555"/>
                  <a:gd name="T8" fmla="*/ 2147483646 w 553"/>
                  <a:gd name="T9" fmla="*/ 2147483646 h 555"/>
                  <a:gd name="T10" fmla="*/ 2147483646 w 553"/>
                  <a:gd name="T11" fmla="*/ 2147483646 h 555"/>
                  <a:gd name="T12" fmla="*/ 2147483646 w 553"/>
                  <a:gd name="T13" fmla="*/ 2147483646 h 555"/>
                  <a:gd name="T14" fmla="*/ 2147483646 w 553"/>
                  <a:gd name="T15" fmla="*/ 2147483646 h 555"/>
                  <a:gd name="T16" fmla="*/ 2147483646 w 553"/>
                  <a:gd name="T17" fmla="*/ 2147483646 h 555"/>
                  <a:gd name="T18" fmla="*/ 2147483646 w 553"/>
                  <a:gd name="T19" fmla="*/ 2147483646 h 555"/>
                  <a:gd name="T20" fmla="*/ 2147483646 w 553"/>
                  <a:gd name="T21" fmla="*/ 2147483646 h 555"/>
                  <a:gd name="T22" fmla="*/ 2147483646 w 553"/>
                  <a:gd name="T23" fmla="*/ 2147483646 h 555"/>
                  <a:gd name="T24" fmla="*/ 2147483646 w 553"/>
                  <a:gd name="T25" fmla="*/ 2147483646 h 555"/>
                  <a:gd name="T26" fmla="*/ 0 w 553"/>
                  <a:gd name="T27" fmla="*/ 2147483646 h 555"/>
                  <a:gd name="T28" fmla="*/ 2147483646 w 553"/>
                  <a:gd name="T29" fmla="*/ 2147483646 h 555"/>
                  <a:gd name="T30" fmla="*/ 2147483646 w 553"/>
                  <a:gd name="T31" fmla="*/ 2147483646 h 555"/>
                  <a:gd name="T32" fmla="*/ 2147483646 w 553"/>
                  <a:gd name="T33" fmla="*/ 2147483646 h 555"/>
                  <a:gd name="T34" fmla="*/ 2147483646 w 553"/>
                  <a:gd name="T35" fmla="*/ 2147483646 h 555"/>
                  <a:gd name="T36" fmla="*/ 2147483646 w 553"/>
                  <a:gd name="T37" fmla="*/ 2147483646 h 555"/>
                  <a:gd name="T38" fmla="*/ 2147483646 w 553"/>
                  <a:gd name="T39" fmla="*/ 2147483646 h 555"/>
                  <a:gd name="T40" fmla="*/ 2147483646 w 553"/>
                  <a:gd name="T41" fmla="*/ 2147483646 h 555"/>
                  <a:gd name="T42" fmla="*/ 2147483646 w 553"/>
                  <a:gd name="T43" fmla="*/ 2147483646 h 555"/>
                  <a:gd name="T44" fmla="*/ 2147483646 w 553"/>
                  <a:gd name="T45" fmla="*/ 0 h 555"/>
                  <a:gd name="T46" fmla="*/ 2147483646 w 553"/>
                  <a:gd name="T47" fmla="*/ 2147483646 h 555"/>
                  <a:gd name="T48" fmla="*/ 2147483646 w 553"/>
                  <a:gd name="T49" fmla="*/ 2147483646 h 555"/>
                  <a:gd name="T50" fmla="*/ 2147483646 w 553"/>
                  <a:gd name="T51" fmla="*/ 2147483646 h 555"/>
                  <a:gd name="T52" fmla="*/ 2147483646 w 553"/>
                  <a:gd name="T53" fmla="*/ 2147483646 h 555"/>
                  <a:gd name="T54" fmla="*/ 2147483646 w 553"/>
                  <a:gd name="T55" fmla="*/ 2147483646 h 555"/>
                  <a:gd name="T56" fmla="*/ 2147483646 w 553"/>
                  <a:gd name="T57" fmla="*/ 2147483646 h 555"/>
                  <a:gd name="T58" fmla="*/ 2147483646 w 553"/>
                  <a:gd name="T59" fmla="*/ 2147483646 h 555"/>
                  <a:gd name="T60" fmla="*/ 2147483646 w 553"/>
                  <a:gd name="T61" fmla="*/ 2147483646 h 555"/>
                  <a:gd name="T62" fmla="*/ 2147483646 w 553"/>
                  <a:gd name="T63" fmla="*/ 2147483646 h 555"/>
                  <a:gd name="T64" fmla="*/ 2147483646 w 553"/>
                  <a:gd name="T65" fmla="*/ 2147483646 h 555"/>
                  <a:gd name="T66" fmla="*/ 2147483646 w 553"/>
                  <a:gd name="T67" fmla="*/ 2147483646 h 555"/>
                  <a:gd name="T68" fmla="*/ 2147483646 w 553"/>
                  <a:gd name="T69" fmla="*/ 2147483646 h 555"/>
                  <a:gd name="T70" fmla="*/ 2147483646 w 553"/>
                  <a:gd name="T71" fmla="*/ 2147483646 h 555"/>
                  <a:gd name="T72" fmla="*/ 2147483646 w 553"/>
                  <a:gd name="T73" fmla="*/ 2147483646 h 555"/>
                  <a:gd name="T74" fmla="*/ 2147483646 w 553"/>
                  <a:gd name="T75" fmla="*/ 2147483646 h 55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53"/>
                  <a:gd name="T115" fmla="*/ 0 h 555"/>
                  <a:gd name="T116" fmla="*/ 553 w 553"/>
                  <a:gd name="T117" fmla="*/ 555 h 55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53" h="555">
                    <a:moveTo>
                      <a:pt x="515" y="430"/>
                    </a:moveTo>
                    <a:lnTo>
                      <a:pt x="437" y="415"/>
                    </a:lnTo>
                    <a:lnTo>
                      <a:pt x="431" y="422"/>
                    </a:lnTo>
                    <a:lnTo>
                      <a:pt x="425" y="428"/>
                    </a:lnTo>
                    <a:lnTo>
                      <a:pt x="420" y="434"/>
                    </a:lnTo>
                    <a:lnTo>
                      <a:pt x="414" y="438"/>
                    </a:lnTo>
                    <a:lnTo>
                      <a:pt x="408" y="443"/>
                    </a:lnTo>
                    <a:lnTo>
                      <a:pt x="402" y="449"/>
                    </a:lnTo>
                    <a:lnTo>
                      <a:pt x="410" y="528"/>
                    </a:lnTo>
                    <a:lnTo>
                      <a:pt x="338" y="555"/>
                    </a:lnTo>
                    <a:lnTo>
                      <a:pt x="294" y="490"/>
                    </a:lnTo>
                    <a:lnTo>
                      <a:pt x="285" y="490"/>
                    </a:lnTo>
                    <a:lnTo>
                      <a:pt x="277" y="490"/>
                    </a:lnTo>
                    <a:lnTo>
                      <a:pt x="269" y="490"/>
                    </a:lnTo>
                    <a:lnTo>
                      <a:pt x="259" y="490"/>
                    </a:lnTo>
                    <a:lnTo>
                      <a:pt x="251" y="489"/>
                    </a:lnTo>
                    <a:lnTo>
                      <a:pt x="243" y="488"/>
                    </a:lnTo>
                    <a:lnTo>
                      <a:pt x="194" y="549"/>
                    </a:lnTo>
                    <a:lnTo>
                      <a:pt x="123" y="517"/>
                    </a:lnTo>
                    <a:lnTo>
                      <a:pt x="138" y="439"/>
                    </a:lnTo>
                    <a:lnTo>
                      <a:pt x="131" y="434"/>
                    </a:lnTo>
                    <a:lnTo>
                      <a:pt x="126" y="428"/>
                    </a:lnTo>
                    <a:lnTo>
                      <a:pt x="120" y="422"/>
                    </a:lnTo>
                    <a:lnTo>
                      <a:pt x="115" y="415"/>
                    </a:lnTo>
                    <a:lnTo>
                      <a:pt x="110" y="409"/>
                    </a:lnTo>
                    <a:lnTo>
                      <a:pt x="104" y="402"/>
                    </a:lnTo>
                    <a:lnTo>
                      <a:pt x="25" y="410"/>
                    </a:lnTo>
                    <a:lnTo>
                      <a:pt x="0" y="338"/>
                    </a:lnTo>
                    <a:lnTo>
                      <a:pt x="65" y="293"/>
                    </a:lnTo>
                    <a:lnTo>
                      <a:pt x="65" y="285"/>
                    </a:lnTo>
                    <a:lnTo>
                      <a:pt x="65" y="277"/>
                    </a:lnTo>
                    <a:lnTo>
                      <a:pt x="65" y="269"/>
                    </a:lnTo>
                    <a:lnTo>
                      <a:pt x="66" y="261"/>
                    </a:lnTo>
                    <a:lnTo>
                      <a:pt x="67" y="253"/>
                    </a:lnTo>
                    <a:lnTo>
                      <a:pt x="68" y="243"/>
                    </a:lnTo>
                    <a:lnTo>
                      <a:pt x="6" y="195"/>
                    </a:lnTo>
                    <a:lnTo>
                      <a:pt x="38" y="125"/>
                    </a:lnTo>
                    <a:lnTo>
                      <a:pt x="118" y="140"/>
                    </a:lnTo>
                    <a:lnTo>
                      <a:pt x="123" y="134"/>
                    </a:lnTo>
                    <a:lnTo>
                      <a:pt x="129" y="129"/>
                    </a:lnTo>
                    <a:lnTo>
                      <a:pt x="135" y="124"/>
                    </a:lnTo>
                    <a:lnTo>
                      <a:pt x="140" y="119"/>
                    </a:lnTo>
                    <a:lnTo>
                      <a:pt x="145" y="114"/>
                    </a:lnTo>
                    <a:lnTo>
                      <a:pt x="152" y="109"/>
                    </a:lnTo>
                    <a:lnTo>
                      <a:pt x="144" y="27"/>
                    </a:lnTo>
                    <a:lnTo>
                      <a:pt x="217" y="0"/>
                    </a:lnTo>
                    <a:lnTo>
                      <a:pt x="263" y="69"/>
                    </a:lnTo>
                    <a:lnTo>
                      <a:pt x="272" y="69"/>
                    </a:lnTo>
                    <a:lnTo>
                      <a:pt x="279" y="69"/>
                    </a:lnTo>
                    <a:lnTo>
                      <a:pt x="286" y="69"/>
                    </a:lnTo>
                    <a:lnTo>
                      <a:pt x="293" y="69"/>
                    </a:lnTo>
                    <a:lnTo>
                      <a:pt x="300" y="71"/>
                    </a:lnTo>
                    <a:lnTo>
                      <a:pt x="308" y="72"/>
                    </a:lnTo>
                    <a:lnTo>
                      <a:pt x="361" y="6"/>
                    </a:lnTo>
                    <a:lnTo>
                      <a:pt x="430" y="38"/>
                    </a:lnTo>
                    <a:lnTo>
                      <a:pt x="415" y="121"/>
                    </a:lnTo>
                    <a:lnTo>
                      <a:pt x="416" y="122"/>
                    </a:lnTo>
                    <a:lnTo>
                      <a:pt x="418" y="125"/>
                    </a:lnTo>
                    <a:lnTo>
                      <a:pt x="420" y="127"/>
                    </a:lnTo>
                    <a:lnTo>
                      <a:pt x="421" y="128"/>
                    </a:lnTo>
                    <a:lnTo>
                      <a:pt x="425" y="133"/>
                    </a:lnTo>
                    <a:lnTo>
                      <a:pt x="431" y="137"/>
                    </a:lnTo>
                    <a:lnTo>
                      <a:pt x="436" y="143"/>
                    </a:lnTo>
                    <a:lnTo>
                      <a:pt x="439" y="148"/>
                    </a:lnTo>
                    <a:lnTo>
                      <a:pt x="445" y="154"/>
                    </a:lnTo>
                    <a:lnTo>
                      <a:pt x="527" y="145"/>
                    </a:lnTo>
                    <a:lnTo>
                      <a:pt x="553" y="216"/>
                    </a:lnTo>
                    <a:lnTo>
                      <a:pt x="486" y="263"/>
                    </a:lnTo>
                    <a:lnTo>
                      <a:pt x="486" y="272"/>
                    </a:lnTo>
                    <a:lnTo>
                      <a:pt x="486" y="279"/>
                    </a:lnTo>
                    <a:lnTo>
                      <a:pt x="486" y="286"/>
                    </a:lnTo>
                    <a:lnTo>
                      <a:pt x="486" y="293"/>
                    </a:lnTo>
                    <a:lnTo>
                      <a:pt x="485" y="300"/>
                    </a:lnTo>
                    <a:lnTo>
                      <a:pt x="484" y="309"/>
                    </a:lnTo>
                    <a:lnTo>
                      <a:pt x="547" y="361"/>
                    </a:lnTo>
                    <a:lnTo>
                      <a:pt x="515" y="4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89" name="Freeform 18">
                <a:extLst>
                  <a:ext uri="{FF2B5EF4-FFF2-40B4-BE49-F238E27FC236}">
                    <a16:creationId xmlns:a16="http://schemas.microsoft.com/office/drawing/2014/main" id="{78A8549D-3681-427F-9594-F551EC99F757}"/>
                  </a:ext>
                </a:extLst>
              </p:cNvPr>
              <p:cNvSpPr>
                <a:spLocks/>
              </p:cNvSpPr>
              <p:nvPr/>
            </p:nvSpPr>
            <p:spPr bwMode="auto">
              <a:xfrm>
                <a:off x="7578725" y="3348038"/>
                <a:ext cx="406400" cy="407988"/>
              </a:xfrm>
              <a:custGeom>
                <a:avLst/>
                <a:gdLst>
                  <a:gd name="T0" fmla="*/ 2147483646 w 512"/>
                  <a:gd name="T1" fmla="*/ 2147483646 h 514"/>
                  <a:gd name="T2" fmla="*/ 2147483646 w 512"/>
                  <a:gd name="T3" fmla="*/ 2147483646 h 514"/>
                  <a:gd name="T4" fmla="*/ 2147483646 w 512"/>
                  <a:gd name="T5" fmla="*/ 2147483646 h 514"/>
                  <a:gd name="T6" fmla="*/ 2147483646 w 512"/>
                  <a:gd name="T7" fmla="*/ 2147483646 h 514"/>
                  <a:gd name="T8" fmla="*/ 2147483646 w 512"/>
                  <a:gd name="T9" fmla="*/ 2147483646 h 514"/>
                  <a:gd name="T10" fmla="*/ 2147483646 w 512"/>
                  <a:gd name="T11" fmla="*/ 2147483646 h 514"/>
                  <a:gd name="T12" fmla="*/ 2147483646 w 512"/>
                  <a:gd name="T13" fmla="*/ 2147483646 h 514"/>
                  <a:gd name="T14" fmla="*/ 2147483646 w 512"/>
                  <a:gd name="T15" fmla="*/ 2147483646 h 514"/>
                  <a:gd name="T16" fmla="*/ 2147483646 w 512"/>
                  <a:gd name="T17" fmla="*/ 2147483646 h 514"/>
                  <a:gd name="T18" fmla="*/ 2147483646 w 512"/>
                  <a:gd name="T19" fmla="*/ 2147483646 h 514"/>
                  <a:gd name="T20" fmla="*/ 2147483646 w 512"/>
                  <a:gd name="T21" fmla="*/ 2147483646 h 514"/>
                  <a:gd name="T22" fmla="*/ 2147483646 w 512"/>
                  <a:gd name="T23" fmla="*/ 2147483646 h 514"/>
                  <a:gd name="T24" fmla="*/ 2147483646 w 512"/>
                  <a:gd name="T25" fmla="*/ 2147483646 h 514"/>
                  <a:gd name="T26" fmla="*/ 2147483646 w 512"/>
                  <a:gd name="T27" fmla="*/ 2147483646 h 514"/>
                  <a:gd name="T28" fmla="*/ 2147483646 w 512"/>
                  <a:gd name="T29" fmla="*/ 2147483646 h 514"/>
                  <a:gd name="T30" fmla="*/ 2147483646 w 512"/>
                  <a:gd name="T31" fmla="*/ 2147483646 h 514"/>
                  <a:gd name="T32" fmla="*/ 2147483646 w 512"/>
                  <a:gd name="T33" fmla="*/ 2147483646 h 514"/>
                  <a:gd name="T34" fmla="*/ 2147483646 w 512"/>
                  <a:gd name="T35" fmla="*/ 2147483646 h 514"/>
                  <a:gd name="T36" fmla="*/ 2147483646 w 512"/>
                  <a:gd name="T37" fmla="*/ 2147483646 h 514"/>
                  <a:gd name="T38" fmla="*/ 2147483646 w 512"/>
                  <a:gd name="T39" fmla="*/ 0 h 514"/>
                  <a:gd name="T40" fmla="*/ 2147483646 w 512"/>
                  <a:gd name="T41" fmla="*/ 2147483646 h 514"/>
                  <a:gd name="T42" fmla="*/ 2147483646 w 512"/>
                  <a:gd name="T43" fmla="*/ 2147483646 h 514"/>
                  <a:gd name="T44" fmla="*/ 2147483646 w 512"/>
                  <a:gd name="T45" fmla="*/ 2147483646 h 514"/>
                  <a:gd name="T46" fmla="*/ 2147483646 w 512"/>
                  <a:gd name="T47" fmla="*/ 2147483646 h 514"/>
                  <a:gd name="T48" fmla="*/ 2147483646 w 512"/>
                  <a:gd name="T49" fmla="*/ 2147483646 h 514"/>
                  <a:gd name="T50" fmla="*/ 2147483646 w 512"/>
                  <a:gd name="T51" fmla="*/ 2147483646 h 514"/>
                  <a:gd name="T52" fmla="*/ 2147483646 w 512"/>
                  <a:gd name="T53" fmla="*/ 2147483646 h 514"/>
                  <a:gd name="T54" fmla="*/ 2147483646 w 512"/>
                  <a:gd name="T55" fmla="*/ 2147483646 h 514"/>
                  <a:gd name="T56" fmla="*/ 2147483646 w 512"/>
                  <a:gd name="T57" fmla="*/ 2147483646 h 514"/>
                  <a:gd name="T58" fmla="*/ 2147483646 w 512"/>
                  <a:gd name="T59" fmla="*/ 2147483646 h 514"/>
                  <a:gd name="T60" fmla="*/ 2147483646 w 512"/>
                  <a:gd name="T61" fmla="*/ 2147483646 h 514"/>
                  <a:gd name="T62" fmla="*/ 2147483646 w 512"/>
                  <a:gd name="T63" fmla="*/ 2147483646 h 514"/>
                  <a:gd name="T64" fmla="*/ 2147483646 w 512"/>
                  <a:gd name="T65" fmla="*/ 2147483646 h 514"/>
                  <a:gd name="T66" fmla="*/ 0 w 512"/>
                  <a:gd name="T67" fmla="*/ 2147483646 h 514"/>
                  <a:gd name="T68" fmla="*/ 2147483646 w 512"/>
                  <a:gd name="T69" fmla="*/ 2147483646 h 514"/>
                  <a:gd name="T70" fmla="*/ 2147483646 w 512"/>
                  <a:gd name="T71" fmla="*/ 2147483646 h 514"/>
                  <a:gd name="T72" fmla="*/ 2147483646 w 512"/>
                  <a:gd name="T73" fmla="*/ 2147483646 h 514"/>
                  <a:gd name="T74" fmla="*/ 2147483646 w 512"/>
                  <a:gd name="T75" fmla="*/ 2147483646 h 514"/>
                  <a:gd name="T76" fmla="*/ 2147483646 w 512"/>
                  <a:gd name="T77" fmla="*/ 2147483646 h 514"/>
                  <a:gd name="T78" fmla="*/ 2147483646 w 512"/>
                  <a:gd name="T79" fmla="*/ 2147483646 h 514"/>
                  <a:gd name="T80" fmla="*/ 2147483646 w 512"/>
                  <a:gd name="T81" fmla="*/ 2147483646 h 514"/>
                  <a:gd name="T82" fmla="*/ 2147483646 w 512"/>
                  <a:gd name="T83" fmla="*/ 2147483646 h 514"/>
                  <a:gd name="T84" fmla="*/ 2147483646 w 512"/>
                  <a:gd name="T85" fmla="*/ 2147483646 h 514"/>
                  <a:gd name="T86" fmla="*/ 2147483646 w 512"/>
                  <a:gd name="T87" fmla="*/ 2147483646 h 514"/>
                  <a:gd name="T88" fmla="*/ 2147483646 w 512"/>
                  <a:gd name="T89" fmla="*/ 2147483646 h 514"/>
                  <a:gd name="T90" fmla="*/ 2147483646 w 512"/>
                  <a:gd name="T91" fmla="*/ 2147483646 h 514"/>
                  <a:gd name="T92" fmla="*/ 2147483646 w 512"/>
                  <a:gd name="T93" fmla="*/ 2147483646 h 514"/>
                  <a:gd name="T94" fmla="*/ 2147483646 w 512"/>
                  <a:gd name="T95" fmla="*/ 2147483646 h 514"/>
                  <a:gd name="T96" fmla="*/ 2147483646 w 512"/>
                  <a:gd name="T97" fmla="*/ 2147483646 h 514"/>
                  <a:gd name="T98" fmla="*/ 2147483646 w 512"/>
                  <a:gd name="T99" fmla="*/ 2147483646 h 514"/>
                  <a:gd name="T100" fmla="*/ 2147483646 w 512"/>
                  <a:gd name="T101" fmla="*/ 2147483646 h 514"/>
                  <a:gd name="T102" fmla="*/ 2147483646 w 512"/>
                  <a:gd name="T103" fmla="*/ 2147483646 h 514"/>
                  <a:gd name="T104" fmla="*/ 2147483646 w 512"/>
                  <a:gd name="T105" fmla="*/ 2147483646 h 514"/>
                  <a:gd name="T106" fmla="*/ 2147483646 w 512"/>
                  <a:gd name="T107" fmla="*/ 2147483646 h 514"/>
                  <a:gd name="T108" fmla="*/ 2147483646 w 512"/>
                  <a:gd name="T109" fmla="*/ 2147483646 h 514"/>
                  <a:gd name="T110" fmla="*/ 2147483646 w 512"/>
                  <a:gd name="T111" fmla="*/ 2147483646 h 514"/>
                  <a:gd name="T112" fmla="*/ 2147483646 w 512"/>
                  <a:gd name="T113" fmla="*/ 2147483646 h 51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12"/>
                  <a:gd name="T172" fmla="*/ 0 h 514"/>
                  <a:gd name="T173" fmla="*/ 512 w 512"/>
                  <a:gd name="T174" fmla="*/ 514 h 51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12" h="514">
                    <a:moveTo>
                      <a:pt x="451" y="270"/>
                    </a:moveTo>
                    <a:lnTo>
                      <a:pt x="451" y="268"/>
                    </a:lnTo>
                    <a:lnTo>
                      <a:pt x="452" y="265"/>
                    </a:lnTo>
                    <a:lnTo>
                      <a:pt x="452" y="264"/>
                    </a:lnTo>
                    <a:lnTo>
                      <a:pt x="452" y="262"/>
                    </a:lnTo>
                    <a:lnTo>
                      <a:pt x="512" y="220"/>
                    </a:lnTo>
                    <a:lnTo>
                      <a:pt x="476" y="120"/>
                    </a:lnTo>
                    <a:lnTo>
                      <a:pt x="401" y="128"/>
                    </a:lnTo>
                    <a:lnTo>
                      <a:pt x="400" y="127"/>
                    </a:lnTo>
                    <a:lnTo>
                      <a:pt x="399" y="125"/>
                    </a:lnTo>
                    <a:lnTo>
                      <a:pt x="398" y="124"/>
                    </a:lnTo>
                    <a:lnTo>
                      <a:pt x="397" y="122"/>
                    </a:lnTo>
                    <a:lnTo>
                      <a:pt x="411" y="50"/>
                    </a:lnTo>
                    <a:lnTo>
                      <a:pt x="314" y="5"/>
                    </a:lnTo>
                    <a:lnTo>
                      <a:pt x="268" y="62"/>
                    </a:lnTo>
                    <a:lnTo>
                      <a:pt x="266" y="62"/>
                    </a:lnTo>
                    <a:lnTo>
                      <a:pt x="264" y="62"/>
                    </a:lnTo>
                    <a:lnTo>
                      <a:pt x="262" y="62"/>
                    </a:lnTo>
                    <a:lnTo>
                      <a:pt x="260" y="62"/>
                    </a:lnTo>
                    <a:lnTo>
                      <a:pt x="218" y="0"/>
                    </a:lnTo>
                    <a:lnTo>
                      <a:pt x="118" y="37"/>
                    </a:lnTo>
                    <a:lnTo>
                      <a:pt x="126" y="110"/>
                    </a:lnTo>
                    <a:lnTo>
                      <a:pt x="124" y="111"/>
                    </a:lnTo>
                    <a:lnTo>
                      <a:pt x="123" y="112"/>
                    </a:lnTo>
                    <a:lnTo>
                      <a:pt x="120" y="114"/>
                    </a:lnTo>
                    <a:lnTo>
                      <a:pt x="118" y="115"/>
                    </a:lnTo>
                    <a:lnTo>
                      <a:pt x="49" y="103"/>
                    </a:lnTo>
                    <a:lnTo>
                      <a:pt x="4" y="198"/>
                    </a:lnTo>
                    <a:lnTo>
                      <a:pt x="59" y="243"/>
                    </a:lnTo>
                    <a:lnTo>
                      <a:pt x="58" y="247"/>
                    </a:lnTo>
                    <a:lnTo>
                      <a:pt x="58" y="249"/>
                    </a:lnTo>
                    <a:lnTo>
                      <a:pt x="58" y="253"/>
                    </a:lnTo>
                    <a:lnTo>
                      <a:pt x="58" y="256"/>
                    </a:lnTo>
                    <a:lnTo>
                      <a:pt x="0" y="295"/>
                    </a:lnTo>
                    <a:lnTo>
                      <a:pt x="36" y="395"/>
                    </a:lnTo>
                    <a:lnTo>
                      <a:pt x="105" y="387"/>
                    </a:lnTo>
                    <a:lnTo>
                      <a:pt x="108" y="390"/>
                    </a:lnTo>
                    <a:lnTo>
                      <a:pt x="110" y="392"/>
                    </a:lnTo>
                    <a:lnTo>
                      <a:pt x="111" y="395"/>
                    </a:lnTo>
                    <a:lnTo>
                      <a:pt x="113" y="398"/>
                    </a:lnTo>
                    <a:lnTo>
                      <a:pt x="102" y="466"/>
                    </a:lnTo>
                    <a:lnTo>
                      <a:pt x="198" y="511"/>
                    </a:lnTo>
                    <a:lnTo>
                      <a:pt x="241" y="457"/>
                    </a:lnTo>
                    <a:lnTo>
                      <a:pt x="244" y="457"/>
                    </a:lnTo>
                    <a:lnTo>
                      <a:pt x="247" y="457"/>
                    </a:lnTo>
                    <a:lnTo>
                      <a:pt x="251" y="457"/>
                    </a:lnTo>
                    <a:lnTo>
                      <a:pt x="254" y="457"/>
                    </a:lnTo>
                    <a:lnTo>
                      <a:pt x="293" y="514"/>
                    </a:lnTo>
                    <a:lnTo>
                      <a:pt x="393" y="477"/>
                    </a:lnTo>
                    <a:lnTo>
                      <a:pt x="385" y="407"/>
                    </a:lnTo>
                    <a:lnTo>
                      <a:pt x="388" y="405"/>
                    </a:lnTo>
                    <a:lnTo>
                      <a:pt x="390" y="404"/>
                    </a:lnTo>
                    <a:lnTo>
                      <a:pt x="391" y="401"/>
                    </a:lnTo>
                    <a:lnTo>
                      <a:pt x="393" y="399"/>
                    </a:lnTo>
                    <a:lnTo>
                      <a:pt x="464" y="413"/>
                    </a:lnTo>
                    <a:lnTo>
                      <a:pt x="509" y="316"/>
                    </a:lnTo>
                    <a:lnTo>
                      <a:pt x="451" y="2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90" name="Freeform 19">
                <a:extLst>
                  <a:ext uri="{FF2B5EF4-FFF2-40B4-BE49-F238E27FC236}">
                    <a16:creationId xmlns:a16="http://schemas.microsoft.com/office/drawing/2014/main" id="{73F0C86A-BAFF-4DF1-ADD9-066BB4825300}"/>
                  </a:ext>
                </a:extLst>
              </p:cNvPr>
              <p:cNvSpPr>
                <a:spLocks/>
              </p:cNvSpPr>
              <p:nvPr/>
            </p:nvSpPr>
            <p:spPr bwMode="auto">
              <a:xfrm>
                <a:off x="7609816" y="3379368"/>
                <a:ext cx="346094" cy="347031"/>
              </a:xfrm>
              <a:custGeom>
                <a:avLst/>
                <a:gdLst>
                  <a:gd name="T0" fmla="*/ 2147483646 w 436"/>
                  <a:gd name="T1" fmla="*/ 2147483646 h 437"/>
                  <a:gd name="T2" fmla="*/ 2147483646 w 436"/>
                  <a:gd name="T3" fmla="*/ 2147483646 h 437"/>
                  <a:gd name="T4" fmla="*/ 2147483646 w 436"/>
                  <a:gd name="T5" fmla="*/ 2147483646 h 437"/>
                  <a:gd name="T6" fmla="*/ 2147483646 w 436"/>
                  <a:gd name="T7" fmla="*/ 2147483646 h 437"/>
                  <a:gd name="T8" fmla="*/ 2147483646 w 436"/>
                  <a:gd name="T9" fmla="*/ 2147483646 h 437"/>
                  <a:gd name="T10" fmla="*/ 2147483646 w 436"/>
                  <a:gd name="T11" fmla="*/ 2147483646 h 437"/>
                  <a:gd name="T12" fmla="*/ 2147483646 w 436"/>
                  <a:gd name="T13" fmla="*/ 2147483646 h 437"/>
                  <a:gd name="T14" fmla="*/ 2147483646 w 436"/>
                  <a:gd name="T15" fmla="*/ 2147483646 h 437"/>
                  <a:gd name="T16" fmla="*/ 2147483646 w 436"/>
                  <a:gd name="T17" fmla="*/ 2147483646 h 437"/>
                  <a:gd name="T18" fmla="*/ 2147483646 w 436"/>
                  <a:gd name="T19" fmla="*/ 2147483646 h 437"/>
                  <a:gd name="T20" fmla="*/ 2147483646 w 436"/>
                  <a:gd name="T21" fmla="*/ 2147483646 h 437"/>
                  <a:gd name="T22" fmla="*/ 2147483646 w 436"/>
                  <a:gd name="T23" fmla="*/ 2147483646 h 437"/>
                  <a:gd name="T24" fmla="*/ 2147483646 w 436"/>
                  <a:gd name="T25" fmla="*/ 2147483646 h 437"/>
                  <a:gd name="T26" fmla="*/ 0 w 436"/>
                  <a:gd name="T27" fmla="*/ 2147483646 h 437"/>
                  <a:gd name="T28" fmla="*/ 2147483646 w 436"/>
                  <a:gd name="T29" fmla="*/ 2147483646 h 437"/>
                  <a:gd name="T30" fmla="*/ 2147483646 w 436"/>
                  <a:gd name="T31" fmla="*/ 2147483646 h 437"/>
                  <a:gd name="T32" fmla="*/ 2147483646 w 436"/>
                  <a:gd name="T33" fmla="*/ 2147483646 h 437"/>
                  <a:gd name="T34" fmla="*/ 2147483646 w 436"/>
                  <a:gd name="T35" fmla="*/ 2147483646 h 437"/>
                  <a:gd name="T36" fmla="*/ 2147483646 w 436"/>
                  <a:gd name="T37" fmla="*/ 2147483646 h 437"/>
                  <a:gd name="T38" fmla="*/ 2147483646 w 436"/>
                  <a:gd name="T39" fmla="*/ 2147483646 h 437"/>
                  <a:gd name="T40" fmla="*/ 2147483646 w 436"/>
                  <a:gd name="T41" fmla="*/ 2147483646 h 437"/>
                  <a:gd name="T42" fmla="*/ 2147483646 w 436"/>
                  <a:gd name="T43" fmla="*/ 2147483646 h 437"/>
                  <a:gd name="T44" fmla="*/ 2147483646 w 436"/>
                  <a:gd name="T45" fmla="*/ 0 h 437"/>
                  <a:gd name="T46" fmla="*/ 2147483646 w 436"/>
                  <a:gd name="T47" fmla="*/ 2147483646 h 437"/>
                  <a:gd name="T48" fmla="*/ 2147483646 w 436"/>
                  <a:gd name="T49" fmla="*/ 2147483646 h 437"/>
                  <a:gd name="T50" fmla="*/ 2147483646 w 436"/>
                  <a:gd name="T51" fmla="*/ 2147483646 h 437"/>
                  <a:gd name="T52" fmla="*/ 2147483646 w 436"/>
                  <a:gd name="T53" fmla="*/ 2147483646 h 437"/>
                  <a:gd name="T54" fmla="*/ 2147483646 w 436"/>
                  <a:gd name="T55" fmla="*/ 2147483646 h 437"/>
                  <a:gd name="T56" fmla="*/ 2147483646 w 436"/>
                  <a:gd name="T57" fmla="*/ 2147483646 h 437"/>
                  <a:gd name="T58" fmla="*/ 2147483646 w 436"/>
                  <a:gd name="T59" fmla="*/ 2147483646 h 437"/>
                  <a:gd name="T60" fmla="*/ 2147483646 w 436"/>
                  <a:gd name="T61" fmla="*/ 2147483646 h 437"/>
                  <a:gd name="T62" fmla="*/ 2147483646 w 436"/>
                  <a:gd name="T63" fmla="*/ 2147483646 h 437"/>
                  <a:gd name="T64" fmla="*/ 2147483646 w 436"/>
                  <a:gd name="T65" fmla="*/ 2147483646 h 437"/>
                  <a:gd name="T66" fmla="*/ 2147483646 w 436"/>
                  <a:gd name="T67" fmla="*/ 2147483646 h 437"/>
                  <a:gd name="T68" fmla="*/ 2147483646 w 436"/>
                  <a:gd name="T69" fmla="*/ 2147483646 h 437"/>
                  <a:gd name="T70" fmla="*/ 2147483646 w 436"/>
                  <a:gd name="T71" fmla="*/ 2147483646 h 437"/>
                  <a:gd name="T72" fmla="*/ 2147483646 w 436"/>
                  <a:gd name="T73" fmla="*/ 2147483646 h 437"/>
                  <a:gd name="T74" fmla="*/ 2147483646 w 436"/>
                  <a:gd name="T75" fmla="*/ 2147483646 h 4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36"/>
                  <a:gd name="T115" fmla="*/ 0 h 437"/>
                  <a:gd name="T116" fmla="*/ 436 w 436"/>
                  <a:gd name="T117" fmla="*/ 437 h 4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36" h="437">
                    <a:moveTo>
                      <a:pt x="407" y="338"/>
                    </a:moveTo>
                    <a:lnTo>
                      <a:pt x="344" y="325"/>
                    </a:lnTo>
                    <a:lnTo>
                      <a:pt x="338" y="332"/>
                    </a:lnTo>
                    <a:lnTo>
                      <a:pt x="334" y="337"/>
                    </a:lnTo>
                    <a:lnTo>
                      <a:pt x="330" y="342"/>
                    </a:lnTo>
                    <a:lnTo>
                      <a:pt x="325" y="345"/>
                    </a:lnTo>
                    <a:lnTo>
                      <a:pt x="321" y="348"/>
                    </a:lnTo>
                    <a:lnTo>
                      <a:pt x="314" y="354"/>
                    </a:lnTo>
                    <a:lnTo>
                      <a:pt x="321" y="418"/>
                    </a:lnTo>
                    <a:lnTo>
                      <a:pt x="268" y="437"/>
                    </a:lnTo>
                    <a:lnTo>
                      <a:pt x="232" y="385"/>
                    </a:lnTo>
                    <a:lnTo>
                      <a:pt x="224" y="385"/>
                    </a:lnTo>
                    <a:lnTo>
                      <a:pt x="217" y="385"/>
                    </a:lnTo>
                    <a:lnTo>
                      <a:pt x="210" y="385"/>
                    </a:lnTo>
                    <a:lnTo>
                      <a:pt x="203" y="385"/>
                    </a:lnTo>
                    <a:lnTo>
                      <a:pt x="198" y="385"/>
                    </a:lnTo>
                    <a:lnTo>
                      <a:pt x="189" y="384"/>
                    </a:lnTo>
                    <a:lnTo>
                      <a:pt x="150" y="431"/>
                    </a:lnTo>
                    <a:lnTo>
                      <a:pt x="98" y="408"/>
                    </a:lnTo>
                    <a:lnTo>
                      <a:pt x="110" y="347"/>
                    </a:lnTo>
                    <a:lnTo>
                      <a:pt x="104" y="342"/>
                    </a:lnTo>
                    <a:lnTo>
                      <a:pt x="100" y="337"/>
                    </a:lnTo>
                    <a:lnTo>
                      <a:pt x="95" y="332"/>
                    </a:lnTo>
                    <a:lnTo>
                      <a:pt x="90" y="327"/>
                    </a:lnTo>
                    <a:lnTo>
                      <a:pt x="86" y="322"/>
                    </a:lnTo>
                    <a:lnTo>
                      <a:pt x="80" y="315"/>
                    </a:lnTo>
                    <a:lnTo>
                      <a:pt x="20" y="322"/>
                    </a:lnTo>
                    <a:lnTo>
                      <a:pt x="0" y="269"/>
                    </a:lnTo>
                    <a:lnTo>
                      <a:pt x="52" y="233"/>
                    </a:lnTo>
                    <a:lnTo>
                      <a:pt x="52" y="225"/>
                    </a:lnTo>
                    <a:lnTo>
                      <a:pt x="52" y="219"/>
                    </a:lnTo>
                    <a:lnTo>
                      <a:pt x="52" y="212"/>
                    </a:lnTo>
                    <a:lnTo>
                      <a:pt x="52" y="206"/>
                    </a:lnTo>
                    <a:lnTo>
                      <a:pt x="53" y="200"/>
                    </a:lnTo>
                    <a:lnTo>
                      <a:pt x="55" y="191"/>
                    </a:lnTo>
                    <a:lnTo>
                      <a:pt x="5" y="151"/>
                    </a:lnTo>
                    <a:lnTo>
                      <a:pt x="29" y="100"/>
                    </a:lnTo>
                    <a:lnTo>
                      <a:pt x="92" y="111"/>
                    </a:lnTo>
                    <a:lnTo>
                      <a:pt x="97" y="105"/>
                    </a:lnTo>
                    <a:lnTo>
                      <a:pt x="102" y="101"/>
                    </a:lnTo>
                    <a:lnTo>
                      <a:pt x="107" y="97"/>
                    </a:lnTo>
                    <a:lnTo>
                      <a:pt x="110" y="93"/>
                    </a:lnTo>
                    <a:lnTo>
                      <a:pt x="115" y="89"/>
                    </a:lnTo>
                    <a:lnTo>
                      <a:pt x="121" y="85"/>
                    </a:lnTo>
                    <a:lnTo>
                      <a:pt x="115" y="20"/>
                    </a:lnTo>
                    <a:lnTo>
                      <a:pt x="168" y="0"/>
                    </a:lnTo>
                    <a:lnTo>
                      <a:pt x="204" y="55"/>
                    </a:lnTo>
                    <a:lnTo>
                      <a:pt x="214" y="55"/>
                    </a:lnTo>
                    <a:lnTo>
                      <a:pt x="219" y="55"/>
                    </a:lnTo>
                    <a:lnTo>
                      <a:pt x="224" y="55"/>
                    </a:lnTo>
                    <a:lnTo>
                      <a:pt x="230" y="55"/>
                    </a:lnTo>
                    <a:lnTo>
                      <a:pt x="236" y="56"/>
                    </a:lnTo>
                    <a:lnTo>
                      <a:pt x="244" y="57"/>
                    </a:lnTo>
                    <a:lnTo>
                      <a:pt x="285" y="5"/>
                    </a:lnTo>
                    <a:lnTo>
                      <a:pt x="337" y="29"/>
                    </a:lnTo>
                    <a:lnTo>
                      <a:pt x="324" y="95"/>
                    </a:lnTo>
                    <a:lnTo>
                      <a:pt x="325" y="96"/>
                    </a:lnTo>
                    <a:lnTo>
                      <a:pt x="328" y="97"/>
                    </a:lnTo>
                    <a:lnTo>
                      <a:pt x="329" y="100"/>
                    </a:lnTo>
                    <a:lnTo>
                      <a:pt x="330" y="101"/>
                    </a:lnTo>
                    <a:lnTo>
                      <a:pt x="335" y="104"/>
                    </a:lnTo>
                    <a:lnTo>
                      <a:pt x="338" y="108"/>
                    </a:lnTo>
                    <a:lnTo>
                      <a:pt x="342" y="112"/>
                    </a:lnTo>
                    <a:lnTo>
                      <a:pt x="345" y="116"/>
                    </a:lnTo>
                    <a:lnTo>
                      <a:pt x="351" y="123"/>
                    </a:lnTo>
                    <a:lnTo>
                      <a:pt x="417" y="116"/>
                    </a:lnTo>
                    <a:lnTo>
                      <a:pt x="436" y="169"/>
                    </a:lnTo>
                    <a:lnTo>
                      <a:pt x="382" y="206"/>
                    </a:lnTo>
                    <a:lnTo>
                      <a:pt x="382" y="215"/>
                    </a:lnTo>
                    <a:lnTo>
                      <a:pt x="382" y="221"/>
                    </a:lnTo>
                    <a:lnTo>
                      <a:pt x="382" y="225"/>
                    </a:lnTo>
                    <a:lnTo>
                      <a:pt x="382" y="231"/>
                    </a:lnTo>
                    <a:lnTo>
                      <a:pt x="381" y="237"/>
                    </a:lnTo>
                    <a:lnTo>
                      <a:pt x="381" y="245"/>
                    </a:lnTo>
                    <a:lnTo>
                      <a:pt x="431" y="286"/>
                    </a:lnTo>
                    <a:lnTo>
                      <a:pt x="407" y="338"/>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78" name="Freeform 20">
                <a:extLst>
                  <a:ext uri="{FF2B5EF4-FFF2-40B4-BE49-F238E27FC236}">
                    <a16:creationId xmlns:a16="http://schemas.microsoft.com/office/drawing/2014/main" id="{16A689D4-95E4-4CB6-99DF-033CCD6EFF03}"/>
                  </a:ext>
                </a:extLst>
              </p:cNvPr>
              <p:cNvSpPr>
                <a:spLocks/>
              </p:cNvSpPr>
              <p:nvPr/>
            </p:nvSpPr>
            <p:spPr bwMode="auto">
              <a:xfrm>
                <a:off x="7382831" y="3791460"/>
                <a:ext cx="213499" cy="214483"/>
              </a:xfrm>
              <a:custGeom>
                <a:avLst/>
                <a:gdLst>
                  <a:gd name="T0" fmla="*/ 114233915 w 268"/>
                  <a:gd name="T1" fmla="*/ 166529243 h 268"/>
                  <a:gd name="T2" fmla="*/ 121849774 w 268"/>
                  <a:gd name="T3" fmla="*/ 163326404 h 268"/>
                  <a:gd name="T4" fmla="*/ 129464838 w 268"/>
                  <a:gd name="T5" fmla="*/ 158843069 h 268"/>
                  <a:gd name="T6" fmla="*/ 135811653 w 268"/>
                  <a:gd name="T7" fmla="*/ 154359734 h 268"/>
                  <a:gd name="T8" fmla="*/ 142792592 w 268"/>
                  <a:gd name="T9" fmla="*/ 149235351 h 268"/>
                  <a:gd name="T10" fmla="*/ 148503691 w 268"/>
                  <a:gd name="T11" fmla="*/ 143470720 h 268"/>
                  <a:gd name="T12" fmla="*/ 153580665 w 268"/>
                  <a:gd name="T13" fmla="*/ 137065841 h 268"/>
                  <a:gd name="T14" fmla="*/ 158658436 w 268"/>
                  <a:gd name="T15" fmla="*/ 129380467 h 268"/>
                  <a:gd name="T16" fmla="*/ 162465569 w 268"/>
                  <a:gd name="T17" fmla="*/ 122334541 h 268"/>
                  <a:gd name="T18" fmla="*/ 168177464 w 268"/>
                  <a:gd name="T19" fmla="*/ 105681696 h 268"/>
                  <a:gd name="T20" fmla="*/ 170081429 w 268"/>
                  <a:gd name="T21" fmla="*/ 89669100 h 268"/>
                  <a:gd name="T22" fmla="*/ 168812385 w 268"/>
                  <a:gd name="T23" fmla="*/ 72376008 h 268"/>
                  <a:gd name="T24" fmla="*/ 165004455 w 268"/>
                  <a:gd name="T25" fmla="*/ 56363411 h 268"/>
                  <a:gd name="T26" fmla="*/ 161831445 w 268"/>
                  <a:gd name="T27" fmla="*/ 48678037 h 268"/>
                  <a:gd name="T28" fmla="*/ 158023515 w 268"/>
                  <a:gd name="T29" fmla="*/ 41632111 h 268"/>
                  <a:gd name="T30" fmla="*/ 152946541 w 268"/>
                  <a:gd name="T31" fmla="*/ 35227232 h 268"/>
                  <a:gd name="T32" fmla="*/ 147869567 w 268"/>
                  <a:gd name="T33" fmla="*/ 28182106 h 268"/>
                  <a:gd name="T34" fmla="*/ 141522751 w 268"/>
                  <a:gd name="T35" fmla="*/ 22417475 h 268"/>
                  <a:gd name="T36" fmla="*/ 135176733 w 268"/>
                  <a:gd name="T37" fmla="*/ 17293092 h 268"/>
                  <a:gd name="T38" fmla="*/ 128195793 w 268"/>
                  <a:gd name="T39" fmla="*/ 12169509 h 268"/>
                  <a:gd name="T40" fmla="*/ 120579933 w 268"/>
                  <a:gd name="T41" fmla="*/ 8326422 h 268"/>
                  <a:gd name="T42" fmla="*/ 112329950 w 268"/>
                  <a:gd name="T43" fmla="*/ 5764631 h 268"/>
                  <a:gd name="T44" fmla="*/ 104714090 w 268"/>
                  <a:gd name="T45" fmla="*/ 2561791 h 268"/>
                  <a:gd name="T46" fmla="*/ 96464106 w 268"/>
                  <a:gd name="T47" fmla="*/ 1281296 h 268"/>
                  <a:gd name="T48" fmla="*/ 88214122 w 268"/>
                  <a:gd name="T49" fmla="*/ 0 h 268"/>
                  <a:gd name="T50" fmla="*/ 80598262 w 268"/>
                  <a:gd name="T51" fmla="*/ 1281296 h 268"/>
                  <a:gd name="T52" fmla="*/ 71713358 w 268"/>
                  <a:gd name="T53" fmla="*/ 1921544 h 268"/>
                  <a:gd name="T54" fmla="*/ 63463374 w 268"/>
                  <a:gd name="T55" fmla="*/ 3202839 h 268"/>
                  <a:gd name="T56" fmla="*/ 55213391 w 268"/>
                  <a:gd name="T57" fmla="*/ 6404879 h 268"/>
                  <a:gd name="T58" fmla="*/ 47597531 w 268"/>
                  <a:gd name="T59" fmla="*/ 8966670 h 268"/>
                  <a:gd name="T60" fmla="*/ 39981671 w 268"/>
                  <a:gd name="T61" fmla="*/ 13450805 h 268"/>
                  <a:gd name="T62" fmla="*/ 33635652 w 268"/>
                  <a:gd name="T63" fmla="*/ 17934140 h 268"/>
                  <a:gd name="T64" fmla="*/ 26654713 w 268"/>
                  <a:gd name="T65" fmla="*/ 23057723 h 268"/>
                  <a:gd name="T66" fmla="*/ 20942818 w 268"/>
                  <a:gd name="T67" fmla="*/ 28822354 h 268"/>
                  <a:gd name="T68" fmla="*/ 15865844 w 268"/>
                  <a:gd name="T69" fmla="*/ 35867480 h 268"/>
                  <a:gd name="T70" fmla="*/ 10788869 w 268"/>
                  <a:gd name="T71" fmla="*/ 42272358 h 268"/>
                  <a:gd name="T72" fmla="*/ 6980939 w 268"/>
                  <a:gd name="T73" fmla="*/ 49958533 h 268"/>
                  <a:gd name="T74" fmla="*/ 1903965 w 268"/>
                  <a:gd name="T75" fmla="*/ 65971129 h 268"/>
                  <a:gd name="T76" fmla="*/ 0 w 268"/>
                  <a:gd name="T77" fmla="*/ 81983726 h 268"/>
                  <a:gd name="T78" fmla="*/ 634921 w 268"/>
                  <a:gd name="T79" fmla="*/ 99276818 h 268"/>
                  <a:gd name="T80" fmla="*/ 5076974 w 268"/>
                  <a:gd name="T81" fmla="*/ 115289414 h 268"/>
                  <a:gd name="T82" fmla="*/ 12057914 w 268"/>
                  <a:gd name="T83" fmla="*/ 130660963 h 268"/>
                  <a:gd name="T84" fmla="*/ 22846783 w 268"/>
                  <a:gd name="T85" fmla="*/ 144111768 h 268"/>
                  <a:gd name="T86" fmla="*/ 34904697 w 268"/>
                  <a:gd name="T87" fmla="*/ 154999981 h 268"/>
                  <a:gd name="T88" fmla="*/ 48866575 w 268"/>
                  <a:gd name="T89" fmla="*/ 163966651 h 268"/>
                  <a:gd name="T90" fmla="*/ 64097498 w 268"/>
                  <a:gd name="T91" fmla="*/ 169091034 h 268"/>
                  <a:gd name="T92" fmla="*/ 81233183 w 268"/>
                  <a:gd name="T93" fmla="*/ 171652826 h 268"/>
                  <a:gd name="T94" fmla="*/ 97099027 w 268"/>
                  <a:gd name="T95" fmla="*/ 171012578 h 268"/>
                  <a:gd name="T96" fmla="*/ 114233915 w 268"/>
                  <a:gd name="T97" fmla="*/ 166529243 h 26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68"/>
                  <a:gd name="T148" fmla="*/ 0 h 268"/>
                  <a:gd name="T149" fmla="*/ 268 w 268"/>
                  <a:gd name="T150" fmla="*/ 268 h 26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68" h="268">
                    <a:moveTo>
                      <a:pt x="180" y="260"/>
                    </a:moveTo>
                    <a:lnTo>
                      <a:pt x="192" y="255"/>
                    </a:lnTo>
                    <a:lnTo>
                      <a:pt x="204" y="248"/>
                    </a:lnTo>
                    <a:lnTo>
                      <a:pt x="214" y="241"/>
                    </a:lnTo>
                    <a:lnTo>
                      <a:pt x="225" y="233"/>
                    </a:lnTo>
                    <a:lnTo>
                      <a:pt x="234" y="224"/>
                    </a:lnTo>
                    <a:lnTo>
                      <a:pt x="242" y="214"/>
                    </a:lnTo>
                    <a:lnTo>
                      <a:pt x="250" y="202"/>
                    </a:lnTo>
                    <a:lnTo>
                      <a:pt x="256" y="191"/>
                    </a:lnTo>
                    <a:lnTo>
                      <a:pt x="265" y="165"/>
                    </a:lnTo>
                    <a:lnTo>
                      <a:pt x="268" y="140"/>
                    </a:lnTo>
                    <a:lnTo>
                      <a:pt x="266" y="113"/>
                    </a:lnTo>
                    <a:lnTo>
                      <a:pt x="260" y="88"/>
                    </a:lnTo>
                    <a:lnTo>
                      <a:pt x="255" y="76"/>
                    </a:lnTo>
                    <a:lnTo>
                      <a:pt x="249" y="65"/>
                    </a:lnTo>
                    <a:lnTo>
                      <a:pt x="241" y="55"/>
                    </a:lnTo>
                    <a:lnTo>
                      <a:pt x="233" y="44"/>
                    </a:lnTo>
                    <a:lnTo>
                      <a:pt x="223" y="35"/>
                    </a:lnTo>
                    <a:lnTo>
                      <a:pt x="213" y="27"/>
                    </a:lnTo>
                    <a:lnTo>
                      <a:pt x="202" y="19"/>
                    </a:lnTo>
                    <a:lnTo>
                      <a:pt x="190" y="13"/>
                    </a:lnTo>
                    <a:lnTo>
                      <a:pt x="177" y="9"/>
                    </a:lnTo>
                    <a:lnTo>
                      <a:pt x="165" y="4"/>
                    </a:lnTo>
                    <a:lnTo>
                      <a:pt x="152" y="2"/>
                    </a:lnTo>
                    <a:lnTo>
                      <a:pt x="139" y="0"/>
                    </a:lnTo>
                    <a:lnTo>
                      <a:pt x="127" y="2"/>
                    </a:lnTo>
                    <a:lnTo>
                      <a:pt x="113" y="3"/>
                    </a:lnTo>
                    <a:lnTo>
                      <a:pt x="100" y="5"/>
                    </a:lnTo>
                    <a:lnTo>
                      <a:pt x="87" y="10"/>
                    </a:lnTo>
                    <a:lnTo>
                      <a:pt x="75" y="14"/>
                    </a:lnTo>
                    <a:lnTo>
                      <a:pt x="63" y="21"/>
                    </a:lnTo>
                    <a:lnTo>
                      <a:pt x="53" y="28"/>
                    </a:lnTo>
                    <a:lnTo>
                      <a:pt x="42" y="36"/>
                    </a:lnTo>
                    <a:lnTo>
                      <a:pt x="33" y="45"/>
                    </a:lnTo>
                    <a:lnTo>
                      <a:pt x="25" y="56"/>
                    </a:lnTo>
                    <a:lnTo>
                      <a:pt x="17" y="66"/>
                    </a:lnTo>
                    <a:lnTo>
                      <a:pt x="11" y="78"/>
                    </a:lnTo>
                    <a:lnTo>
                      <a:pt x="3" y="103"/>
                    </a:lnTo>
                    <a:lnTo>
                      <a:pt x="0" y="128"/>
                    </a:lnTo>
                    <a:lnTo>
                      <a:pt x="1" y="155"/>
                    </a:lnTo>
                    <a:lnTo>
                      <a:pt x="8" y="180"/>
                    </a:lnTo>
                    <a:lnTo>
                      <a:pt x="19" y="204"/>
                    </a:lnTo>
                    <a:lnTo>
                      <a:pt x="36" y="225"/>
                    </a:lnTo>
                    <a:lnTo>
                      <a:pt x="55" y="242"/>
                    </a:lnTo>
                    <a:lnTo>
                      <a:pt x="77" y="256"/>
                    </a:lnTo>
                    <a:lnTo>
                      <a:pt x="101" y="264"/>
                    </a:lnTo>
                    <a:lnTo>
                      <a:pt x="128" y="268"/>
                    </a:lnTo>
                    <a:lnTo>
                      <a:pt x="153" y="267"/>
                    </a:lnTo>
                    <a:lnTo>
                      <a:pt x="180" y="260"/>
                    </a:lnTo>
                    <a:close/>
                  </a:path>
                </a:pathLst>
              </a:custGeom>
              <a:solidFill>
                <a:srgbClr val="00FFFF"/>
              </a:solidFill>
              <a:ln w="19050">
                <a:solidFill>
                  <a:srgbClr val="000000"/>
                </a:solidFill>
                <a:round/>
                <a:headEnd/>
                <a:tailEnd/>
              </a:ln>
              <a:effectLst>
                <a:outerShdw blurRad="63500" dist="38100" dir="2700000" algn="tl" rotWithShape="0">
                  <a:srgbClr val="000000">
                    <a:alpha val="39998"/>
                  </a:srgbClr>
                </a:outerShdw>
              </a:effectLst>
            </p:spPr>
            <p:txBody>
              <a:bodyPr lIns="18000" tIns="0" rIns="18000" bIns="0"/>
              <a:lstStyle/>
              <a:p>
                <a:pPr>
                  <a:defRPr/>
                </a:pPr>
                <a:endParaRPr lang="en-GB"/>
              </a:p>
            </p:txBody>
          </p:sp>
          <p:sp>
            <p:nvSpPr>
              <p:cNvPr id="87592" name="Freeform 22">
                <a:extLst>
                  <a:ext uri="{FF2B5EF4-FFF2-40B4-BE49-F238E27FC236}">
                    <a16:creationId xmlns:a16="http://schemas.microsoft.com/office/drawing/2014/main" id="{9548C638-A0EF-463D-BF25-8513EE874EBA}"/>
                  </a:ext>
                </a:extLst>
              </p:cNvPr>
              <p:cNvSpPr>
                <a:spLocks/>
              </p:cNvSpPr>
              <p:nvPr/>
            </p:nvSpPr>
            <p:spPr bwMode="auto">
              <a:xfrm>
                <a:off x="7704138" y="3478213"/>
                <a:ext cx="150812" cy="150813"/>
              </a:xfrm>
              <a:custGeom>
                <a:avLst/>
                <a:gdLst>
                  <a:gd name="T0" fmla="*/ 2147483646 w 191"/>
                  <a:gd name="T1" fmla="*/ 2147483646 h 189"/>
                  <a:gd name="T2" fmla="*/ 2147483646 w 191"/>
                  <a:gd name="T3" fmla="*/ 2147483646 h 189"/>
                  <a:gd name="T4" fmla="*/ 2147483646 w 191"/>
                  <a:gd name="T5" fmla="*/ 2147483646 h 189"/>
                  <a:gd name="T6" fmla="*/ 2147483646 w 191"/>
                  <a:gd name="T7" fmla="*/ 2147483646 h 189"/>
                  <a:gd name="T8" fmla="*/ 2147483646 w 191"/>
                  <a:gd name="T9" fmla="*/ 2147483646 h 189"/>
                  <a:gd name="T10" fmla="*/ 2147483646 w 191"/>
                  <a:gd name="T11" fmla="*/ 2147483646 h 189"/>
                  <a:gd name="T12" fmla="*/ 2147483646 w 191"/>
                  <a:gd name="T13" fmla="*/ 2147483646 h 189"/>
                  <a:gd name="T14" fmla="*/ 2147483646 w 191"/>
                  <a:gd name="T15" fmla="*/ 2147483646 h 189"/>
                  <a:gd name="T16" fmla="*/ 2147483646 w 191"/>
                  <a:gd name="T17" fmla="*/ 2147483646 h 189"/>
                  <a:gd name="T18" fmla="*/ 2147483646 w 191"/>
                  <a:gd name="T19" fmla="*/ 2147483646 h 189"/>
                  <a:gd name="T20" fmla="*/ 2147483646 w 191"/>
                  <a:gd name="T21" fmla="*/ 2147483646 h 189"/>
                  <a:gd name="T22" fmla="*/ 2147483646 w 191"/>
                  <a:gd name="T23" fmla="*/ 2147483646 h 189"/>
                  <a:gd name="T24" fmla="*/ 2147483646 w 191"/>
                  <a:gd name="T25" fmla="*/ 2147483646 h 189"/>
                  <a:gd name="T26" fmla="*/ 2147483646 w 191"/>
                  <a:gd name="T27" fmla="*/ 2147483646 h 189"/>
                  <a:gd name="T28" fmla="*/ 2147483646 w 191"/>
                  <a:gd name="T29" fmla="*/ 0 h 189"/>
                  <a:gd name="T30" fmla="*/ 2147483646 w 191"/>
                  <a:gd name="T31" fmla="*/ 2147483646 h 189"/>
                  <a:gd name="T32" fmla="*/ 2147483646 w 191"/>
                  <a:gd name="T33" fmla="*/ 2147483646 h 189"/>
                  <a:gd name="T34" fmla="*/ 2147483646 w 191"/>
                  <a:gd name="T35" fmla="*/ 2147483646 h 189"/>
                  <a:gd name="T36" fmla="*/ 2147483646 w 191"/>
                  <a:gd name="T37" fmla="*/ 2147483646 h 189"/>
                  <a:gd name="T38" fmla="*/ 2147483646 w 191"/>
                  <a:gd name="T39" fmla="*/ 2147483646 h 189"/>
                  <a:gd name="T40" fmla="*/ 2147483646 w 191"/>
                  <a:gd name="T41" fmla="*/ 2147483646 h 189"/>
                  <a:gd name="T42" fmla="*/ 2147483646 w 191"/>
                  <a:gd name="T43" fmla="*/ 2147483646 h 189"/>
                  <a:gd name="T44" fmla="*/ 0 w 191"/>
                  <a:gd name="T45" fmla="*/ 2147483646 h 189"/>
                  <a:gd name="T46" fmla="*/ 2147483646 w 191"/>
                  <a:gd name="T47" fmla="*/ 2147483646 h 189"/>
                  <a:gd name="T48" fmla="*/ 2147483646 w 191"/>
                  <a:gd name="T49" fmla="*/ 2147483646 h 189"/>
                  <a:gd name="T50" fmla="*/ 2147483646 w 191"/>
                  <a:gd name="T51" fmla="*/ 2147483646 h 189"/>
                  <a:gd name="T52" fmla="*/ 2147483646 w 191"/>
                  <a:gd name="T53" fmla="*/ 2147483646 h 189"/>
                  <a:gd name="T54" fmla="*/ 2147483646 w 191"/>
                  <a:gd name="T55" fmla="*/ 2147483646 h 189"/>
                  <a:gd name="T56" fmla="*/ 2147483646 w 191"/>
                  <a:gd name="T57" fmla="*/ 2147483646 h 189"/>
                  <a:gd name="T58" fmla="*/ 2147483646 w 191"/>
                  <a:gd name="T59" fmla="*/ 2147483646 h 189"/>
                  <a:gd name="T60" fmla="*/ 2147483646 w 191"/>
                  <a:gd name="T61" fmla="*/ 2147483646 h 189"/>
                  <a:gd name="T62" fmla="*/ 2147483646 w 191"/>
                  <a:gd name="T63" fmla="*/ 2147483646 h 189"/>
                  <a:gd name="T64" fmla="*/ 2147483646 w 191"/>
                  <a:gd name="T65" fmla="*/ 2147483646 h 18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1"/>
                  <a:gd name="T100" fmla="*/ 0 h 189"/>
                  <a:gd name="T101" fmla="*/ 191 w 191"/>
                  <a:gd name="T102" fmla="*/ 189 h 18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1" h="189">
                    <a:moveTo>
                      <a:pt x="128" y="183"/>
                    </a:moveTo>
                    <a:lnTo>
                      <a:pt x="146" y="175"/>
                    </a:lnTo>
                    <a:lnTo>
                      <a:pt x="160" y="164"/>
                    </a:lnTo>
                    <a:lnTo>
                      <a:pt x="172" y="150"/>
                    </a:lnTo>
                    <a:lnTo>
                      <a:pt x="181" y="134"/>
                    </a:lnTo>
                    <a:lnTo>
                      <a:pt x="187" y="116"/>
                    </a:lnTo>
                    <a:lnTo>
                      <a:pt x="191" y="98"/>
                    </a:lnTo>
                    <a:lnTo>
                      <a:pt x="189" y="80"/>
                    </a:lnTo>
                    <a:lnTo>
                      <a:pt x="185" y="61"/>
                    </a:lnTo>
                    <a:lnTo>
                      <a:pt x="177" y="44"/>
                    </a:lnTo>
                    <a:lnTo>
                      <a:pt x="165" y="30"/>
                    </a:lnTo>
                    <a:lnTo>
                      <a:pt x="151" y="17"/>
                    </a:lnTo>
                    <a:lnTo>
                      <a:pt x="135" y="8"/>
                    </a:lnTo>
                    <a:lnTo>
                      <a:pt x="118" y="2"/>
                    </a:lnTo>
                    <a:lnTo>
                      <a:pt x="100" y="0"/>
                    </a:lnTo>
                    <a:lnTo>
                      <a:pt x="81" y="1"/>
                    </a:lnTo>
                    <a:lnTo>
                      <a:pt x="63" y="6"/>
                    </a:lnTo>
                    <a:lnTo>
                      <a:pt x="45" y="14"/>
                    </a:lnTo>
                    <a:lnTo>
                      <a:pt x="32" y="25"/>
                    </a:lnTo>
                    <a:lnTo>
                      <a:pt x="19" y="38"/>
                    </a:lnTo>
                    <a:lnTo>
                      <a:pt x="10" y="54"/>
                    </a:lnTo>
                    <a:lnTo>
                      <a:pt x="4" y="71"/>
                    </a:lnTo>
                    <a:lnTo>
                      <a:pt x="0" y="90"/>
                    </a:lnTo>
                    <a:lnTo>
                      <a:pt x="2" y="108"/>
                    </a:lnTo>
                    <a:lnTo>
                      <a:pt x="6" y="127"/>
                    </a:lnTo>
                    <a:lnTo>
                      <a:pt x="14" y="144"/>
                    </a:lnTo>
                    <a:lnTo>
                      <a:pt x="26" y="159"/>
                    </a:lnTo>
                    <a:lnTo>
                      <a:pt x="40" y="171"/>
                    </a:lnTo>
                    <a:lnTo>
                      <a:pt x="56" y="180"/>
                    </a:lnTo>
                    <a:lnTo>
                      <a:pt x="73" y="186"/>
                    </a:lnTo>
                    <a:lnTo>
                      <a:pt x="92" y="189"/>
                    </a:lnTo>
                    <a:lnTo>
                      <a:pt x="110" y="188"/>
                    </a:lnTo>
                    <a:lnTo>
                      <a:pt x="128" y="18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80" name="Freeform 23">
                <a:extLst>
                  <a:ext uri="{FF2B5EF4-FFF2-40B4-BE49-F238E27FC236}">
                    <a16:creationId xmlns:a16="http://schemas.microsoft.com/office/drawing/2014/main" id="{967B847F-C1A9-4FA3-894D-0022F2CB667F}"/>
                  </a:ext>
                </a:extLst>
              </p:cNvPr>
              <p:cNvSpPr>
                <a:spLocks/>
              </p:cNvSpPr>
              <p:nvPr/>
            </p:nvSpPr>
            <p:spPr bwMode="auto">
              <a:xfrm>
                <a:off x="7704204" y="3478168"/>
                <a:ext cx="150574" cy="149416"/>
              </a:xfrm>
              <a:custGeom>
                <a:avLst/>
                <a:gdLst>
                  <a:gd name="T0" fmla="*/ 79550373 w 191"/>
                  <a:gd name="T1" fmla="*/ 114372809 h 189"/>
                  <a:gd name="T2" fmla="*/ 90736996 w 191"/>
                  <a:gd name="T3" fmla="*/ 109372512 h 189"/>
                  <a:gd name="T4" fmla="*/ 99437966 w 191"/>
                  <a:gd name="T5" fmla="*/ 102497795 h 189"/>
                  <a:gd name="T6" fmla="*/ 106895715 w 191"/>
                  <a:gd name="T7" fmla="*/ 93747867 h 189"/>
                  <a:gd name="T8" fmla="*/ 112489815 w 191"/>
                  <a:gd name="T9" fmla="*/ 83748063 h 189"/>
                  <a:gd name="T10" fmla="*/ 116218689 w 191"/>
                  <a:gd name="T11" fmla="*/ 72498382 h 189"/>
                  <a:gd name="T12" fmla="*/ 118704343 w 191"/>
                  <a:gd name="T13" fmla="*/ 61248702 h 189"/>
                  <a:gd name="T14" fmla="*/ 117461122 w 191"/>
                  <a:gd name="T15" fmla="*/ 49999021 h 189"/>
                  <a:gd name="T16" fmla="*/ 114975468 w 191"/>
                  <a:gd name="T17" fmla="*/ 38124006 h 189"/>
                  <a:gd name="T18" fmla="*/ 110003373 w 191"/>
                  <a:gd name="T19" fmla="*/ 27499659 h 189"/>
                  <a:gd name="T20" fmla="*/ 102545624 w 191"/>
                  <a:gd name="T21" fmla="*/ 18749732 h 189"/>
                  <a:gd name="T22" fmla="*/ 93844654 w 191"/>
                  <a:gd name="T23" fmla="*/ 10625138 h 189"/>
                  <a:gd name="T24" fmla="*/ 83901252 w 191"/>
                  <a:gd name="T25" fmla="*/ 4999507 h 189"/>
                  <a:gd name="T26" fmla="*/ 73335845 w 191"/>
                  <a:gd name="T27" fmla="*/ 1249877 h 189"/>
                  <a:gd name="T28" fmla="*/ 62149221 w 191"/>
                  <a:gd name="T29" fmla="*/ 0 h 189"/>
                  <a:gd name="T30" fmla="*/ 50340593 w 191"/>
                  <a:gd name="T31" fmla="*/ 625334 h 189"/>
                  <a:gd name="T32" fmla="*/ 39153970 w 191"/>
                  <a:gd name="T33" fmla="*/ 3749630 h 189"/>
                  <a:gd name="T34" fmla="*/ 27967347 w 191"/>
                  <a:gd name="T35" fmla="*/ 8749927 h 189"/>
                  <a:gd name="T36" fmla="*/ 19887593 w 191"/>
                  <a:gd name="T37" fmla="*/ 15624645 h 189"/>
                  <a:gd name="T38" fmla="*/ 11808628 w 191"/>
                  <a:gd name="T39" fmla="*/ 23749238 h 189"/>
                  <a:gd name="T40" fmla="*/ 6214528 w 191"/>
                  <a:gd name="T41" fmla="*/ 33749043 h 189"/>
                  <a:gd name="T42" fmla="*/ 2485654 w 191"/>
                  <a:gd name="T43" fmla="*/ 44374180 h 189"/>
                  <a:gd name="T44" fmla="*/ 0 w 191"/>
                  <a:gd name="T45" fmla="*/ 56248404 h 189"/>
                  <a:gd name="T46" fmla="*/ 1243221 w 191"/>
                  <a:gd name="T47" fmla="*/ 67498876 h 189"/>
                  <a:gd name="T48" fmla="*/ 3728874 w 191"/>
                  <a:gd name="T49" fmla="*/ 79373100 h 189"/>
                  <a:gd name="T50" fmla="*/ 8700970 w 191"/>
                  <a:gd name="T51" fmla="*/ 89998237 h 189"/>
                  <a:gd name="T52" fmla="*/ 16158719 w 191"/>
                  <a:gd name="T53" fmla="*/ 99372708 h 189"/>
                  <a:gd name="T54" fmla="*/ 24859689 w 191"/>
                  <a:gd name="T55" fmla="*/ 106872759 h 189"/>
                  <a:gd name="T56" fmla="*/ 34803091 w 191"/>
                  <a:gd name="T57" fmla="*/ 112497599 h 189"/>
                  <a:gd name="T58" fmla="*/ 45368498 w 191"/>
                  <a:gd name="T59" fmla="*/ 116247229 h 189"/>
                  <a:gd name="T60" fmla="*/ 57177126 w 191"/>
                  <a:gd name="T61" fmla="*/ 118122439 h 189"/>
                  <a:gd name="T62" fmla="*/ 68363749 w 191"/>
                  <a:gd name="T63" fmla="*/ 117497106 h 189"/>
                  <a:gd name="T64" fmla="*/ 79550373 w 191"/>
                  <a:gd name="T65" fmla="*/ 114372809 h 18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1"/>
                  <a:gd name="T100" fmla="*/ 0 h 189"/>
                  <a:gd name="T101" fmla="*/ 191 w 191"/>
                  <a:gd name="T102" fmla="*/ 189 h 18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1" h="189">
                    <a:moveTo>
                      <a:pt x="128" y="183"/>
                    </a:moveTo>
                    <a:lnTo>
                      <a:pt x="146" y="175"/>
                    </a:lnTo>
                    <a:lnTo>
                      <a:pt x="160" y="164"/>
                    </a:lnTo>
                    <a:lnTo>
                      <a:pt x="172" y="150"/>
                    </a:lnTo>
                    <a:lnTo>
                      <a:pt x="181" y="134"/>
                    </a:lnTo>
                    <a:lnTo>
                      <a:pt x="187" y="116"/>
                    </a:lnTo>
                    <a:lnTo>
                      <a:pt x="191" y="98"/>
                    </a:lnTo>
                    <a:lnTo>
                      <a:pt x="189" y="80"/>
                    </a:lnTo>
                    <a:lnTo>
                      <a:pt x="185" y="61"/>
                    </a:lnTo>
                    <a:lnTo>
                      <a:pt x="177" y="44"/>
                    </a:lnTo>
                    <a:lnTo>
                      <a:pt x="165" y="30"/>
                    </a:lnTo>
                    <a:lnTo>
                      <a:pt x="151" y="17"/>
                    </a:lnTo>
                    <a:lnTo>
                      <a:pt x="135" y="8"/>
                    </a:lnTo>
                    <a:lnTo>
                      <a:pt x="118" y="2"/>
                    </a:lnTo>
                    <a:lnTo>
                      <a:pt x="100" y="0"/>
                    </a:lnTo>
                    <a:lnTo>
                      <a:pt x="81" y="1"/>
                    </a:lnTo>
                    <a:lnTo>
                      <a:pt x="63" y="6"/>
                    </a:lnTo>
                    <a:lnTo>
                      <a:pt x="45" y="14"/>
                    </a:lnTo>
                    <a:lnTo>
                      <a:pt x="32" y="25"/>
                    </a:lnTo>
                    <a:lnTo>
                      <a:pt x="19" y="38"/>
                    </a:lnTo>
                    <a:lnTo>
                      <a:pt x="10" y="54"/>
                    </a:lnTo>
                    <a:lnTo>
                      <a:pt x="4" y="71"/>
                    </a:lnTo>
                    <a:lnTo>
                      <a:pt x="0" y="90"/>
                    </a:lnTo>
                    <a:lnTo>
                      <a:pt x="2" y="108"/>
                    </a:lnTo>
                    <a:lnTo>
                      <a:pt x="6" y="127"/>
                    </a:lnTo>
                    <a:lnTo>
                      <a:pt x="14" y="144"/>
                    </a:lnTo>
                    <a:lnTo>
                      <a:pt x="26" y="159"/>
                    </a:lnTo>
                    <a:lnTo>
                      <a:pt x="40" y="171"/>
                    </a:lnTo>
                    <a:lnTo>
                      <a:pt x="56" y="180"/>
                    </a:lnTo>
                    <a:lnTo>
                      <a:pt x="73" y="186"/>
                    </a:lnTo>
                    <a:lnTo>
                      <a:pt x="92" y="189"/>
                    </a:lnTo>
                    <a:lnTo>
                      <a:pt x="110" y="188"/>
                    </a:lnTo>
                    <a:lnTo>
                      <a:pt x="128" y="183"/>
                    </a:lnTo>
                    <a:close/>
                  </a:path>
                </a:pathLst>
              </a:custGeom>
              <a:solidFill>
                <a:srgbClr val="FFFFFF"/>
              </a:solidFill>
              <a:ln w="19050">
                <a:solidFill>
                  <a:srgbClr val="000000"/>
                </a:solidFill>
                <a:round/>
                <a:headEnd/>
                <a:tailEnd/>
              </a:ln>
              <a:effectLst>
                <a:outerShdw blurRad="63500" dist="38100" dir="2700000" algn="tl" rotWithShape="0">
                  <a:srgbClr val="000000">
                    <a:alpha val="39998"/>
                  </a:srgbClr>
                </a:outerShdw>
              </a:effectLst>
            </p:spPr>
            <p:txBody>
              <a:bodyPr lIns="18000" tIns="0" rIns="18000" bIns="0"/>
              <a:lstStyle/>
              <a:p>
                <a:pPr>
                  <a:defRPr/>
                </a:pPr>
                <a:endParaRPr lang="en-GB"/>
              </a:p>
            </p:txBody>
          </p:sp>
        </p:grpSp>
        <p:sp>
          <p:nvSpPr>
            <p:cNvPr id="655" name="Freeform 451">
              <a:extLst>
                <a:ext uri="{FF2B5EF4-FFF2-40B4-BE49-F238E27FC236}">
                  <a16:creationId xmlns:a16="http://schemas.microsoft.com/office/drawing/2014/main" id="{2CB0F629-6BBB-4EC7-B7B2-EEC8AB1EB1CB}"/>
                </a:ext>
              </a:extLst>
            </p:cNvPr>
            <p:cNvSpPr>
              <a:spLocks/>
            </p:cNvSpPr>
            <p:nvPr/>
          </p:nvSpPr>
          <p:spPr bwMode="auto">
            <a:xfrm flipH="1">
              <a:off x="2636838" y="2932099"/>
              <a:ext cx="3797300" cy="2370137"/>
            </a:xfrm>
            <a:custGeom>
              <a:avLst/>
              <a:gdLst>
                <a:gd name="T0" fmla="*/ 2147483647 w 10005"/>
                <a:gd name="T1" fmla="*/ 2147483647 h 10069"/>
                <a:gd name="T2" fmla="*/ 2147483647 w 10005"/>
                <a:gd name="T3" fmla="*/ 2147483647 h 10069"/>
                <a:gd name="T4" fmla="*/ 2147483647 w 10005"/>
                <a:gd name="T5" fmla="*/ 2147483647 h 10069"/>
                <a:gd name="T6" fmla="*/ 2147483647 w 10005"/>
                <a:gd name="T7" fmla="*/ 2147483647 h 10069"/>
                <a:gd name="T8" fmla="*/ 2147483647 w 10005"/>
                <a:gd name="T9" fmla="*/ 2147483647 h 10069"/>
                <a:gd name="T10" fmla="*/ 2147483647 w 10005"/>
                <a:gd name="T11" fmla="*/ 2147483647 h 10069"/>
                <a:gd name="T12" fmla="*/ 2147483647 w 10005"/>
                <a:gd name="T13" fmla="*/ 2147483647 h 10069"/>
                <a:gd name="T14" fmla="*/ 0 w 10005"/>
                <a:gd name="T15" fmla="*/ 2147483647 h 10069"/>
                <a:gd name="T16" fmla="*/ 820081304 w 10005"/>
                <a:gd name="T17" fmla="*/ 2147483647 h 10069"/>
                <a:gd name="T18" fmla="*/ 2147483647 w 10005"/>
                <a:gd name="T19" fmla="*/ 156528141 h 10069"/>
                <a:gd name="T20" fmla="*/ 2147483647 w 10005"/>
                <a:gd name="T21" fmla="*/ 0 h 10069"/>
                <a:gd name="T22" fmla="*/ 2147483647 w 10005"/>
                <a:gd name="T23" fmla="*/ 2147483647 h 10069"/>
                <a:gd name="T24" fmla="*/ 2147483647 w 10005"/>
                <a:gd name="T25" fmla="*/ 2147483647 h 10069"/>
                <a:gd name="T26" fmla="*/ 2147483647 w 10005"/>
                <a:gd name="T27" fmla="*/ 2147483647 h 10069"/>
                <a:gd name="T28" fmla="*/ 2147483647 w 10005"/>
                <a:gd name="T29" fmla="*/ 2147483647 h 1006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005"/>
                <a:gd name="T46" fmla="*/ 0 h 10069"/>
                <a:gd name="T47" fmla="*/ 10005 w 10005"/>
                <a:gd name="T48" fmla="*/ 10069 h 1006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005" h="10069">
                  <a:moveTo>
                    <a:pt x="8104" y="10027"/>
                  </a:moveTo>
                  <a:cubicBezTo>
                    <a:pt x="8101" y="10033"/>
                    <a:pt x="7974" y="9797"/>
                    <a:pt x="7971" y="9803"/>
                  </a:cubicBezTo>
                  <a:cubicBezTo>
                    <a:pt x="7974" y="7747"/>
                    <a:pt x="7967" y="5532"/>
                    <a:pt x="7970" y="3476"/>
                  </a:cubicBezTo>
                  <a:lnTo>
                    <a:pt x="2098" y="3535"/>
                  </a:lnTo>
                  <a:cubicBezTo>
                    <a:pt x="2093" y="5623"/>
                    <a:pt x="2088" y="7710"/>
                    <a:pt x="2083" y="9798"/>
                  </a:cubicBezTo>
                  <a:cubicBezTo>
                    <a:pt x="2045" y="9865"/>
                    <a:pt x="2008" y="9933"/>
                    <a:pt x="1970" y="10000"/>
                  </a:cubicBezTo>
                  <a:lnTo>
                    <a:pt x="120" y="9994"/>
                  </a:lnTo>
                  <a:lnTo>
                    <a:pt x="0" y="9756"/>
                  </a:lnTo>
                  <a:lnTo>
                    <a:pt x="15" y="261"/>
                  </a:lnTo>
                  <a:cubicBezTo>
                    <a:pt x="58" y="178"/>
                    <a:pt x="100" y="95"/>
                    <a:pt x="143" y="12"/>
                  </a:cubicBezTo>
                  <a:lnTo>
                    <a:pt x="9857" y="0"/>
                  </a:lnTo>
                  <a:lnTo>
                    <a:pt x="9992" y="202"/>
                  </a:lnTo>
                  <a:cubicBezTo>
                    <a:pt x="9995" y="1232"/>
                    <a:pt x="9999" y="8790"/>
                    <a:pt x="10002" y="9820"/>
                  </a:cubicBezTo>
                  <a:cubicBezTo>
                    <a:pt x="10005" y="9805"/>
                    <a:pt x="9891" y="10069"/>
                    <a:pt x="9894" y="10054"/>
                  </a:cubicBezTo>
                  <a:lnTo>
                    <a:pt x="8104" y="10027"/>
                  </a:lnTo>
                  <a:close/>
                </a:path>
              </a:pathLst>
            </a:custGeom>
            <a:solidFill>
              <a:srgbClr val="F2F2F2"/>
            </a:solidFill>
            <a:ln w="9525">
              <a:solidFill>
                <a:srgbClr val="000000"/>
              </a:solidFill>
              <a:miter lim="800000"/>
              <a:headEnd/>
              <a:tailEnd/>
            </a:ln>
            <a:effectLst>
              <a:outerShdw blurRad="63500" dist="20000" dir="5400000" rotWithShape="0">
                <a:srgbClr val="000000">
                  <a:alpha val="37999"/>
                </a:srgbClr>
              </a:outerShdw>
            </a:effectLst>
          </p:spPr>
          <p:txBody>
            <a:bodyPr lIns="70376" tIns="36021" rIns="70376" bIns="35187" anchor="ctr"/>
            <a:lstStyle/>
            <a:p>
              <a:pPr>
                <a:defRPr/>
              </a:pPr>
              <a:endParaRPr lang="en-GB"/>
            </a:p>
          </p:txBody>
        </p:sp>
        <p:grpSp>
          <p:nvGrpSpPr>
            <p:cNvPr id="87075" name="그룹 655">
              <a:extLst>
                <a:ext uri="{FF2B5EF4-FFF2-40B4-BE49-F238E27FC236}">
                  <a16:creationId xmlns:a16="http://schemas.microsoft.com/office/drawing/2014/main" id="{816D570E-E946-4381-B369-303FDDF0AD1F}"/>
                </a:ext>
              </a:extLst>
            </p:cNvPr>
            <p:cNvGrpSpPr>
              <a:grpSpLocks/>
            </p:cNvGrpSpPr>
            <p:nvPr/>
          </p:nvGrpSpPr>
          <p:grpSpPr bwMode="auto">
            <a:xfrm>
              <a:off x="5484813" y="3187686"/>
              <a:ext cx="419100" cy="384175"/>
              <a:chOff x="1928794" y="3143248"/>
              <a:chExt cx="428628" cy="428628"/>
            </a:xfrm>
          </p:grpSpPr>
          <p:sp>
            <p:nvSpPr>
              <p:cNvPr id="1159" name="타원 1158">
                <a:extLst>
                  <a:ext uri="{FF2B5EF4-FFF2-40B4-BE49-F238E27FC236}">
                    <a16:creationId xmlns:a16="http://schemas.microsoft.com/office/drawing/2014/main" id="{03FF07A1-A7DE-43A1-ADA6-63B9031BA2DB}"/>
                  </a:ext>
                </a:extLst>
              </p:cNvPr>
              <p:cNvSpPr/>
              <p:nvPr/>
            </p:nvSpPr>
            <p:spPr>
              <a:xfrm>
                <a:off x="1928794" y="3143248"/>
                <a:ext cx="428628" cy="428628"/>
              </a:xfrm>
              <a:prstGeom prst="ellipse">
                <a:avLst/>
              </a:prstGeom>
              <a:solidFill>
                <a:srgbClr val="4F81BD"/>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eaLnBrk="1" latinLnBrk="1" hangingPunct="1">
                  <a:defRPr/>
                </a:pPr>
                <a:endParaRPr kumimoji="1" lang="ko-KR" altLang="en-US">
                  <a:solidFill>
                    <a:srgbClr val="FFFFFF"/>
                  </a:solidFill>
                  <a:latin typeface="Arial" charset="0"/>
                  <a:ea typeface="Gulim" pitchFamily="34" charset="-127"/>
                  <a:cs typeface="Gulim" pitchFamily="34" charset="-127"/>
                </a:endParaRPr>
              </a:p>
            </p:txBody>
          </p:sp>
          <p:grpSp>
            <p:nvGrpSpPr>
              <p:cNvPr id="87573" name="그룹 1159">
                <a:extLst>
                  <a:ext uri="{FF2B5EF4-FFF2-40B4-BE49-F238E27FC236}">
                    <a16:creationId xmlns:a16="http://schemas.microsoft.com/office/drawing/2014/main" id="{2524F1D4-1DD9-4848-99AC-23C03922630F}"/>
                  </a:ext>
                </a:extLst>
              </p:cNvPr>
              <p:cNvGrpSpPr>
                <a:grpSpLocks/>
              </p:cNvGrpSpPr>
              <p:nvPr/>
            </p:nvGrpSpPr>
            <p:grpSpPr bwMode="auto">
              <a:xfrm>
                <a:off x="2000232" y="3214686"/>
                <a:ext cx="285752" cy="285752"/>
                <a:chOff x="1108075" y="4506913"/>
                <a:chExt cx="1227138" cy="1265238"/>
              </a:xfrm>
            </p:grpSpPr>
            <p:sp>
              <p:nvSpPr>
                <p:cNvPr id="87582" name="Freeform 10">
                  <a:extLst>
                    <a:ext uri="{FF2B5EF4-FFF2-40B4-BE49-F238E27FC236}">
                      <a16:creationId xmlns:a16="http://schemas.microsoft.com/office/drawing/2014/main" id="{46459976-C8EF-4CDF-AFDD-547F8F382B62}"/>
                    </a:ext>
                  </a:extLst>
                </p:cNvPr>
                <p:cNvSpPr>
                  <a:spLocks/>
                </p:cNvSpPr>
                <p:nvPr/>
              </p:nvSpPr>
              <p:spPr bwMode="auto">
                <a:xfrm>
                  <a:off x="1108075" y="4506913"/>
                  <a:ext cx="1227138" cy="1265238"/>
                </a:xfrm>
                <a:custGeom>
                  <a:avLst/>
                  <a:gdLst>
                    <a:gd name="T0" fmla="*/ 2147483646 w 1546"/>
                    <a:gd name="T1" fmla="*/ 2147483646 h 1594"/>
                    <a:gd name="T2" fmla="*/ 2147483646 w 1546"/>
                    <a:gd name="T3" fmla="*/ 2147483646 h 1594"/>
                    <a:gd name="T4" fmla="*/ 2147483646 w 1546"/>
                    <a:gd name="T5" fmla="*/ 2147483646 h 1594"/>
                    <a:gd name="T6" fmla="*/ 2147483646 w 1546"/>
                    <a:gd name="T7" fmla="*/ 2147483646 h 1594"/>
                    <a:gd name="T8" fmla="*/ 2147483646 w 1546"/>
                    <a:gd name="T9" fmla="*/ 2147483646 h 1594"/>
                    <a:gd name="T10" fmla="*/ 2147483646 w 1546"/>
                    <a:gd name="T11" fmla="*/ 2147483646 h 1594"/>
                    <a:gd name="T12" fmla="*/ 2147483646 w 1546"/>
                    <a:gd name="T13" fmla="*/ 2147483646 h 1594"/>
                    <a:gd name="T14" fmla="*/ 0 w 1546"/>
                    <a:gd name="T15" fmla="*/ 2147483646 h 1594"/>
                    <a:gd name="T16" fmla="*/ 2147483646 w 1546"/>
                    <a:gd name="T17" fmla="*/ 0 h 1594"/>
                    <a:gd name="T18" fmla="*/ 2147483646 w 1546"/>
                    <a:gd name="T19" fmla="*/ 2147483646 h 1594"/>
                    <a:gd name="T20" fmla="*/ 2147483646 w 1546"/>
                    <a:gd name="T21" fmla="*/ 2147483646 h 15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46"/>
                    <a:gd name="T34" fmla="*/ 0 h 1594"/>
                    <a:gd name="T35" fmla="*/ 1546 w 1546"/>
                    <a:gd name="T36" fmla="*/ 1594 h 159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46" h="1594">
                      <a:moveTo>
                        <a:pt x="1315" y="131"/>
                      </a:moveTo>
                      <a:lnTo>
                        <a:pt x="1527" y="176"/>
                      </a:lnTo>
                      <a:lnTo>
                        <a:pt x="1515" y="212"/>
                      </a:lnTo>
                      <a:lnTo>
                        <a:pt x="1546" y="227"/>
                      </a:lnTo>
                      <a:lnTo>
                        <a:pt x="1024" y="1594"/>
                      </a:lnTo>
                      <a:lnTo>
                        <a:pt x="21" y="1329"/>
                      </a:lnTo>
                      <a:lnTo>
                        <a:pt x="25" y="1275"/>
                      </a:lnTo>
                      <a:lnTo>
                        <a:pt x="0" y="1266"/>
                      </a:lnTo>
                      <a:lnTo>
                        <a:pt x="543" y="0"/>
                      </a:lnTo>
                      <a:lnTo>
                        <a:pt x="814" y="46"/>
                      </a:lnTo>
                      <a:lnTo>
                        <a:pt x="1315" y="1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83" name="Freeform 12">
                  <a:extLst>
                    <a:ext uri="{FF2B5EF4-FFF2-40B4-BE49-F238E27FC236}">
                      <a16:creationId xmlns:a16="http://schemas.microsoft.com/office/drawing/2014/main" id="{5A408003-7057-4AF6-BDC1-336B9C81BE49}"/>
                    </a:ext>
                  </a:extLst>
                </p:cNvPr>
                <p:cNvSpPr>
                  <a:spLocks/>
                </p:cNvSpPr>
                <p:nvPr/>
              </p:nvSpPr>
              <p:spPr bwMode="auto">
                <a:xfrm>
                  <a:off x="1130300" y="4529138"/>
                  <a:ext cx="1184275" cy="1204913"/>
                </a:xfrm>
                <a:custGeom>
                  <a:avLst/>
                  <a:gdLst>
                    <a:gd name="T0" fmla="*/ 2147483646 w 1492"/>
                    <a:gd name="T1" fmla="*/ 2147483646 h 1516"/>
                    <a:gd name="T2" fmla="*/ 2147483646 w 1492"/>
                    <a:gd name="T3" fmla="*/ 0 h 1516"/>
                    <a:gd name="T4" fmla="*/ 0 w 1492"/>
                    <a:gd name="T5" fmla="*/ 2147483646 h 1516"/>
                    <a:gd name="T6" fmla="*/ 2147483646 w 1492"/>
                    <a:gd name="T7" fmla="*/ 2147483646 h 1516"/>
                    <a:gd name="T8" fmla="*/ 2147483646 w 1492"/>
                    <a:gd name="T9" fmla="*/ 2147483646 h 1516"/>
                    <a:gd name="T10" fmla="*/ 2147483646 w 1492"/>
                    <a:gd name="T11" fmla="*/ 2147483646 h 1516"/>
                    <a:gd name="T12" fmla="*/ 2147483646 w 1492"/>
                    <a:gd name="T13" fmla="*/ 2147483646 h 1516"/>
                    <a:gd name="T14" fmla="*/ 2147483646 w 1492"/>
                    <a:gd name="T15" fmla="*/ 2147483646 h 1516"/>
                    <a:gd name="T16" fmla="*/ 2147483646 w 1492"/>
                    <a:gd name="T17" fmla="*/ 2147483646 h 1516"/>
                    <a:gd name="T18" fmla="*/ 2147483646 w 1492"/>
                    <a:gd name="T19" fmla="*/ 2147483646 h 1516"/>
                    <a:gd name="T20" fmla="*/ 2147483646 w 1492"/>
                    <a:gd name="T21" fmla="*/ 2147483646 h 15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92"/>
                    <a:gd name="T34" fmla="*/ 0 h 1516"/>
                    <a:gd name="T35" fmla="*/ 1492 w 1492"/>
                    <a:gd name="T36" fmla="*/ 1516 h 15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92" h="1516">
                      <a:moveTo>
                        <a:pt x="771" y="41"/>
                      </a:moveTo>
                      <a:lnTo>
                        <a:pt x="528" y="0"/>
                      </a:lnTo>
                      <a:lnTo>
                        <a:pt x="0" y="1225"/>
                      </a:lnTo>
                      <a:lnTo>
                        <a:pt x="26" y="1237"/>
                      </a:lnTo>
                      <a:lnTo>
                        <a:pt x="19" y="1272"/>
                      </a:lnTo>
                      <a:lnTo>
                        <a:pt x="984" y="1516"/>
                      </a:lnTo>
                      <a:lnTo>
                        <a:pt x="1492" y="213"/>
                      </a:lnTo>
                      <a:lnTo>
                        <a:pt x="1464" y="201"/>
                      </a:lnTo>
                      <a:lnTo>
                        <a:pt x="1474" y="166"/>
                      </a:lnTo>
                      <a:lnTo>
                        <a:pt x="1280" y="128"/>
                      </a:lnTo>
                      <a:lnTo>
                        <a:pt x="771"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84" name="Freeform 13">
                  <a:extLst>
                    <a:ext uri="{FF2B5EF4-FFF2-40B4-BE49-F238E27FC236}">
                      <a16:creationId xmlns:a16="http://schemas.microsoft.com/office/drawing/2014/main" id="{7B30860F-980E-4B05-8C53-F1F148852BBE}"/>
                    </a:ext>
                  </a:extLst>
                </p:cNvPr>
                <p:cNvSpPr>
                  <a:spLocks/>
                </p:cNvSpPr>
                <p:nvPr/>
              </p:nvSpPr>
              <p:spPr bwMode="auto">
                <a:xfrm>
                  <a:off x="1166813" y="4695825"/>
                  <a:ext cx="1119188" cy="1006475"/>
                </a:xfrm>
                <a:custGeom>
                  <a:avLst/>
                  <a:gdLst>
                    <a:gd name="T0" fmla="*/ 2147483646 w 1410"/>
                    <a:gd name="T1" fmla="*/ 2147483646 h 1268"/>
                    <a:gd name="T2" fmla="*/ 2147483646 w 1410"/>
                    <a:gd name="T3" fmla="*/ 2147483646 h 1268"/>
                    <a:gd name="T4" fmla="*/ 0 w 1410"/>
                    <a:gd name="T5" fmla="*/ 2147483646 h 1268"/>
                    <a:gd name="T6" fmla="*/ 2147483646 w 1410"/>
                    <a:gd name="T7" fmla="*/ 2147483646 h 1268"/>
                    <a:gd name="T8" fmla="*/ 2147483646 w 1410"/>
                    <a:gd name="T9" fmla="*/ 2147483646 h 1268"/>
                    <a:gd name="T10" fmla="*/ 2147483646 w 1410"/>
                    <a:gd name="T11" fmla="*/ 0 h 1268"/>
                    <a:gd name="T12" fmla="*/ 2147483646 w 1410"/>
                    <a:gd name="T13" fmla="*/ 2147483646 h 1268"/>
                    <a:gd name="T14" fmla="*/ 0 60000 65536"/>
                    <a:gd name="T15" fmla="*/ 0 60000 65536"/>
                    <a:gd name="T16" fmla="*/ 0 60000 65536"/>
                    <a:gd name="T17" fmla="*/ 0 60000 65536"/>
                    <a:gd name="T18" fmla="*/ 0 60000 65536"/>
                    <a:gd name="T19" fmla="*/ 0 60000 65536"/>
                    <a:gd name="T20" fmla="*/ 0 60000 65536"/>
                    <a:gd name="T21" fmla="*/ 0 w 1410"/>
                    <a:gd name="T22" fmla="*/ 0 h 1268"/>
                    <a:gd name="T23" fmla="*/ 1410 w 1410"/>
                    <a:gd name="T24" fmla="*/ 1268 h 12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10" h="1268">
                      <a:moveTo>
                        <a:pt x="1410" y="10"/>
                      </a:moveTo>
                      <a:lnTo>
                        <a:pt x="922" y="1268"/>
                      </a:lnTo>
                      <a:lnTo>
                        <a:pt x="0" y="1033"/>
                      </a:lnTo>
                      <a:lnTo>
                        <a:pt x="25" y="1021"/>
                      </a:lnTo>
                      <a:lnTo>
                        <a:pt x="898" y="1229"/>
                      </a:lnTo>
                      <a:lnTo>
                        <a:pt x="1397" y="0"/>
                      </a:lnTo>
                      <a:lnTo>
                        <a:pt x="141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85" name="Freeform 14">
                  <a:extLst>
                    <a:ext uri="{FF2B5EF4-FFF2-40B4-BE49-F238E27FC236}">
                      <a16:creationId xmlns:a16="http://schemas.microsoft.com/office/drawing/2014/main" id="{A3D07199-898C-4B1B-8342-D86916DEDAF9}"/>
                    </a:ext>
                  </a:extLst>
                </p:cNvPr>
                <p:cNvSpPr>
                  <a:spLocks/>
                </p:cNvSpPr>
                <p:nvPr/>
              </p:nvSpPr>
              <p:spPr bwMode="auto">
                <a:xfrm>
                  <a:off x="1546225" y="5437188"/>
                  <a:ext cx="409575" cy="174625"/>
                </a:xfrm>
                <a:custGeom>
                  <a:avLst/>
                  <a:gdLst>
                    <a:gd name="T0" fmla="*/ 2147483646 w 517"/>
                    <a:gd name="T1" fmla="*/ 0 h 219"/>
                    <a:gd name="T2" fmla="*/ 2147483646 w 517"/>
                    <a:gd name="T3" fmla="*/ 2147483646 h 219"/>
                    <a:gd name="T4" fmla="*/ 0 w 517"/>
                    <a:gd name="T5" fmla="*/ 2147483646 h 219"/>
                    <a:gd name="T6" fmla="*/ 2147483646 w 517"/>
                    <a:gd name="T7" fmla="*/ 0 h 219"/>
                    <a:gd name="T8" fmla="*/ 0 60000 65536"/>
                    <a:gd name="T9" fmla="*/ 0 60000 65536"/>
                    <a:gd name="T10" fmla="*/ 0 60000 65536"/>
                    <a:gd name="T11" fmla="*/ 0 60000 65536"/>
                    <a:gd name="T12" fmla="*/ 0 w 517"/>
                    <a:gd name="T13" fmla="*/ 0 h 219"/>
                    <a:gd name="T14" fmla="*/ 517 w 517"/>
                    <a:gd name="T15" fmla="*/ 219 h 219"/>
                  </a:gdLst>
                  <a:ahLst/>
                  <a:cxnLst>
                    <a:cxn ang="T8">
                      <a:pos x="T0" y="T1"/>
                    </a:cxn>
                    <a:cxn ang="T9">
                      <a:pos x="T2" y="T3"/>
                    </a:cxn>
                    <a:cxn ang="T10">
                      <a:pos x="T4" y="T5"/>
                    </a:cxn>
                    <a:cxn ang="T11">
                      <a:pos x="T6" y="T7"/>
                    </a:cxn>
                  </a:cxnLst>
                  <a:rect l="T12" t="T13" r="T14" b="T15"/>
                  <a:pathLst>
                    <a:path w="517" h="219">
                      <a:moveTo>
                        <a:pt x="517" y="0"/>
                      </a:moveTo>
                      <a:lnTo>
                        <a:pt x="45" y="219"/>
                      </a:lnTo>
                      <a:lnTo>
                        <a:pt x="0" y="196"/>
                      </a:lnTo>
                      <a:lnTo>
                        <a:pt x="5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86" name="Freeform 15">
                  <a:extLst>
                    <a:ext uri="{FF2B5EF4-FFF2-40B4-BE49-F238E27FC236}">
                      <a16:creationId xmlns:a16="http://schemas.microsoft.com/office/drawing/2014/main" id="{47D7F907-800C-455C-BB39-FDF6532254BF}"/>
                    </a:ext>
                  </a:extLst>
                </p:cNvPr>
                <p:cNvSpPr>
                  <a:spLocks/>
                </p:cNvSpPr>
                <p:nvPr/>
              </p:nvSpPr>
              <p:spPr bwMode="auto">
                <a:xfrm>
                  <a:off x="1558925" y="5394325"/>
                  <a:ext cx="361950" cy="193675"/>
                </a:xfrm>
                <a:custGeom>
                  <a:avLst/>
                  <a:gdLst>
                    <a:gd name="T0" fmla="*/ 2147483646 w 457"/>
                    <a:gd name="T1" fmla="*/ 2147483646 h 243"/>
                    <a:gd name="T2" fmla="*/ 2147483646 w 457"/>
                    <a:gd name="T3" fmla="*/ 2147483646 h 243"/>
                    <a:gd name="T4" fmla="*/ 2147483646 w 457"/>
                    <a:gd name="T5" fmla="*/ 2147483646 h 243"/>
                    <a:gd name="T6" fmla="*/ 0 w 457"/>
                    <a:gd name="T7" fmla="*/ 2147483646 h 243"/>
                    <a:gd name="T8" fmla="*/ 2147483646 w 457"/>
                    <a:gd name="T9" fmla="*/ 0 h 243"/>
                    <a:gd name="T10" fmla="*/ 2147483646 w 457"/>
                    <a:gd name="T11" fmla="*/ 2147483646 h 243"/>
                    <a:gd name="T12" fmla="*/ 0 60000 65536"/>
                    <a:gd name="T13" fmla="*/ 0 60000 65536"/>
                    <a:gd name="T14" fmla="*/ 0 60000 65536"/>
                    <a:gd name="T15" fmla="*/ 0 60000 65536"/>
                    <a:gd name="T16" fmla="*/ 0 60000 65536"/>
                    <a:gd name="T17" fmla="*/ 0 60000 65536"/>
                    <a:gd name="T18" fmla="*/ 0 w 457"/>
                    <a:gd name="T19" fmla="*/ 0 h 243"/>
                    <a:gd name="T20" fmla="*/ 457 w 457"/>
                    <a:gd name="T21" fmla="*/ 243 h 243"/>
                  </a:gdLst>
                  <a:ahLst/>
                  <a:cxnLst>
                    <a:cxn ang="T12">
                      <a:pos x="T0" y="T1"/>
                    </a:cxn>
                    <a:cxn ang="T13">
                      <a:pos x="T2" y="T3"/>
                    </a:cxn>
                    <a:cxn ang="T14">
                      <a:pos x="T4" y="T5"/>
                    </a:cxn>
                    <a:cxn ang="T15">
                      <a:pos x="T6" y="T7"/>
                    </a:cxn>
                    <a:cxn ang="T16">
                      <a:pos x="T8" y="T9"/>
                    </a:cxn>
                    <a:cxn ang="T17">
                      <a:pos x="T10" y="T11"/>
                    </a:cxn>
                  </a:cxnLst>
                  <a:rect l="T18" t="T19" r="T20" b="T21"/>
                  <a:pathLst>
                    <a:path w="457" h="243">
                      <a:moveTo>
                        <a:pt x="457" y="41"/>
                      </a:moveTo>
                      <a:lnTo>
                        <a:pt x="135" y="21"/>
                      </a:lnTo>
                      <a:lnTo>
                        <a:pt x="33" y="227"/>
                      </a:lnTo>
                      <a:lnTo>
                        <a:pt x="0" y="243"/>
                      </a:lnTo>
                      <a:lnTo>
                        <a:pt x="117" y="0"/>
                      </a:lnTo>
                      <a:lnTo>
                        <a:pt x="457"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87574" name="그룹 1160">
                <a:extLst>
                  <a:ext uri="{FF2B5EF4-FFF2-40B4-BE49-F238E27FC236}">
                    <a16:creationId xmlns:a16="http://schemas.microsoft.com/office/drawing/2014/main" id="{BC867AE8-8BFA-43F5-997A-9C00BC866176}"/>
                  </a:ext>
                </a:extLst>
              </p:cNvPr>
              <p:cNvGrpSpPr>
                <a:grpSpLocks/>
              </p:cNvGrpSpPr>
              <p:nvPr/>
            </p:nvGrpSpPr>
            <p:grpSpPr bwMode="auto">
              <a:xfrm>
                <a:off x="2053618" y="3241359"/>
                <a:ext cx="134292" cy="159068"/>
                <a:chOff x="2560318" y="3571876"/>
                <a:chExt cx="279706" cy="330515"/>
              </a:xfrm>
            </p:grpSpPr>
            <p:grpSp>
              <p:nvGrpSpPr>
                <p:cNvPr id="87576" name="그룹 1162">
                  <a:extLst>
                    <a:ext uri="{FF2B5EF4-FFF2-40B4-BE49-F238E27FC236}">
                      <a16:creationId xmlns:a16="http://schemas.microsoft.com/office/drawing/2014/main" id="{14682EA7-AD4A-4CEF-9913-73E3647710AD}"/>
                    </a:ext>
                  </a:extLst>
                </p:cNvPr>
                <p:cNvGrpSpPr>
                  <a:grpSpLocks/>
                </p:cNvGrpSpPr>
                <p:nvPr/>
              </p:nvGrpSpPr>
              <p:grpSpPr bwMode="auto">
                <a:xfrm>
                  <a:off x="2643174" y="3571876"/>
                  <a:ext cx="196850" cy="142875"/>
                  <a:chOff x="3929058" y="5124458"/>
                  <a:chExt cx="196850" cy="142875"/>
                </a:xfrm>
              </p:grpSpPr>
              <p:sp>
                <p:nvSpPr>
                  <p:cNvPr id="87580" name="Freeform 30">
                    <a:extLst>
                      <a:ext uri="{FF2B5EF4-FFF2-40B4-BE49-F238E27FC236}">
                        <a16:creationId xmlns:a16="http://schemas.microsoft.com/office/drawing/2014/main" id="{C5C8CCC8-DC79-48FB-A5B6-77BDC2434727}"/>
                      </a:ext>
                    </a:extLst>
                  </p:cNvPr>
                  <p:cNvSpPr>
                    <a:spLocks/>
                  </p:cNvSpPr>
                  <p:nvPr/>
                </p:nvSpPr>
                <p:spPr bwMode="auto">
                  <a:xfrm>
                    <a:off x="3929058" y="5124458"/>
                    <a:ext cx="196850" cy="142875"/>
                  </a:xfrm>
                  <a:custGeom>
                    <a:avLst/>
                    <a:gdLst>
                      <a:gd name="T0" fmla="*/ 2147483646 w 247"/>
                      <a:gd name="T1" fmla="*/ 2147483646 h 180"/>
                      <a:gd name="T2" fmla="*/ 2147483646 w 247"/>
                      <a:gd name="T3" fmla="*/ 2147483646 h 180"/>
                      <a:gd name="T4" fmla="*/ 2147483646 w 247"/>
                      <a:gd name="T5" fmla="*/ 0 h 180"/>
                      <a:gd name="T6" fmla="*/ 0 w 247"/>
                      <a:gd name="T7" fmla="*/ 2147483646 h 180"/>
                      <a:gd name="T8" fmla="*/ 2147483646 w 247"/>
                      <a:gd name="T9" fmla="*/ 2147483646 h 180"/>
                      <a:gd name="T10" fmla="*/ 0 60000 65536"/>
                      <a:gd name="T11" fmla="*/ 0 60000 65536"/>
                      <a:gd name="T12" fmla="*/ 0 60000 65536"/>
                      <a:gd name="T13" fmla="*/ 0 60000 65536"/>
                      <a:gd name="T14" fmla="*/ 0 60000 65536"/>
                      <a:gd name="T15" fmla="*/ 0 w 247"/>
                      <a:gd name="T16" fmla="*/ 0 h 180"/>
                      <a:gd name="T17" fmla="*/ 247 w 247"/>
                      <a:gd name="T18" fmla="*/ 180 h 180"/>
                    </a:gdLst>
                    <a:ahLst/>
                    <a:cxnLst>
                      <a:cxn ang="T10">
                        <a:pos x="T0" y="T1"/>
                      </a:cxn>
                      <a:cxn ang="T11">
                        <a:pos x="T2" y="T3"/>
                      </a:cxn>
                      <a:cxn ang="T12">
                        <a:pos x="T4" y="T5"/>
                      </a:cxn>
                      <a:cxn ang="T13">
                        <a:pos x="T6" y="T7"/>
                      </a:cxn>
                      <a:cxn ang="T14">
                        <a:pos x="T8" y="T9"/>
                      </a:cxn>
                    </a:cxnLst>
                    <a:rect l="T15" t="T16" r="T17" b="T18"/>
                    <a:pathLst>
                      <a:path w="247" h="180">
                        <a:moveTo>
                          <a:pt x="187" y="180"/>
                        </a:moveTo>
                        <a:lnTo>
                          <a:pt x="247" y="40"/>
                        </a:lnTo>
                        <a:lnTo>
                          <a:pt x="58" y="0"/>
                        </a:lnTo>
                        <a:lnTo>
                          <a:pt x="0" y="140"/>
                        </a:lnTo>
                        <a:lnTo>
                          <a:pt x="187"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81" name="Freeform 31">
                    <a:extLst>
                      <a:ext uri="{FF2B5EF4-FFF2-40B4-BE49-F238E27FC236}">
                        <a16:creationId xmlns:a16="http://schemas.microsoft.com/office/drawing/2014/main" id="{35D61B3E-37B4-44A9-8148-5871EAB5F6B8}"/>
                      </a:ext>
                    </a:extLst>
                  </p:cNvPr>
                  <p:cNvSpPr>
                    <a:spLocks/>
                  </p:cNvSpPr>
                  <p:nvPr/>
                </p:nvSpPr>
                <p:spPr bwMode="auto">
                  <a:xfrm>
                    <a:off x="3946034" y="5137732"/>
                    <a:ext cx="142568" cy="114087"/>
                  </a:xfrm>
                  <a:custGeom>
                    <a:avLst/>
                    <a:gdLst>
                      <a:gd name="T0" fmla="*/ 2147483646 w 198"/>
                      <a:gd name="T1" fmla="*/ 2147483646 h 144"/>
                      <a:gd name="T2" fmla="*/ 2147483646 w 198"/>
                      <a:gd name="T3" fmla="*/ 2147483646 h 144"/>
                      <a:gd name="T4" fmla="*/ 2147483646 w 198"/>
                      <a:gd name="T5" fmla="*/ 0 h 144"/>
                      <a:gd name="T6" fmla="*/ 0 w 198"/>
                      <a:gd name="T7" fmla="*/ 2147483646 h 144"/>
                      <a:gd name="T8" fmla="*/ 2147483646 w 198"/>
                      <a:gd name="T9" fmla="*/ 2147483646 h 144"/>
                      <a:gd name="T10" fmla="*/ 0 60000 65536"/>
                      <a:gd name="T11" fmla="*/ 0 60000 65536"/>
                      <a:gd name="T12" fmla="*/ 0 60000 65536"/>
                      <a:gd name="T13" fmla="*/ 0 60000 65536"/>
                      <a:gd name="T14" fmla="*/ 0 60000 65536"/>
                      <a:gd name="T15" fmla="*/ 0 w 198"/>
                      <a:gd name="T16" fmla="*/ 0 h 144"/>
                      <a:gd name="T17" fmla="*/ 198 w 198"/>
                      <a:gd name="T18" fmla="*/ 144 h 144"/>
                    </a:gdLst>
                    <a:ahLst/>
                    <a:cxnLst>
                      <a:cxn ang="T10">
                        <a:pos x="T0" y="T1"/>
                      </a:cxn>
                      <a:cxn ang="T11">
                        <a:pos x="T2" y="T3"/>
                      </a:cxn>
                      <a:cxn ang="T12">
                        <a:pos x="T4" y="T5"/>
                      </a:cxn>
                      <a:cxn ang="T13">
                        <a:pos x="T6" y="T7"/>
                      </a:cxn>
                      <a:cxn ang="T14">
                        <a:pos x="T8" y="T9"/>
                      </a:cxn>
                    </a:cxnLst>
                    <a:rect l="T15" t="T16" r="T17" b="T18"/>
                    <a:pathLst>
                      <a:path w="198" h="144">
                        <a:moveTo>
                          <a:pt x="151" y="144"/>
                        </a:moveTo>
                        <a:lnTo>
                          <a:pt x="198" y="32"/>
                        </a:lnTo>
                        <a:lnTo>
                          <a:pt x="48" y="0"/>
                        </a:lnTo>
                        <a:lnTo>
                          <a:pt x="0" y="112"/>
                        </a:lnTo>
                        <a:lnTo>
                          <a:pt x="151" y="14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87577" name="그룹 1163">
                  <a:extLst>
                    <a:ext uri="{FF2B5EF4-FFF2-40B4-BE49-F238E27FC236}">
                      <a16:creationId xmlns:a16="http://schemas.microsoft.com/office/drawing/2014/main" id="{596C0BA5-A263-4D38-ADAB-05E6E825550F}"/>
                    </a:ext>
                  </a:extLst>
                </p:cNvPr>
                <p:cNvGrpSpPr>
                  <a:grpSpLocks/>
                </p:cNvGrpSpPr>
                <p:nvPr/>
              </p:nvGrpSpPr>
              <p:grpSpPr bwMode="auto">
                <a:xfrm>
                  <a:off x="2560318" y="3759516"/>
                  <a:ext cx="222033" cy="142875"/>
                  <a:chOff x="3929058" y="5124458"/>
                  <a:chExt cx="222033" cy="142875"/>
                </a:xfrm>
              </p:grpSpPr>
              <p:sp>
                <p:nvSpPr>
                  <p:cNvPr id="87578" name="Freeform 30">
                    <a:extLst>
                      <a:ext uri="{FF2B5EF4-FFF2-40B4-BE49-F238E27FC236}">
                        <a16:creationId xmlns:a16="http://schemas.microsoft.com/office/drawing/2014/main" id="{09914DE1-D89A-4BCB-A50B-493C9D4B93EF}"/>
                      </a:ext>
                    </a:extLst>
                  </p:cNvPr>
                  <p:cNvSpPr>
                    <a:spLocks/>
                  </p:cNvSpPr>
                  <p:nvPr/>
                </p:nvSpPr>
                <p:spPr bwMode="auto">
                  <a:xfrm>
                    <a:off x="3929058" y="5124458"/>
                    <a:ext cx="196850" cy="142875"/>
                  </a:xfrm>
                  <a:custGeom>
                    <a:avLst/>
                    <a:gdLst>
                      <a:gd name="T0" fmla="*/ 2147483646 w 247"/>
                      <a:gd name="T1" fmla="*/ 2147483646 h 180"/>
                      <a:gd name="T2" fmla="*/ 2147483646 w 247"/>
                      <a:gd name="T3" fmla="*/ 2147483646 h 180"/>
                      <a:gd name="T4" fmla="*/ 2147483646 w 247"/>
                      <a:gd name="T5" fmla="*/ 0 h 180"/>
                      <a:gd name="T6" fmla="*/ 0 w 247"/>
                      <a:gd name="T7" fmla="*/ 2147483646 h 180"/>
                      <a:gd name="T8" fmla="*/ 2147483646 w 247"/>
                      <a:gd name="T9" fmla="*/ 2147483646 h 180"/>
                      <a:gd name="T10" fmla="*/ 0 60000 65536"/>
                      <a:gd name="T11" fmla="*/ 0 60000 65536"/>
                      <a:gd name="T12" fmla="*/ 0 60000 65536"/>
                      <a:gd name="T13" fmla="*/ 0 60000 65536"/>
                      <a:gd name="T14" fmla="*/ 0 60000 65536"/>
                      <a:gd name="T15" fmla="*/ 0 w 247"/>
                      <a:gd name="T16" fmla="*/ 0 h 180"/>
                      <a:gd name="T17" fmla="*/ 247 w 247"/>
                      <a:gd name="T18" fmla="*/ 180 h 180"/>
                    </a:gdLst>
                    <a:ahLst/>
                    <a:cxnLst>
                      <a:cxn ang="T10">
                        <a:pos x="T0" y="T1"/>
                      </a:cxn>
                      <a:cxn ang="T11">
                        <a:pos x="T2" y="T3"/>
                      </a:cxn>
                      <a:cxn ang="T12">
                        <a:pos x="T4" y="T5"/>
                      </a:cxn>
                      <a:cxn ang="T13">
                        <a:pos x="T6" y="T7"/>
                      </a:cxn>
                      <a:cxn ang="T14">
                        <a:pos x="T8" y="T9"/>
                      </a:cxn>
                    </a:cxnLst>
                    <a:rect l="T15" t="T16" r="T17" b="T18"/>
                    <a:pathLst>
                      <a:path w="247" h="180">
                        <a:moveTo>
                          <a:pt x="187" y="180"/>
                        </a:moveTo>
                        <a:lnTo>
                          <a:pt x="247" y="40"/>
                        </a:lnTo>
                        <a:lnTo>
                          <a:pt x="58" y="0"/>
                        </a:lnTo>
                        <a:lnTo>
                          <a:pt x="0" y="140"/>
                        </a:lnTo>
                        <a:lnTo>
                          <a:pt x="187"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79" name="Freeform 31">
                    <a:extLst>
                      <a:ext uri="{FF2B5EF4-FFF2-40B4-BE49-F238E27FC236}">
                        <a16:creationId xmlns:a16="http://schemas.microsoft.com/office/drawing/2014/main" id="{F11239BC-9627-44B9-A781-B0279B00319A}"/>
                      </a:ext>
                    </a:extLst>
                  </p:cNvPr>
                  <p:cNvSpPr>
                    <a:spLocks/>
                  </p:cNvSpPr>
                  <p:nvPr/>
                </p:nvSpPr>
                <p:spPr bwMode="auto">
                  <a:xfrm>
                    <a:off x="3977973" y="5159867"/>
                    <a:ext cx="173118" cy="92004"/>
                  </a:xfrm>
                  <a:custGeom>
                    <a:avLst/>
                    <a:gdLst>
                      <a:gd name="T0" fmla="*/ 2147483646 w 198"/>
                      <a:gd name="T1" fmla="*/ 2147483646 h 144"/>
                      <a:gd name="T2" fmla="*/ 2147483646 w 198"/>
                      <a:gd name="T3" fmla="*/ 2147483646 h 144"/>
                      <a:gd name="T4" fmla="*/ 2147483646 w 198"/>
                      <a:gd name="T5" fmla="*/ 0 h 144"/>
                      <a:gd name="T6" fmla="*/ 0 w 198"/>
                      <a:gd name="T7" fmla="*/ 2147483646 h 144"/>
                      <a:gd name="T8" fmla="*/ 2147483646 w 198"/>
                      <a:gd name="T9" fmla="*/ 2147483646 h 144"/>
                      <a:gd name="T10" fmla="*/ 0 60000 65536"/>
                      <a:gd name="T11" fmla="*/ 0 60000 65536"/>
                      <a:gd name="T12" fmla="*/ 0 60000 65536"/>
                      <a:gd name="T13" fmla="*/ 0 60000 65536"/>
                      <a:gd name="T14" fmla="*/ 0 60000 65536"/>
                      <a:gd name="T15" fmla="*/ 0 w 198"/>
                      <a:gd name="T16" fmla="*/ 0 h 144"/>
                      <a:gd name="T17" fmla="*/ 198 w 198"/>
                      <a:gd name="T18" fmla="*/ 144 h 144"/>
                    </a:gdLst>
                    <a:ahLst/>
                    <a:cxnLst>
                      <a:cxn ang="T10">
                        <a:pos x="T0" y="T1"/>
                      </a:cxn>
                      <a:cxn ang="T11">
                        <a:pos x="T2" y="T3"/>
                      </a:cxn>
                      <a:cxn ang="T12">
                        <a:pos x="T4" y="T5"/>
                      </a:cxn>
                      <a:cxn ang="T13">
                        <a:pos x="T6" y="T7"/>
                      </a:cxn>
                      <a:cxn ang="T14">
                        <a:pos x="T8" y="T9"/>
                      </a:cxn>
                    </a:cxnLst>
                    <a:rect l="T15" t="T16" r="T17" b="T18"/>
                    <a:pathLst>
                      <a:path w="198" h="144">
                        <a:moveTo>
                          <a:pt x="151" y="144"/>
                        </a:moveTo>
                        <a:lnTo>
                          <a:pt x="198" y="32"/>
                        </a:lnTo>
                        <a:lnTo>
                          <a:pt x="48" y="0"/>
                        </a:lnTo>
                        <a:lnTo>
                          <a:pt x="0" y="112"/>
                        </a:lnTo>
                        <a:lnTo>
                          <a:pt x="151" y="14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sp>
            <p:nvSpPr>
              <p:cNvPr id="87575" name="Freeform 25">
                <a:extLst>
                  <a:ext uri="{FF2B5EF4-FFF2-40B4-BE49-F238E27FC236}">
                    <a16:creationId xmlns:a16="http://schemas.microsoft.com/office/drawing/2014/main" id="{495CEE0C-E1A6-46E3-936E-446732E0B194}"/>
                  </a:ext>
                </a:extLst>
              </p:cNvPr>
              <p:cNvSpPr>
                <a:spLocks/>
              </p:cNvSpPr>
              <p:nvPr/>
            </p:nvSpPr>
            <p:spPr bwMode="auto">
              <a:xfrm>
                <a:off x="2087880" y="3322320"/>
                <a:ext cx="107681" cy="57588"/>
              </a:xfrm>
              <a:custGeom>
                <a:avLst/>
                <a:gdLst>
                  <a:gd name="T0" fmla="*/ 2147483646 w 226"/>
                  <a:gd name="T1" fmla="*/ 2147483646 h 93"/>
                  <a:gd name="T2" fmla="*/ 2147483646 w 226"/>
                  <a:gd name="T3" fmla="*/ 2147483646 h 93"/>
                  <a:gd name="T4" fmla="*/ 2147483646 w 226"/>
                  <a:gd name="T5" fmla="*/ 2147483646 h 93"/>
                  <a:gd name="T6" fmla="*/ 2147483646 w 226"/>
                  <a:gd name="T7" fmla="*/ 2147483646 h 93"/>
                  <a:gd name="T8" fmla="*/ 2147483646 w 226"/>
                  <a:gd name="T9" fmla="*/ 2147483646 h 93"/>
                  <a:gd name="T10" fmla="*/ 2147483646 w 226"/>
                  <a:gd name="T11" fmla="*/ 2147483646 h 93"/>
                  <a:gd name="T12" fmla="*/ 2147483646 w 226"/>
                  <a:gd name="T13" fmla="*/ 2147483646 h 93"/>
                  <a:gd name="T14" fmla="*/ 2147483646 w 226"/>
                  <a:gd name="T15" fmla="*/ 2147483646 h 93"/>
                  <a:gd name="T16" fmla="*/ 2147483646 w 226"/>
                  <a:gd name="T17" fmla="*/ 2147483646 h 93"/>
                  <a:gd name="T18" fmla="*/ 2147483646 w 226"/>
                  <a:gd name="T19" fmla="*/ 2147483646 h 93"/>
                  <a:gd name="T20" fmla="*/ 2147483646 w 226"/>
                  <a:gd name="T21" fmla="*/ 2147483646 h 93"/>
                  <a:gd name="T22" fmla="*/ 2147483646 w 226"/>
                  <a:gd name="T23" fmla="*/ 2147483646 h 93"/>
                  <a:gd name="T24" fmla="*/ 2147483646 w 226"/>
                  <a:gd name="T25" fmla="*/ 2147483646 h 93"/>
                  <a:gd name="T26" fmla="*/ 2147483646 w 226"/>
                  <a:gd name="T27" fmla="*/ 2147483646 h 93"/>
                  <a:gd name="T28" fmla="*/ 2147483646 w 226"/>
                  <a:gd name="T29" fmla="*/ 2147483646 h 93"/>
                  <a:gd name="T30" fmla="*/ 2147483646 w 226"/>
                  <a:gd name="T31" fmla="*/ 2147483646 h 93"/>
                  <a:gd name="T32" fmla="*/ 2147483646 w 226"/>
                  <a:gd name="T33" fmla="*/ 2147483646 h 93"/>
                  <a:gd name="T34" fmla="*/ 2147483646 w 226"/>
                  <a:gd name="T35" fmla="*/ 2147483646 h 93"/>
                  <a:gd name="T36" fmla="*/ 2147483646 w 226"/>
                  <a:gd name="T37" fmla="*/ 2147483646 h 93"/>
                  <a:gd name="T38" fmla="*/ 2147483646 w 226"/>
                  <a:gd name="T39" fmla="*/ 2147483646 h 93"/>
                  <a:gd name="T40" fmla="*/ 0 w 226"/>
                  <a:gd name="T41" fmla="*/ 2147483646 h 93"/>
                  <a:gd name="T42" fmla="*/ 2147483646 w 226"/>
                  <a:gd name="T43" fmla="*/ 2147483646 h 93"/>
                  <a:gd name="T44" fmla="*/ 2147483646 w 226"/>
                  <a:gd name="T45" fmla="*/ 2147483646 h 93"/>
                  <a:gd name="T46" fmla="*/ 2147483646 w 226"/>
                  <a:gd name="T47" fmla="*/ 2147483646 h 93"/>
                  <a:gd name="T48" fmla="*/ 2147483646 w 226"/>
                  <a:gd name="T49" fmla="*/ 2147483646 h 93"/>
                  <a:gd name="T50" fmla="*/ 2147483646 w 226"/>
                  <a:gd name="T51" fmla="*/ 2147483646 h 93"/>
                  <a:gd name="T52" fmla="*/ 2147483646 w 226"/>
                  <a:gd name="T53" fmla="*/ 2147483646 h 93"/>
                  <a:gd name="T54" fmla="*/ 2147483646 w 226"/>
                  <a:gd name="T55" fmla="*/ 2147483646 h 93"/>
                  <a:gd name="T56" fmla="*/ 2147483646 w 226"/>
                  <a:gd name="T57" fmla="*/ 2147483646 h 93"/>
                  <a:gd name="T58" fmla="*/ 2147483646 w 226"/>
                  <a:gd name="T59" fmla="*/ 2147483646 h 93"/>
                  <a:gd name="T60" fmla="*/ 2147483646 w 226"/>
                  <a:gd name="T61" fmla="*/ 2147483646 h 93"/>
                  <a:gd name="T62" fmla="*/ 2147483646 w 226"/>
                  <a:gd name="T63" fmla="*/ 2147483646 h 93"/>
                  <a:gd name="T64" fmla="*/ 2147483646 w 226"/>
                  <a:gd name="T65" fmla="*/ 2147483646 h 93"/>
                  <a:gd name="T66" fmla="*/ 2147483646 w 226"/>
                  <a:gd name="T67" fmla="*/ 2147483646 h 93"/>
                  <a:gd name="T68" fmla="*/ 2147483646 w 226"/>
                  <a:gd name="T69" fmla="*/ 2147483646 h 93"/>
                  <a:gd name="T70" fmla="*/ 2147483646 w 226"/>
                  <a:gd name="T71" fmla="*/ 2147483646 h 93"/>
                  <a:gd name="T72" fmla="*/ 2147483646 w 226"/>
                  <a:gd name="T73" fmla="*/ 2147483646 h 93"/>
                  <a:gd name="T74" fmla="*/ 2147483646 w 226"/>
                  <a:gd name="T75" fmla="*/ 2147483646 h 93"/>
                  <a:gd name="T76" fmla="*/ 2147483646 w 226"/>
                  <a:gd name="T77" fmla="*/ 2147483646 h 93"/>
                  <a:gd name="T78" fmla="*/ 2147483646 w 226"/>
                  <a:gd name="T79" fmla="*/ 2147483646 h 93"/>
                  <a:gd name="T80" fmla="*/ 2147483646 w 226"/>
                  <a:gd name="T81" fmla="*/ 2147483646 h 93"/>
                  <a:gd name="T82" fmla="*/ 2147483646 w 226"/>
                  <a:gd name="T83" fmla="*/ 2147483646 h 93"/>
                  <a:gd name="T84" fmla="*/ 2147483646 w 226"/>
                  <a:gd name="T85" fmla="*/ 2147483646 h 93"/>
                  <a:gd name="T86" fmla="*/ 2147483646 w 226"/>
                  <a:gd name="T87" fmla="*/ 2147483646 h 93"/>
                  <a:gd name="T88" fmla="*/ 2147483646 w 226"/>
                  <a:gd name="T89" fmla="*/ 0 h 93"/>
                  <a:gd name="T90" fmla="*/ 2147483646 w 226"/>
                  <a:gd name="T91" fmla="*/ 0 h 93"/>
                  <a:gd name="T92" fmla="*/ 2147483646 w 226"/>
                  <a:gd name="T93" fmla="*/ 0 h 93"/>
                  <a:gd name="T94" fmla="*/ 2147483646 w 226"/>
                  <a:gd name="T95" fmla="*/ 2147483646 h 93"/>
                  <a:gd name="T96" fmla="*/ 2147483646 w 226"/>
                  <a:gd name="T97" fmla="*/ 2147483646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26"/>
                  <a:gd name="T148" fmla="*/ 0 h 93"/>
                  <a:gd name="T149" fmla="*/ 226 w 226"/>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26" h="93">
                    <a:moveTo>
                      <a:pt x="226" y="1"/>
                    </a:moveTo>
                    <a:lnTo>
                      <a:pt x="214" y="6"/>
                    </a:lnTo>
                    <a:lnTo>
                      <a:pt x="201" y="12"/>
                    </a:lnTo>
                    <a:lnTo>
                      <a:pt x="190" y="16"/>
                    </a:lnTo>
                    <a:lnTo>
                      <a:pt x="177" y="21"/>
                    </a:lnTo>
                    <a:lnTo>
                      <a:pt x="165" y="25"/>
                    </a:lnTo>
                    <a:lnTo>
                      <a:pt x="153" y="31"/>
                    </a:lnTo>
                    <a:lnTo>
                      <a:pt x="141" y="36"/>
                    </a:lnTo>
                    <a:lnTo>
                      <a:pt x="130" y="42"/>
                    </a:lnTo>
                    <a:lnTo>
                      <a:pt x="116" y="47"/>
                    </a:lnTo>
                    <a:lnTo>
                      <a:pt x="103" y="54"/>
                    </a:lnTo>
                    <a:lnTo>
                      <a:pt x="91" y="60"/>
                    </a:lnTo>
                    <a:lnTo>
                      <a:pt x="78" y="66"/>
                    </a:lnTo>
                    <a:lnTo>
                      <a:pt x="64" y="73"/>
                    </a:lnTo>
                    <a:lnTo>
                      <a:pt x="51" y="80"/>
                    </a:lnTo>
                    <a:lnTo>
                      <a:pt x="39" y="87"/>
                    </a:lnTo>
                    <a:lnTo>
                      <a:pt x="26" y="93"/>
                    </a:lnTo>
                    <a:lnTo>
                      <a:pt x="19" y="78"/>
                    </a:lnTo>
                    <a:lnTo>
                      <a:pt x="12" y="63"/>
                    </a:lnTo>
                    <a:lnTo>
                      <a:pt x="5" y="50"/>
                    </a:lnTo>
                    <a:lnTo>
                      <a:pt x="0" y="35"/>
                    </a:lnTo>
                    <a:lnTo>
                      <a:pt x="3" y="32"/>
                    </a:lnTo>
                    <a:lnTo>
                      <a:pt x="6" y="29"/>
                    </a:lnTo>
                    <a:lnTo>
                      <a:pt x="10" y="28"/>
                    </a:lnTo>
                    <a:lnTo>
                      <a:pt x="14" y="28"/>
                    </a:lnTo>
                    <a:lnTo>
                      <a:pt x="18" y="39"/>
                    </a:lnTo>
                    <a:lnTo>
                      <a:pt x="23" y="51"/>
                    </a:lnTo>
                    <a:lnTo>
                      <a:pt x="28" y="62"/>
                    </a:lnTo>
                    <a:lnTo>
                      <a:pt x="33" y="74"/>
                    </a:lnTo>
                    <a:lnTo>
                      <a:pt x="40" y="70"/>
                    </a:lnTo>
                    <a:lnTo>
                      <a:pt x="46" y="68"/>
                    </a:lnTo>
                    <a:lnTo>
                      <a:pt x="53" y="65"/>
                    </a:lnTo>
                    <a:lnTo>
                      <a:pt x="58" y="61"/>
                    </a:lnTo>
                    <a:lnTo>
                      <a:pt x="64" y="59"/>
                    </a:lnTo>
                    <a:lnTo>
                      <a:pt x="71" y="55"/>
                    </a:lnTo>
                    <a:lnTo>
                      <a:pt x="77" y="53"/>
                    </a:lnTo>
                    <a:lnTo>
                      <a:pt x="84" y="50"/>
                    </a:lnTo>
                    <a:lnTo>
                      <a:pt x="101" y="43"/>
                    </a:lnTo>
                    <a:lnTo>
                      <a:pt x="118" y="36"/>
                    </a:lnTo>
                    <a:lnTo>
                      <a:pt x="135" y="29"/>
                    </a:lnTo>
                    <a:lnTo>
                      <a:pt x="153" y="23"/>
                    </a:lnTo>
                    <a:lnTo>
                      <a:pt x="170" y="16"/>
                    </a:lnTo>
                    <a:lnTo>
                      <a:pt x="187" y="10"/>
                    </a:lnTo>
                    <a:lnTo>
                      <a:pt x="206" y="5"/>
                    </a:lnTo>
                    <a:lnTo>
                      <a:pt x="224" y="0"/>
                    </a:lnTo>
                    <a:lnTo>
                      <a:pt x="225" y="0"/>
                    </a:lnTo>
                    <a:lnTo>
                      <a:pt x="226" y="1"/>
                    </a:lnTo>
                    <a:close/>
                  </a:path>
                </a:pathLst>
              </a:custGeom>
              <a:solidFill>
                <a:srgbClr val="000000"/>
              </a:solidFill>
              <a:ln w="9525">
                <a:solidFill>
                  <a:srgbClr val="FF0000"/>
                </a:solidFill>
                <a:round/>
                <a:headEnd/>
                <a:tailEnd/>
              </a:ln>
            </p:spPr>
            <p:txBody>
              <a:bodyPr/>
              <a:lstStyle/>
              <a:p>
                <a:endParaRPr lang="en-GB"/>
              </a:p>
            </p:txBody>
          </p:sp>
        </p:grpSp>
        <p:grpSp>
          <p:nvGrpSpPr>
            <p:cNvPr id="87076" name="그룹 656">
              <a:extLst>
                <a:ext uri="{FF2B5EF4-FFF2-40B4-BE49-F238E27FC236}">
                  <a16:creationId xmlns:a16="http://schemas.microsoft.com/office/drawing/2014/main" id="{8A21ADD4-3BF9-4407-BEF3-E756F5E48044}"/>
                </a:ext>
              </a:extLst>
            </p:cNvPr>
            <p:cNvGrpSpPr>
              <a:grpSpLocks/>
            </p:cNvGrpSpPr>
            <p:nvPr/>
          </p:nvGrpSpPr>
          <p:grpSpPr bwMode="auto">
            <a:xfrm>
              <a:off x="2849563" y="4595799"/>
              <a:ext cx="415925" cy="384175"/>
              <a:chOff x="4021156" y="2357430"/>
              <a:chExt cx="428628" cy="428628"/>
            </a:xfrm>
          </p:grpSpPr>
          <p:sp>
            <p:nvSpPr>
              <p:cNvPr id="1113" name="타원 1112">
                <a:extLst>
                  <a:ext uri="{FF2B5EF4-FFF2-40B4-BE49-F238E27FC236}">
                    <a16:creationId xmlns:a16="http://schemas.microsoft.com/office/drawing/2014/main" id="{C13E5BE1-C641-4EB4-92A6-326318BB35FB}"/>
                  </a:ext>
                </a:extLst>
              </p:cNvPr>
              <p:cNvSpPr/>
              <p:nvPr/>
            </p:nvSpPr>
            <p:spPr>
              <a:xfrm>
                <a:off x="4021156" y="2357430"/>
                <a:ext cx="428628" cy="428628"/>
              </a:xfrm>
              <a:prstGeom prst="ellipse">
                <a:avLst/>
              </a:prstGeom>
              <a:solidFill>
                <a:srgbClr val="4F81BD"/>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eaLnBrk="1" latinLnBrk="1" hangingPunct="1">
                  <a:defRPr/>
                </a:pPr>
                <a:endParaRPr kumimoji="1" lang="ko-KR" altLang="en-US">
                  <a:solidFill>
                    <a:srgbClr val="FFFFFF"/>
                  </a:solidFill>
                  <a:latin typeface="Arial" charset="0"/>
                  <a:ea typeface="Gulim" pitchFamily="34" charset="-127"/>
                  <a:cs typeface="Gulim" pitchFamily="34" charset="-127"/>
                </a:endParaRPr>
              </a:p>
            </p:txBody>
          </p:sp>
          <p:sp>
            <p:nvSpPr>
              <p:cNvPr id="87531" name="Freeform 10">
                <a:extLst>
                  <a:ext uri="{FF2B5EF4-FFF2-40B4-BE49-F238E27FC236}">
                    <a16:creationId xmlns:a16="http://schemas.microsoft.com/office/drawing/2014/main" id="{CEAA1076-43C6-4803-8A7E-B8ACAD08F969}"/>
                  </a:ext>
                </a:extLst>
              </p:cNvPr>
              <p:cNvSpPr>
                <a:spLocks/>
              </p:cNvSpPr>
              <p:nvPr/>
            </p:nvSpPr>
            <p:spPr bwMode="auto">
              <a:xfrm>
                <a:off x="4092594" y="2428868"/>
                <a:ext cx="285752" cy="285752"/>
              </a:xfrm>
              <a:custGeom>
                <a:avLst/>
                <a:gdLst>
                  <a:gd name="T0" fmla="*/ 2147483646 w 1546"/>
                  <a:gd name="T1" fmla="*/ 2147483646 h 1594"/>
                  <a:gd name="T2" fmla="*/ 2147483646 w 1546"/>
                  <a:gd name="T3" fmla="*/ 2147483646 h 1594"/>
                  <a:gd name="T4" fmla="*/ 2147483646 w 1546"/>
                  <a:gd name="T5" fmla="*/ 2147483646 h 1594"/>
                  <a:gd name="T6" fmla="*/ 2147483646 w 1546"/>
                  <a:gd name="T7" fmla="*/ 2147483646 h 1594"/>
                  <a:gd name="T8" fmla="*/ 2147483646 w 1546"/>
                  <a:gd name="T9" fmla="*/ 2147483646 h 1594"/>
                  <a:gd name="T10" fmla="*/ 2147483646 w 1546"/>
                  <a:gd name="T11" fmla="*/ 2147483646 h 1594"/>
                  <a:gd name="T12" fmla="*/ 2147483646 w 1546"/>
                  <a:gd name="T13" fmla="*/ 2147483646 h 1594"/>
                  <a:gd name="T14" fmla="*/ 0 w 1546"/>
                  <a:gd name="T15" fmla="*/ 2147483646 h 1594"/>
                  <a:gd name="T16" fmla="*/ 2147483646 w 1546"/>
                  <a:gd name="T17" fmla="*/ 0 h 1594"/>
                  <a:gd name="T18" fmla="*/ 2147483646 w 1546"/>
                  <a:gd name="T19" fmla="*/ 2147483646 h 1594"/>
                  <a:gd name="T20" fmla="*/ 2147483646 w 1546"/>
                  <a:gd name="T21" fmla="*/ 2147483646 h 15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46"/>
                  <a:gd name="T34" fmla="*/ 0 h 1594"/>
                  <a:gd name="T35" fmla="*/ 1546 w 1546"/>
                  <a:gd name="T36" fmla="*/ 1594 h 159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46" h="1594">
                    <a:moveTo>
                      <a:pt x="1315" y="131"/>
                    </a:moveTo>
                    <a:lnTo>
                      <a:pt x="1527" y="176"/>
                    </a:lnTo>
                    <a:lnTo>
                      <a:pt x="1515" y="212"/>
                    </a:lnTo>
                    <a:lnTo>
                      <a:pt x="1546" y="227"/>
                    </a:lnTo>
                    <a:lnTo>
                      <a:pt x="1024" y="1594"/>
                    </a:lnTo>
                    <a:lnTo>
                      <a:pt x="21" y="1329"/>
                    </a:lnTo>
                    <a:lnTo>
                      <a:pt x="25" y="1275"/>
                    </a:lnTo>
                    <a:lnTo>
                      <a:pt x="0" y="1266"/>
                    </a:lnTo>
                    <a:lnTo>
                      <a:pt x="543" y="0"/>
                    </a:lnTo>
                    <a:lnTo>
                      <a:pt x="814" y="46"/>
                    </a:lnTo>
                    <a:lnTo>
                      <a:pt x="1315" y="1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32" name="Freeform 12">
                <a:extLst>
                  <a:ext uri="{FF2B5EF4-FFF2-40B4-BE49-F238E27FC236}">
                    <a16:creationId xmlns:a16="http://schemas.microsoft.com/office/drawing/2014/main" id="{195A6EAA-EA29-41BB-8530-84F27C655A3C}"/>
                  </a:ext>
                </a:extLst>
              </p:cNvPr>
              <p:cNvSpPr>
                <a:spLocks/>
              </p:cNvSpPr>
              <p:nvPr/>
            </p:nvSpPr>
            <p:spPr bwMode="auto">
              <a:xfrm>
                <a:off x="4097769" y="2433887"/>
                <a:ext cx="275771" cy="272128"/>
              </a:xfrm>
              <a:custGeom>
                <a:avLst/>
                <a:gdLst>
                  <a:gd name="T0" fmla="*/ 2147483646 w 1492"/>
                  <a:gd name="T1" fmla="*/ 2147483646 h 1516"/>
                  <a:gd name="T2" fmla="*/ 2147483646 w 1492"/>
                  <a:gd name="T3" fmla="*/ 0 h 1516"/>
                  <a:gd name="T4" fmla="*/ 0 w 1492"/>
                  <a:gd name="T5" fmla="*/ 2147483646 h 1516"/>
                  <a:gd name="T6" fmla="*/ 2147483646 w 1492"/>
                  <a:gd name="T7" fmla="*/ 2147483646 h 1516"/>
                  <a:gd name="T8" fmla="*/ 2147483646 w 1492"/>
                  <a:gd name="T9" fmla="*/ 2147483646 h 1516"/>
                  <a:gd name="T10" fmla="*/ 2147483646 w 1492"/>
                  <a:gd name="T11" fmla="*/ 2147483646 h 1516"/>
                  <a:gd name="T12" fmla="*/ 2147483646 w 1492"/>
                  <a:gd name="T13" fmla="*/ 2147483646 h 1516"/>
                  <a:gd name="T14" fmla="*/ 2147483646 w 1492"/>
                  <a:gd name="T15" fmla="*/ 2147483646 h 1516"/>
                  <a:gd name="T16" fmla="*/ 2147483646 w 1492"/>
                  <a:gd name="T17" fmla="*/ 2147483646 h 1516"/>
                  <a:gd name="T18" fmla="*/ 2147483646 w 1492"/>
                  <a:gd name="T19" fmla="*/ 2147483646 h 1516"/>
                  <a:gd name="T20" fmla="*/ 2147483646 w 1492"/>
                  <a:gd name="T21" fmla="*/ 2147483646 h 15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92"/>
                  <a:gd name="T34" fmla="*/ 0 h 1516"/>
                  <a:gd name="T35" fmla="*/ 1492 w 1492"/>
                  <a:gd name="T36" fmla="*/ 1516 h 15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92" h="1516">
                    <a:moveTo>
                      <a:pt x="771" y="41"/>
                    </a:moveTo>
                    <a:lnTo>
                      <a:pt x="528" y="0"/>
                    </a:lnTo>
                    <a:lnTo>
                      <a:pt x="0" y="1225"/>
                    </a:lnTo>
                    <a:lnTo>
                      <a:pt x="26" y="1237"/>
                    </a:lnTo>
                    <a:lnTo>
                      <a:pt x="19" y="1272"/>
                    </a:lnTo>
                    <a:lnTo>
                      <a:pt x="984" y="1516"/>
                    </a:lnTo>
                    <a:lnTo>
                      <a:pt x="1492" y="213"/>
                    </a:lnTo>
                    <a:lnTo>
                      <a:pt x="1464" y="201"/>
                    </a:lnTo>
                    <a:lnTo>
                      <a:pt x="1474" y="166"/>
                    </a:lnTo>
                    <a:lnTo>
                      <a:pt x="1280" y="128"/>
                    </a:lnTo>
                    <a:lnTo>
                      <a:pt x="771"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33" name="Freeform 13">
                <a:extLst>
                  <a:ext uri="{FF2B5EF4-FFF2-40B4-BE49-F238E27FC236}">
                    <a16:creationId xmlns:a16="http://schemas.microsoft.com/office/drawing/2014/main" id="{B4216ADC-A4BE-48B8-8B36-1BA76079D217}"/>
                  </a:ext>
                </a:extLst>
              </p:cNvPr>
              <p:cNvSpPr>
                <a:spLocks/>
              </p:cNvSpPr>
              <p:nvPr/>
            </p:nvSpPr>
            <p:spPr bwMode="auto">
              <a:xfrm>
                <a:off x="4106272" y="2471533"/>
                <a:ext cx="260615" cy="227311"/>
              </a:xfrm>
              <a:custGeom>
                <a:avLst/>
                <a:gdLst>
                  <a:gd name="T0" fmla="*/ 2147483646 w 1410"/>
                  <a:gd name="T1" fmla="*/ 2147483646 h 1268"/>
                  <a:gd name="T2" fmla="*/ 2147483646 w 1410"/>
                  <a:gd name="T3" fmla="*/ 2147483646 h 1268"/>
                  <a:gd name="T4" fmla="*/ 0 w 1410"/>
                  <a:gd name="T5" fmla="*/ 2147483646 h 1268"/>
                  <a:gd name="T6" fmla="*/ 2147483646 w 1410"/>
                  <a:gd name="T7" fmla="*/ 2147483646 h 1268"/>
                  <a:gd name="T8" fmla="*/ 2147483646 w 1410"/>
                  <a:gd name="T9" fmla="*/ 2147483646 h 1268"/>
                  <a:gd name="T10" fmla="*/ 2147483646 w 1410"/>
                  <a:gd name="T11" fmla="*/ 0 h 1268"/>
                  <a:gd name="T12" fmla="*/ 2147483646 w 1410"/>
                  <a:gd name="T13" fmla="*/ 2147483646 h 1268"/>
                  <a:gd name="T14" fmla="*/ 0 60000 65536"/>
                  <a:gd name="T15" fmla="*/ 0 60000 65536"/>
                  <a:gd name="T16" fmla="*/ 0 60000 65536"/>
                  <a:gd name="T17" fmla="*/ 0 60000 65536"/>
                  <a:gd name="T18" fmla="*/ 0 60000 65536"/>
                  <a:gd name="T19" fmla="*/ 0 60000 65536"/>
                  <a:gd name="T20" fmla="*/ 0 60000 65536"/>
                  <a:gd name="T21" fmla="*/ 0 w 1410"/>
                  <a:gd name="T22" fmla="*/ 0 h 1268"/>
                  <a:gd name="T23" fmla="*/ 1410 w 1410"/>
                  <a:gd name="T24" fmla="*/ 1268 h 12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10" h="1268">
                    <a:moveTo>
                      <a:pt x="1410" y="10"/>
                    </a:moveTo>
                    <a:lnTo>
                      <a:pt x="922" y="1268"/>
                    </a:lnTo>
                    <a:lnTo>
                      <a:pt x="0" y="1033"/>
                    </a:lnTo>
                    <a:lnTo>
                      <a:pt x="25" y="1021"/>
                    </a:lnTo>
                    <a:lnTo>
                      <a:pt x="898" y="1229"/>
                    </a:lnTo>
                    <a:lnTo>
                      <a:pt x="1397" y="0"/>
                    </a:lnTo>
                    <a:lnTo>
                      <a:pt x="141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34" name="Freeform 14">
                <a:extLst>
                  <a:ext uri="{FF2B5EF4-FFF2-40B4-BE49-F238E27FC236}">
                    <a16:creationId xmlns:a16="http://schemas.microsoft.com/office/drawing/2014/main" id="{433F2CAD-B1F5-45EA-BD18-114BF8EB4F76}"/>
                  </a:ext>
                </a:extLst>
              </p:cNvPr>
              <p:cNvSpPr>
                <a:spLocks/>
              </p:cNvSpPr>
              <p:nvPr/>
            </p:nvSpPr>
            <p:spPr bwMode="auto">
              <a:xfrm>
                <a:off x="4194622" y="2638969"/>
                <a:ext cx="95374" cy="39439"/>
              </a:xfrm>
              <a:custGeom>
                <a:avLst/>
                <a:gdLst>
                  <a:gd name="T0" fmla="*/ 2147483646 w 517"/>
                  <a:gd name="T1" fmla="*/ 0 h 219"/>
                  <a:gd name="T2" fmla="*/ 2147483646 w 517"/>
                  <a:gd name="T3" fmla="*/ 2147483646 h 219"/>
                  <a:gd name="T4" fmla="*/ 0 w 517"/>
                  <a:gd name="T5" fmla="*/ 2147483646 h 219"/>
                  <a:gd name="T6" fmla="*/ 2147483646 w 517"/>
                  <a:gd name="T7" fmla="*/ 0 h 219"/>
                  <a:gd name="T8" fmla="*/ 0 60000 65536"/>
                  <a:gd name="T9" fmla="*/ 0 60000 65536"/>
                  <a:gd name="T10" fmla="*/ 0 60000 65536"/>
                  <a:gd name="T11" fmla="*/ 0 60000 65536"/>
                  <a:gd name="T12" fmla="*/ 0 w 517"/>
                  <a:gd name="T13" fmla="*/ 0 h 219"/>
                  <a:gd name="T14" fmla="*/ 517 w 517"/>
                  <a:gd name="T15" fmla="*/ 219 h 219"/>
                </a:gdLst>
                <a:ahLst/>
                <a:cxnLst>
                  <a:cxn ang="T8">
                    <a:pos x="T0" y="T1"/>
                  </a:cxn>
                  <a:cxn ang="T9">
                    <a:pos x="T2" y="T3"/>
                  </a:cxn>
                  <a:cxn ang="T10">
                    <a:pos x="T4" y="T5"/>
                  </a:cxn>
                  <a:cxn ang="T11">
                    <a:pos x="T6" y="T7"/>
                  </a:cxn>
                </a:cxnLst>
                <a:rect l="T12" t="T13" r="T14" b="T15"/>
                <a:pathLst>
                  <a:path w="517" h="219">
                    <a:moveTo>
                      <a:pt x="517" y="0"/>
                    </a:moveTo>
                    <a:lnTo>
                      <a:pt x="45" y="219"/>
                    </a:lnTo>
                    <a:lnTo>
                      <a:pt x="0" y="196"/>
                    </a:lnTo>
                    <a:lnTo>
                      <a:pt x="5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35" name="Freeform 15">
                <a:extLst>
                  <a:ext uri="{FF2B5EF4-FFF2-40B4-BE49-F238E27FC236}">
                    <a16:creationId xmlns:a16="http://schemas.microsoft.com/office/drawing/2014/main" id="{94F3037D-60C8-4F0E-BDDA-F8456AAE3172}"/>
                  </a:ext>
                </a:extLst>
              </p:cNvPr>
              <p:cNvSpPr>
                <a:spLocks/>
              </p:cNvSpPr>
              <p:nvPr/>
            </p:nvSpPr>
            <p:spPr bwMode="auto">
              <a:xfrm>
                <a:off x="4197579" y="2629289"/>
                <a:ext cx="84284" cy="43741"/>
              </a:xfrm>
              <a:custGeom>
                <a:avLst/>
                <a:gdLst>
                  <a:gd name="T0" fmla="*/ 2147483646 w 457"/>
                  <a:gd name="T1" fmla="*/ 2147483646 h 243"/>
                  <a:gd name="T2" fmla="*/ 2147483646 w 457"/>
                  <a:gd name="T3" fmla="*/ 2147483646 h 243"/>
                  <a:gd name="T4" fmla="*/ 2147483646 w 457"/>
                  <a:gd name="T5" fmla="*/ 2147483646 h 243"/>
                  <a:gd name="T6" fmla="*/ 0 w 457"/>
                  <a:gd name="T7" fmla="*/ 2147483646 h 243"/>
                  <a:gd name="T8" fmla="*/ 2147483646 w 457"/>
                  <a:gd name="T9" fmla="*/ 0 h 243"/>
                  <a:gd name="T10" fmla="*/ 2147483646 w 457"/>
                  <a:gd name="T11" fmla="*/ 2147483646 h 243"/>
                  <a:gd name="T12" fmla="*/ 0 60000 65536"/>
                  <a:gd name="T13" fmla="*/ 0 60000 65536"/>
                  <a:gd name="T14" fmla="*/ 0 60000 65536"/>
                  <a:gd name="T15" fmla="*/ 0 60000 65536"/>
                  <a:gd name="T16" fmla="*/ 0 60000 65536"/>
                  <a:gd name="T17" fmla="*/ 0 60000 65536"/>
                  <a:gd name="T18" fmla="*/ 0 w 457"/>
                  <a:gd name="T19" fmla="*/ 0 h 243"/>
                  <a:gd name="T20" fmla="*/ 457 w 457"/>
                  <a:gd name="T21" fmla="*/ 243 h 243"/>
                </a:gdLst>
                <a:ahLst/>
                <a:cxnLst>
                  <a:cxn ang="T12">
                    <a:pos x="T0" y="T1"/>
                  </a:cxn>
                  <a:cxn ang="T13">
                    <a:pos x="T2" y="T3"/>
                  </a:cxn>
                  <a:cxn ang="T14">
                    <a:pos x="T4" y="T5"/>
                  </a:cxn>
                  <a:cxn ang="T15">
                    <a:pos x="T6" y="T7"/>
                  </a:cxn>
                  <a:cxn ang="T16">
                    <a:pos x="T8" y="T9"/>
                  </a:cxn>
                  <a:cxn ang="T17">
                    <a:pos x="T10" y="T11"/>
                  </a:cxn>
                </a:cxnLst>
                <a:rect l="T18" t="T19" r="T20" b="T21"/>
                <a:pathLst>
                  <a:path w="457" h="243">
                    <a:moveTo>
                      <a:pt x="457" y="41"/>
                    </a:moveTo>
                    <a:lnTo>
                      <a:pt x="135" y="21"/>
                    </a:lnTo>
                    <a:lnTo>
                      <a:pt x="33" y="227"/>
                    </a:lnTo>
                    <a:lnTo>
                      <a:pt x="0" y="243"/>
                    </a:lnTo>
                    <a:lnTo>
                      <a:pt x="117" y="0"/>
                    </a:lnTo>
                    <a:lnTo>
                      <a:pt x="457"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36" name="Freeform 52">
                <a:extLst>
                  <a:ext uri="{FF2B5EF4-FFF2-40B4-BE49-F238E27FC236}">
                    <a16:creationId xmlns:a16="http://schemas.microsoft.com/office/drawing/2014/main" id="{75E955AC-084B-4C3D-A4CC-4512E5788B48}"/>
                  </a:ext>
                </a:extLst>
              </p:cNvPr>
              <p:cNvSpPr>
                <a:spLocks/>
              </p:cNvSpPr>
              <p:nvPr/>
            </p:nvSpPr>
            <p:spPr bwMode="auto">
              <a:xfrm>
                <a:off x="4242745" y="2509171"/>
                <a:ext cx="27532" cy="17619"/>
              </a:xfrm>
              <a:custGeom>
                <a:avLst/>
                <a:gdLst>
                  <a:gd name="T0" fmla="*/ 2147483646 w 46"/>
                  <a:gd name="T1" fmla="*/ 2147483646 h 30"/>
                  <a:gd name="T2" fmla="*/ 2147483646 w 46"/>
                  <a:gd name="T3" fmla="*/ 2147483646 h 30"/>
                  <a:gd name="T4" fmla="*/ 2147483646 w 46"/>
                  <a:gd name="T5" fmla="*/ 2147483646 h 30"/>
                  <a:gd name="T6" fmla="*/ 2147483646 w 46"/>
                  <a:gd name="T7" fmla="*/ 2147483646 h 30"/>
                  <a:gd name="T8" fmla="*/ 2147483646 w 46"/>
                  <a:gd name="T9" fmla="*/ 2147483646 h 30"/>
                  <a:gd name="T10" fmla="*/ 2147483646 w 46"/>
                  <a:gd name="T11" fmla="*/ 2147483646 h 30"/>
                  <a:gd name="T12" fmla="*/ 2147483646 w 46"/>
                  <a:gd name="T13" fmla="*/ 2147483646 h 30"/>
                  <a:gd name="T14" fmla="*/ 2147483646 w 46"/>
                  <a:gd name="T15" fmla="*/ 2147483646 h 30"/>
                  <a:gd name="T16" fmla="*/ 2147483646 w 46"/>
                  <a:gd name="T17" fmla="*/ 2147483646 h 30"/>
                  <a:gd name="T18" fmla="*/ 2147483646 w 46"/>
                  <a:gd name="T19" fmla="*/ 2147483646 h 30"/>
                  <a:gd name="T20" fmla="*/ 2147483646 w 46"/>
                  <a:gd name="T21" fmla="*/ 2147483646 h 30"/>
                  <a:gd name="T22" fmla="*/ 2147483646 w 46"/>
                  <a:gd name="T23" fmla="*/ 2147483646 h 30"/>
                  <a:gd name="T24" fmla="*/ 2147483646 w 46"/>
                  <a:gd name="T25" fmla="*/ 2147483646 h 30"/>
                  <a:gd name="T26" fmla="*/ 0 w 46"/>
                  <a:gd name="T27" fmla="*/ 2147483646 h 30"/>
                  <a:gd name="T28" fmla="*/ 0 w 46"/>
                  <a:gd name="T29" fmla="*/ 2147483646 h 30"/>
                  <a:gd name="T30" fmla="*/ 2147483646 w 46"/>
                  <a:gd name="T31" fmla="*/ 2147483646 h 30"/>
                  <a:gd name="T32" fmla="*/ 2147483646 w 46"/>
                  <a:gd name="T33" fmla="*/ 2147483646 h 30"/>
                  <a:gd name="T34" fmla="*/ 2147483646 w 46"/>
                  <a:gd name="T35" fmla="*/ 2147483646 h 30"/>
                  <a:gd name="T36" fmla="*/ 2147483646 w 46"/>
                  <a:gd name="T37" fmla="*/ 2147483646 h 30"/>
                  <a:gd name="T38" fmla="*/ 2147483646 w 46"/>
                  <a:gd name="T39" fmla="*/ 2147483646 h 30"/>
                  <a:gd name="T40" fmla="*/ 2147483646 w 46"/>
                  <a:gd name="T41" fmla="*/ 2147483646 h 30"/>
                  <a:gd name="T42" fmla="*/ 2147483646 w 46"/>
                  <a:gd name="T43" fmla="*/ 2147483646 h 30"/>
                  <a:gd name="T44" fmla="*/ 2147483646 w 46"/>
                  <a:gd name="T45" fmla="*/ 2147483646 h 30"/>
                  <a:gd name="T46" fmla="*/ 2147483646 w 46"/>
                  <a:gd name="T47" fmla="*/ 2147483646 h 30"/>
                  <a:gd name="T48" fmla="*/ 2147483646 w 46"/>
                  <a:gd name="T49" fmla="*/ 2147483646 h 30"/>
                  <a:gd name="T50" fmla="*/ 2147483646 w 46"/>
                  <a:gd name="T51" fmla="*/ 2147483646 h 30"/>
                  <a:gd name="T52" fmla="*/ 2147483646 w 46"/>
                  <a:gd name="T53" fmla="*/ 2147483646 h 30"/>
                  <a:gd name="T54" fmla="*/ 2147483646 w 46"/>
                  <a:gd name="T55" fmla="*/ 2147483646 h 30"/>
                  <a:gd name="T56" fmla="*/ 2147483646 w 46"/>
                  <a:gd name="T57" fmla="*/ 2147483646 h 30"/>
                  <a:gd name="T58" fmla="*/ 2147483646 w 46"/>
                  <a:gd name="T59" fmla="*/ 2147483646 h 30"/>
                  <a:gd name="T60" fmla="*/ 2147483646 w 46"/>
                  <a:gd name="T61" fmla="*/ 2147483646 h 30"/>
                  <a:gd name="T62" fmla="*/ 2147483646 w 46"/>
                  <a:gd name="T63" fmla="*/ 2147483646 h 30"/>
                  <a:gd name="T64" fmla="*/ 2147483646 w 46"/>
                  <a:gd name="T65" fmla="*/ 2147483646 h 30"/>
                  <a:gd name="T66" fmla="*/ 2147483646 w 46"/>
                  <a:gd name="T67" fmla="*/ 0 h 30"/>
                  <a:gd name="T68" fmla="*/ 2147483646 w 46"/>
                  <a:gd name="T69" fmla="*/ 2147483646 h 30"/>
                  <a:gd name="T70" fmla="*/ 2147483646 w 46"/>
                  <a:gd name="T71" fmla="*/ 2147483646 h 30"/>
                  <a:gd name="T72" fmla="*/ 2147483646 w 46"/>
                  <a:gd name="T73" fmla="*/ 2147483646 h 30"/>
                  <a:gd name="T74" fmla="*/ 2147483646 w 46"/>
                  <a:gd name="T75" fmla="*/ 2147483646 h 30"/>
                  <a:gd name="T76" fmla="*/ 2147483646 w 46"/>
                  <a:gd name="T77" fmla="*/ 2147483646 h 3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6"/>
                  <a:gd name="T118" fmla="*/ 0 h 30"/>
                  <a:gd name="T119" fmla="*/ 46 w 46"/>
                  <a:gd name="T120" fmla="*/ 30 h 3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6" h="30">
                    <a:moveTo>
                      <a:pt x="33" y="7"/>
                    </a:moveTo>
                    <a:lnTo>
                      <a:pt x="31" y="10"/>
                    </a:lnTo>
                    <a:lnTo>
                      <a:pt x="30" y="13"/>
                    </a:lnTo>
                    <a:lnTo>
                      <a:pt x="27" y="15"/>
                    </a:lnTo>
                    <a:lnTo>
                      <a:pt x="23" y="16"/>
                    </a:lnTo>
                    <a:lnTo>
                      <a:pt x="22" y="16"/>
                    </a:lnTo>
                    <a:lnTo>
                      <a:pt x="20" y="15"/>
                    </a:lnTo>
                    <a:lnTo>
                      <a:pt x="19" y="15"/>
                    </a:lnTo>
                    <a:lnTo>
                      <a:pt x="16" y="14"/>
                    </a:lnTo>
                    <a:lnTo>
                      <a:pt x="15" y="12"/>
                    </a:lnTo>
                    <a:lnTo>
                      <a:pt x="15" y="10"/>
                    </a:lnTo>
                    <a:lnTo>
                      <a:pt x="14" y="8"/>
                    </a:lnTo>
                    <a:lnTo>
                      <a:pt x="14" y="7"/>
                    </a:lnTo>
                    <a:lnTo>
                      <a:pt x="0" y="10"/>
                    </a:lnTo>
                    <a:lnTo>
                      <a:pt x="0" y="14"/>
                    </a:lnTo>
                    <a:lnTo>
                      <a:pt x="3" y="17"/>
                    </a:lnTo>
                    <a:lnTo>
                      <a:pt x="4" y="21"/>
                    </a:lnTo>
                    <a:lnTo>
                      <a:pt x="7" y="23"/>
                    </a:lnTo>
                    <a:lnTo>
                      <a:pt x="11" y="27"/>
                    </a:lnTo>
                    <a:lnTo>
                      <a:pt x="14" y="28"/>
                    </a:lnTo>
                    <a:lnTo>
                      <a:pt x="19" y="30"/>
                    </a:lnTo>
                    <a:lnTo>
                      <a:pt x="23" y="30"/>
                    </a:lnTo>
                    <a:lnTo>
                      <a:pt x="28" y="30"/>
                    </a:lnTo>
                    <a:lnTo>
                      <a:pt x="33" y="28"/>
                    </a:lnTo>
                    <a:lnTo>
                      <a:pt x="36" y="27"/>
                    </a:lnTo>
                    <a:lnTo>
                      <a:pt x="39" y="23"/>
                    </a:lnTo>
                    <a:lnTo>
                      <a:pt x="43" y="20"/>
                    </a:lnTo>
                    <a:lnTo>
                      <a:pt x="45" y="15"/>
                    </a:lnTo>
                    <a:lnTo>
                      <a:pt x="46" y="12"/>
                    </a:lnTo>
                    <a:lnTo>
                      <a:pt x="46" y="7"/>
                    </a:lnTo>
                    <a:lnTo>
                      <a:pt x="46" y="5"/>
                    </a:lnTo>
                    <a:lnTo>
                      <a:pt x="46" y="4"/>
                    </a:lnTo>
                    <a:lnTo>
                      <a:pt x="46" y="1"/>
                    </a:lnTo>
                    <a:lnTo>
                      <a:pt x="46" y="0"/>
                    </a:lnTo>
                    <a:lnTo>
                      <a:pt x="33" y="4"/>
                    </a:lnTo>
                    <a:lnTo>
                      <a:pt x="33" y="5"/>
                    </a:lnTo>
                    <a:lnTo>
                      <a:pt x="33" y="6"/>
                    </a:lnTo>
                    <a:lnTo>
                      <a:pt x="3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37" name="Freeform 53">
                <a:extLst>
                  <a:ext uri="{FF2B5EF4-FFF2-40B4-BE49-F238E27FC236}">
                    <a16:creationId xmlns:a16="http://schemas.microsoft.com/office/drawing/2014/main" id="{7F5D01AC-2ED7-4DFD-B149-36B29804D6ED}"/>
                  </a:ext>
                </a:extLst>
              </p:cNvPr>
              <p:cNvSpPr>
                <a:spLocks/>
              </p:cNvSpPr>
              <p:nvPr/>
            </p:nvSpPr>
            <p:spPr bwMode="auto">
              <a:xfrm>
                <a:off x="4242745" y="2498600"/>
                <a:ext cx="27532" cy="16444"/>
              </a:xfrm>
              <a:custGeom>
                <a:avLst/>
                <a:gdLst>
                  <a:gd name="T0" fmla="*/ 2147483646 w 46"/>
                  <a:gd name="T1" fmla="*/ 0 h 27"/>
                  <a:gd name="T2" fmla="*/ 2147483646 w 46"/>
                  <a:gd name="T3" fmla="*/ 2147483646 h 27"/>
                  <a:gd name="T4" fmla="*/ 2147483646 w 46"/>
                  <a:gd name="T5" fmla="*/ 2147483646 h 27"/>
                  <a:gd name="T6" fmla="*/ 2147483646 w 46"/>
                  <a:gd name="T7" fmla="*/ 2147483646 h 27"/>
                  <a:gd name="T8" fmla="*/ 0 w 46"/>
                  <a:gd name="T9" fmla="*/ 2147483646 h 27"/>
                  <a:gd name="T10" fmla="*/ 0 w 46"/>
                  <a:gd name="T11" fmla="*/ 2147483646 h 27"/>
                  <a:gd name="T12" fmla="*/ 0 w 46"/>
                  <a:gd name="T13" fmla="*/ 2147483646 h 27"/>
                  <a:gd name="T14" fmla="*/ 0 w 46"/>
                  <a:gd name="T15" fmla="*/ 2147483646 h 27"/>
                  <a:gd name="T16" fmla="*/ 0 w 46"/>
                  <a:gd name="T17" fmla="*/ 2147483646 h 27"/>
                  <a:gd name="T18" fmla="*/ 2147483646 w 46"/>
                  <a:gd name="T19" fmla="*/ 2147483646 h 27"/>
                  <a:gd name="T20" fmla="*/ 2147483646 w 46"/>
                  <a:gd name="T21" fmla="*/ 2147483646 h 27"/>
                  <a:gd name="T22" fmla="*/ 2147483646 w 46"/>
                  <a:gd name="T23" fmla="*/ 2147483646 h 27"/>
                  <a:gd name="T24" fmla="*/ 2147483646 w 46"/>
                  <a:gd name="T25" fmla="*/ 2147483646 h 27"/>
                  <a:gd name="T26" fmla="*/ 2147483646 w 46"/>
                  <a:gd name="T27" fmla="*/ 2147483646 h 27"/>
                  <a:gd name="T28" fmla="*/ 2147483646 w 46"/>
                  <a:gd name="T29" fmla="*/ 2147483646 h 27"/>
                  <a:gd name="T30" fmla="*/ 2147483646 w 46"/>
                  <a:gd name="T31" fmla="*/ 2147483646 h 27"/>
                  <a:gd name="T32" fmla="*/ 2147483646 w 46"/>
                  <a:gd name="T33" fmla="*/ 2147483646 h 27"/>
                  <a:gd name="T34" fmla="*/ 2147483646 w 46"/>
                  <a:gd name="T35" fmla="*/ 2147483646 h 27"/>
                  <a:gd name="T36" fmla="*/ 2147483646 w 46"/>
                  <a:gd name="T37" fmla="*/ 2147483646 h 27"/>
                  <a:gd name="T38" fmla="*/ 2147483646 w 46"/>
                  <a:gd name="T39" fmla="*/ 2147483646 h 27"/>
                  <a:gd name="T40" fmla="*/ 2147483646 w 46"/>
                  <a:gd name="T41" fmla="*/ 2147483646 h 27"/>
                  <a:gd name="T42" fmla="*/ 2147483646 w 46"/>
                  <a:gd name="T43" fmla="*/ 2147483646 h 27"/>
                  <a:gd name="T44" fmla="*/ 2147483646 w 46"/>
                  <a:gd name="T45" fmla="*/ 2147483646 h 27"/>
                  <a:gd name="T46" fmla="*/ 2147483646 w 46"/>
                  <a:gd name="T47" fmla="*/ 2147483646 h 27"/>
                  <a:gd name="T48" fmla="*/ 2147483646 w 46"/>
                  <a:gd name="T49" fmla="*/ 2147483646 h 27"/>
                  <a:gd name="T50" fmla="*/ 2147483646 w 46"/>
                  <a:gd name="T51" fmla="*/ 2147483646 h 27"/>
                  <a:gd name="T52" fmla="*/ 2147483646 w 46"/>
                  <a:gd name="T53" fmla="*/ 2147483646 h 27"/>
                  <a:gd name="T54" fmla="*/ 2147483646 w 46"/>
                  <a:gd name="T55" fmla="*/ 2147483646 h 27"/>
                  <a:gd name="T56" fmla="*/ 2147483646 w 46"/>
                  <a:gd name="T57" fmla="*/ 2147483646 h 27"/>
                  <a:gd name="T58" fmla="*/ 2147483646 w 46"/>
                  <a:gd name="T59" fmla="*/ 2147483646 h 27"/>
                  <a:gd name="T60" fmla="*/ 2147483646 w 46"/>
                  <a:gd name="T61" fmla="*/ 2147483646 h 27"/>
                  <a:gd name="T62" fmla="*/ 2147483646 w 46"/>
                  <a:gd name="T63" fmla="*/ 2147483646 h 27"/>
                  <a:gd name="T64" fmla="*/ 2147483646 w 46"/>
                  <a:gd name="T65" fmla="*/ 2147483646 h 27"/>
                  <a:gd name="T66" fmla="*/ 2147483646 w 46"/>
                  <a:gd name="T67" fmla="*/ 2147483646 h 27"/>
                  <a:gd name="T68" fmla="*/ 2147483646 w 46"/>
                  <a:gd name="T69" fmla="*/ 2147483646 h 27"/>
                  <a:gd name="T70" fmla="*/ 2147483646 w 46"/>
                  <a:gd name="T71" fmla="*/ 2147483646 h 27"/>
                  <a:gd name="T72" fmla="*/ 2147483646 w 46"/>
                  <a:gd name="T73" fmla="*/ 2147483646 h 27"/>
                  <a:gd name="T74" fmla="*/ 2147483646 w 46"/>
                  <a:gd name="T75" fmla="*/ 0 h 27"/>
                  <a:gd name="T76" fmla="*/ 2147483646 w 46"/>
                  <a:gd name="T77" fmla="*/ 0 h 2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6"/>
                  <a:gd name="T118" fmla="*/ 0 h 27"/>
                  <a:gd name="T119" fmla="*/ 46 w 46"/>
                  <a:gd name="T120" fmla="*/ 27 h 2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6" h="27">
                    <a:moveTo>
                      <a:pt x="23" y="0"/>
                    </a:moveTo>
                    <a:lnTo>
                      <a:pt x="14" y="2"/>
                    </a:lnTo>
                    <a:lnTo>
                      <a:pt x="7" y="7"/>
                    </a:lnTo>
                    <a:lnTo>
                      <a:pt x="3" y="15"/>
                    </a:lnTo>
                    <a:lnTo>
                      <a:pt x="0" y="24"/>
                    </a:lnTo>
                    <a:lnTo>
                      <a:pt x="0" y="25"/>
                    </a:lnTo>
                    <a:lnTo>
                      <a:pt x="0" y="26"/>
                    </a:lnTo>
                    <a:lnTo>
                      <a:pt x="0" y="27"/>
                    </a:lnTo>
                    <a:lnTo>
                      <a:pt x="14" y="24"/>
                    </a:lnTo>
                    <a:lnTo>
                      <a:pt x="14" y="22"/>
                    </a:lnTo>
                    <a:lnTo>
                      <a:pt x="15" y="21"/>
                    </a:lnTo>
                    <a:lnTo>
                      <a:pt x="15" y="18"/>
                    </a:lnTo>
                    <a:lnTo>
                      <a:pt x="16" y="17"/>
                    </a:lnTo>
                    <a:lnTo>
                      <a:pt x="19" y="16"/>
                    </a:lnTo>
                    <a:lnTo>
                      <a:pt x="20" y="15"/>
                    </a:lnTo>
                    <a:lnTo>
                      <a:pt x="22" y="14"/>
                    </a:lnTo>
                    <a:lnTo>
                      <a:pt x="23" y="14"/>
                    </a:lnTo>
                    <a:lnTo>
                      <a:pt x="26" y="14"/>
                    </a:lnTo>
                    <a:lnTo>
                      <a:pt x="27" y="15"/>
                    </a:lnTo>
                    <a:lnTo>
                      <a:pt x="29" y="16"/>
                    </a:lnTo>
                    <a:lnTo>
                      <a:pt x="30" y="17"/>
                    </a:lnTo>
                    <a:lnTo>
                      <a:pt x="31" y="18"/>
                    </a:lnTo>
                    <a:lnTo>
                      <a:pt x="31" y="19"/>
                    </a:lnTo>
                    <a:lnTo>
                      <a:pt x="33" y="21"/>
                    </a:lnTo>
                    <a:lnTo>
                      <a:pt x="46" y="17"/>
                    </a:lnTo>
                    <a:lnTo>
                      <a:pt x="45" y="15"/>
                    </a:lnTo>
                    <a:lnTo>
                      <a:pt x="44" y="11"/>
                    </a:lnTo>
                    <a:lnTo>
                      <a:pt x="42" y="9"/>
                    </a:lnTo>
                    <a:lnTo>
                      <a:pt x="39" y="7"/>
                    </a:lnTo>
                    <a:lnTo>
                      <a:pt x="36" y="3"/>
                    </a:lnTo>
                    <a:lnTo>
                      <a:pt x="33" y="1"/>
                    </a:lnTo>
                    <a:lnTo>
                      <a:pt x="28" y="0"/>
                    </a:lnTo>
                    <a:lnTo>
                      <a:pt x="2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nvGrpSpPr>
              <p:cNvPr id="87538" name="그룹 1120">
                <a:extLst>
                  <a:ext uri="{FF2B5EF4-FFF2-40B4-BE49-F238E27FC236}">
                    <a16:creationId xmlns:a16="http://schemas.microsoft.com/office/drawing/2014/main" id="{A105A823-BA8A-420D-A686-8DB3224A9911}"/>
                  </a:ext>
                </a:extLst>
              </p:cNvPr>
              <p:cNvGrpSpPr>
                <a:grpSpLocks/>
              </p:cNvGrpSpPr>
              <p:nvPr/>
            </p:nvGrpSpPr>
            <p:grpSpPr bwMode="auto">
              <a:xfrm>
                <a:off x="4185824" y="2444104"/>
                <a:ext cx="71266" cy="50877"/>
                <a:chOff x="3929058" y="5124458"/>
                <a:chExt cx="196850" cy="142875"/>
              </a:xfrm>
            </p:grpSpPr>
            <p:sp>
              <p:nvSpPr>
                <p:cNvPr id="87568" name="Freeform 30">
                  <a:extLst>
                    <a:ext uri="{FF2B5EF4-FFF2-40B4-BE49-F238E27FC236}">
                      <a16:creationId xmlns:a16="http://schemas.microsoft.com/office/drawing/2014/main" id="{A7C90F26-1C06-4158-B74E-1E73AAA959A6}"/>
                    </a:ext>
                  </a:extLst>
                </p:cNvPr>
                <p:cNvSpPr>
                  <a:spLocks/>
                </p:cNvSpPr>
                <p:nvPr/>
              </p:nvSpPr>
              <p:spPr bwMode="auto">
                <a:xfrm>
                  <a:off x="3929058" y="5124458"/>
                  <a:ext cx="196850" cy="142875"/>
                </a:xfrm>
                <a:custGeom>
                  <a:avLst/>
                  <a:gdLst>
                    <a:gd name="T0" fmla="*/ 2147483646 w 247"/>
                    <a:gd name="T1" fmla="*/ 2147483646 h 180"/>
                    <a:gd name="T2" fmla="*/ 2147483646 w 247"/>
                    <a:gd name="T3" fmla="*/ 2147483646 h 180"/>
                    <a:gd name="T4" fmla="*/ 2147483646 w 247"/>
                    <a:gd name="T5" fmla="*/ 0 h 180"/>
                    <a:gd name="T6" fmla="*/ 0 w 247"/>
                    <a:gd name="T7" fmla="*/ 2147483646 h 180"/>
                    <a:gd name="T8" fmla="*/ 2147483646 w 247"/>
                    <a:gd name="T9" fmla="*/ 2147483646 h 180"/>
                    <a:gd name="T10" fmla="*/ 0 60000 65536"/>
                    <a:gd name="T11" fmla="*/ 0 60000 65536"/>
                    <a:gd name="T12" fmla="*/ 0 60000 65536"/>
                    <a:gd name="T13" fmla="*/ 0 60000 65536"/>
                    <a:gd name="T14" fmla="*/ 0 60000 65536"/>
                    <a:gd name="T15" fmla="*/ 0 w 247"/>
                    <a:gd name="T16" fmla="*/ 0 h 180"/>
                    <a:gd name="T17" fmla="*/ 247 w 247"/>
                    <a:gd name="T18" fmla="*/ 180 h 180"/>
                  </a:gdLst>
                  <a:ahLst/>
                  <a:cxnLst>
                    <a:cxn ang="T10">
                      <a:pos x="T0" y="T1"/>
                    </a:cxn>
                    <a:cxn ang="T11">
                      <a:pos x="T2" y="T3"/>
                    </a:cxn>
                    <a:cxn ang="T12">
                      <a:pos x="T4" y="T5"/>
                    </a:cxn>
                    <a:cxn ang="T13">
                      <a:pos x="T6" y="T7"/>
                    </a:cxn>
                    <a:cxn ang="T14">
                      <a:pos x="T8" y="T9"/>
                    </a:cxn>
                  </a:cxnLst>
                  <a:rect l="T15" t="T16" r="T17" b="T18"/>
                  <a:pathLst>
                    <a:path w="247" h="180">
                      <a:moveTo>
                        <a:pt x="187" y="180"/>
                      </a:moveTo>
                      <a:lnTo>
                        <a:pt x="247" y="40"/>
                      </a:lnTo>
                      <a:lnTo>
                        <a:pt x="58" y="0"/>
                      </a:lnTo>
                      <a:lnTo>
                        <a:pt x="0" y="140"/>
                      </a:lnTo>
                      <a:lnTo>
                        <a:pt x="187"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69" name="Freeform 31">
                  <a:extLst>
                    <a:ext uri="{FF2B5EF4-FFF2-40B4-BE49-F238E27FC236}">
                      <a16:creationId xmlns:a16="http://schemas.microsoft.com/office/drawing/2014/main" id="{F1BAE1B4-C79E-4DE1-BEF1-589661107C02}"/>
                    </a:ext>
                  </a:extLst>
                </p:cNvPr>
                <p:cNvSpPr>
                  <a:spLocks/>
                </p:cNvSpPr>
                <p:nvPr/>
              </p:nvSpPr>
              <p:spPr bwMode="auto">
                <a:xfrm>
                  <a:off x="3946892" y="5139701"/>
                  <a:ext cx="162061" cy="119373"/>
                </a:xfrm>
                <a:custGeom>
                  <a:avLst/>
                  <a:gdLst>
                    <a:gd name="T0" fmla="*/ 2147483646 w 198"/>
                    <a:gd name="T1" fmla="*/ 2147483646 h 144"/>
                    <a:gd name="T2" fmla="*/ 2147483646 w 198"/>
                    <a:gd name="T3" fmla="*/ 2147483646 h 144"/>
                    <a:gd name="T4" fmla="*/ 2147483646 w 198"/>
                    <a:gd name="T5" fmla="*/ 0 h 144"/>
                    <a:gd name="T6" fmla="*/ 0 w 198"/>
                    <a:gd name="T7" fmla="*/ 2147483646 h 144"/>
                    <a:gd name="T8" fmla="*/ 2147483646 w 198"/>
                    <a:gd name="T9" fmla="*/ 2147483646 h 144"/>
                    <a:gd name="T10" fmla="*/ 0 60000 65536"/>
                    <a:gd name="T11" fmla="*/ 0 60000 65536"/>
                    <a:gd name="T12" fmla="*/ 0 60000 65536"/>
                    <a:gd name="T13" fmla="*/ 0 60000 65536"/>
                    <a:gd name="T14" fmla="*/ 0 60000 65536"/>
                    <a:gd name="T15" fmla="*/ 0 w 198"/>
                    <a:gd name="T16" fmla="*/ 0 h 144"/>
                    <a:gd name="T17" fmla="*/ 198 w 198"/>
                    <a:gd name="T18" fmla="*/ 144 h 144"/>
                  </a:gdLst>
                  <a:ahLst/>
                  <a:cxnLst>
                    <a:cxn ang="T10">
                      <a:pos x="T0" y="T1"/>
                    </a:cxn>
                    <a:cxn ang="T11">
                      <a:pos x="T2" y="T3"/>
                    </a:cxn>
                    <a:cxn ang="T12">
                      <a:pos x="T4" y="T5"/>
                    </a:cxn>
                    <a:cxn ang="T13">
                      <a:pos x="T6" y="T7"/>
                    </a:cxn>
                    <a:cxn ang="T14">
                      <a:pos x="T8" y="T9"/>
                    </a:cxn>
                  </a:cxnLst>
                  <a:rect l="T15" t="T16" r="T17" b="T18"/>
                  <a:pathLst>
                    <a:path w="198" h="144">
                      <a:moveTo>
                        <a:pt x="151" y="144"/>
                      </a:moveTo>
                      <a:lnTo>
                        <a:pt x="198" y="32"/>
                      </a:lnTo>
                      <a:lnTo>
                        <a:pt x="48" y="0"/>
                      </a:lnTo>
                      <a:lnTo>
                        <a:pt x="0" y="112"/>
                      </a:lnTo>
                      <a:lnTo>
                        <a:pt x="151" y="14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87539" name="그룹 1121">
                <a:extLst>
                  <a:ext uri="{FF2B5EF4-FFF2-40B4-BE49-F238E27FC236}">
                    <a16:creationId xmlns:a16="http://schemas.microsoft.com/office/drawing/2014/main" id="{77604711-6961-448B-AEE0-D70FD4D57F09}"/>
                  </a:ext>
                </a:extLst>
              </p:cNvPr>
              <p:cNvGrpSpPr>
                <a:grpSpLocks/>
              </p:cNvGrpSpPr>
              <p:nvPr/>
            </p:nvGrpSpPr>
            <p:grpSpPr bwMode="auto">
              <a:xfrm>
                <a:off x="4170745" y="2477799"/>
                <a:ext cx="75314" cy="50877"/>
                <a:chOff x="3929058" y="5124458"/>
                <a:chExt cx="208032" cy="142875"/>
              </a:xfrm>
            </p:grpSpPr>
            <p:sp>
              <p:nvSpPr>
                <p:cNvPr id="87566" name="Freeform 30">
                  <a:extLst>
                    <a:ext uri="{FF2B5EF4-FFF2-40B4-BE49-F238E27FC236}">
                      <a16:creationId xmlns:a16="http://schemas.microsoft.com/office/drawing/2014/main" id="{BE1FA6AE-C2D2-4703-86C5-51CB7FF3DE1A}"/>
                    </a:ext>
                  </a:extLst>
                </p:cNvPr>
                <p:cNvSpPr>
                  <a:spLocks/>
                </p:cNvSpPr>
                <p:nvPr/>
              </p:nvSpPr>
              <p:spPr bwMode="auto">
                <a:xfrm>
                  <a:off x="3929058" y="5124458"/>
                  <a:ext cx="196850" cy="142875"/>
                </a:xfrm>
                <a:custGeom>
                  <a:avLst/>
                  <a:gdLst>
                    <a:gd name="T0" fmla="*/ 2147483646 w 247"/>
                    <a:gd name="T1" fmla="*/ 2147483646 h 180"/>
                    <a:gd name="T2" fmla="*/ 2147483646 w 247"/>
                    <a:gd name="T3" fmla="*/ 2147483646 h 180"/>
                    <a:gd name="T4" fmla="*/ 2147483646 w 247"/>
                    <a:gd name="T5" fmla="*/ 0 h 180"/>
                    <a:gd name="T6" fmla="*/ 0 w 247"/>
                    <a:gd name="T7" fmla="*/ 2147483646 h 180"/>
                    <a:gd name="T8" fmla="*/ 2147483646 w 247"/>
                    <a:gd name="T9" fmla="*/ 2147483646 h 180"/>
                    <a:gd name="T10" fmla="*/ 0 60000 65536"/>
                    <a:gd name="T11" fmla="*/ 0 60000 65536"/>
                    <a:gd name="T12" fmla="*/ 0 60000 65536"/>
                    <a:gd name="T13" fmla="*/ 0 60000 65536"/>
                    <a:gd name="T14" fmla="*/ 0 60000 65536"/>
                    <a:gd name="T15" fmla="*/ 0 w 247"/>
                    <a:gd name="T16" fmla="*/ 0 h 180"/>
                    <a:gd name="T17" fmla="*/ 247 w 247"/>
                    <a:gd name="T18" fmla="*/ 180 h 180"/>
                  </a:gdLst>
                  <a:ahLst/>
                  <a:cxnLst>
                    <a:cxn ang="T10">
                      <a:pos x="T0" y="T1"/>
                    </a:cxn>
                    <a:cxn ang="T11">
                      <a:pos x="T2" y="T3"/>
                    </a:cxn>
                    <a:cxn ang="T12">
                      <a:pos x="T4" y="T5"/>
                    </a:cxn>
                    <a:cxn ang="T13">
                      <a:pos x="T6" y="T7"/>
                    </a:cxn>
                    <a:cxn ang="T14">
                      <a:pos x="T8" y="T9"/>
                    </a:cxn>
                  </a:cxnLst>
                  <a:rect l="T15" t="T16" r="T17" b="T18"/>
                  <a:pathLst>
                    <a:path w="247" h="180">
                      <a:moveTo>
                        <a:pt x="187" y="180"/>
                      </a:moveTo>
                      <a:lnTo>
                        <a:pt x="247" y="40"/>
                      </a:lnTo>
                      <a:lnTo>
                        <a:pt x="58" y="0"/>
                      </a:lnTo>
                      <a:lnTo>
                        <a:pt x="0" y="140"/>
                      </a:lnTo>
                      <a:lnTo>
                        <a:pt x="187"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67" name="Freeform 31">
                  <a:extLst>
                    <a:ext uri="{FF2B5EF4-FFF2-40B4-BE49-F238E27FC236}">
                      <a16:creationId xmlns:a16="http://schemas.microsoft.com/office/drawing/2014/main" id="{8ECF4978-9007-4E9E-8B98-D46FB63AB306}"/>
                    </a:ext>
                  </a:extLst>
                </p:cNvPr>
                <p:cNvSpPr>
                  <a:spLocks/>
                </p:cNvSpPr>
                <p:nvPr/>
              </p:nvSpPr>
              <p:spPr bwMode="auto">
                <a:xfrm>
                  <a:off x="3948018" y="5139582"/>
                  <a:ext cx="189072" cy="114398"/>
                </a:xfrm>
                <a:custGeom>
                  <a:avLst/>
                  <a:gdLst>
                    <a:gd name="T0" fmla="*/ 2147483646 w 198"/>
                    <a:gd name="T1" fmla="*/ 2147483646 h 144"/>
                    <a:gd name="T2" fmla="*/ 2147483646 w 198"/>
                    <a:gd name="T3" fmla="*/ 2147483646 h 144"/>
                    <a:gd name="T4" fmla="*/ 2147483646 w 198"/>
                    <a:gd name="T5" fmla="*/ 0 h 144"/>
                    <a:gd name="T6" fmla="*/ 0 w 198"/>
                    <a:gd name="T7" fmla="*/ 2147483646 h 144"/>
                    <a:gd name="T8" fmla="*/ 2147483646 w 198"/>
                    <a:gd name="T9" fmla="*/ 2147483646 h 144"/>
                    <a:gd name="T10" fmla="*/ 0 60000 65536"/>
                    <a:gd name="T11" fmla="*/ 0 60000 65536"/>
                    <a:gd name="T12" fmla="*/ 0 60000 65536"/>
                    <a:gd name="T13" fmla="*/ 0 60000 65536"/>
                    <a:gd name="T14" fmla="*/ 0 60000 65536"/>
                    <a:gd name="T15" fmla="*/ 0 w 198"/>
                    <a:gd name="T16" fmla="*/ 0 h 144"/>
                    <a:gd name="T17" fmla="*/ 198 w 198"/>
                    <a:gd name="T18" fmla="*/ 144 h 144"/>
                  </a:gdLst>
                  <a:ahLst/>
                  <a:cxnLst>
                    <a:cxn ang="T10">
                      <a:pos x="T0" y="T1"/>
                    </a:cxn>
                    <a:cxn ang="T11">
                      <a:pos x="T2" y="T3"/>
                    </a:cxn>
                    <a:cxn ang="T12">
                      <a:pos x="T4" y="T5"/>
                    </a:cxn>
                    <a:cxn ang="T13">
                      <a:pos x="T6" y="T7"/>
                    </a:cxn>
                    <a:cxn ang="T14">
                      <a:pos x="T8" y="T9"/>
                    </a:cxn>
                  </a:cxnLst>
                  <a:rect l="T15" t="T16" r="T17" b="T18"/>
                  <a:pathLst>
                    <a:path w="198" h="144">
                      <a:moveTo>
                        <a:pt x="151" y="144"/>
                      </a:moveTo>
                      <a:lnTo>
                        <a:pt x="198" y="32"/>
                      </a:lnTo>
                      <a:lnTo>
                        <a:pt x="48" y="0"/>
                      </a:lnTo>
                      <a:lnTo>
                        <a:pt x="0" y="112"/>
                      </a:lnTo>
                      <a:lnTo>
                        <a:pt x="151" y="14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20" name="그룹 1122">
                <a:extLst>
                  <a:ext uri="{FF2B5EF4-FFF2-40B4-BE49-F238E27FC236}">
                    <a16:creationId xmlns:a16="http://schemas.microsoft.com/office/drawing/2014/main" id="{7C77A347-8048-46F7-A813-DD08A1B39C67}"/>
                  </a:ext>
                </a:extLst>
              </p:cNvPr>
              <p:cNvGrpSpPr/>
              <p:nvPr/>
            </p:nvGrpSpPr>
            <p:grpSpPr>
              <a:xfrm>
                <a:off x="4156391" y="2513870"/>
                <a:ext cx="71266" cy="50877"/>
                <a:chOff x="3929058" y="5124458"/>
                <a:chExt cx="196850" cy="142875"/>
              </a:xfrm>
              <a:solidFill>
                <a:srgbClr val="FF0000"/>
              </a:solidFill>
            </p:grpSpPr>
            <p:sp>
              <p:nvSpPr>
                <p:cNvPr id="1153" name="Freeform 30">
                  <a:extLst>
                    <a:ext uri="{FF2B5EF4-FFF2-40B4-BE49-F238E27FC236}">
                      <a16:creationId xmlns:a16="http://schemas.microsoft.com/office/drawing/2014/main" id="{8ED0F966-149E-42B4-88F4-7002CC4B0DDC}"/>
                    </a:ext>
                  </a:extLst>
                </p:cNvPr>
                <p:cNvSpPr>
                  <a:spLocks/>
                </p:cNvSpPr>
                <p:nvPr/>
              </p:nvSpPr>
              <p:spPr bwMode="auto">
                <a:xfrm>
                  <a:off x="3929058" y="5124458"/>
                  <a:ext cx="196850" cy="142875"/>
                </a:xfrm>
                <a:custGeom>
                  <a:avLst/>
                  <a:gdLst/>
                  <a:ahLst/>
                  <a:cxnLst>
                    <a:cxn ang="0">
                      <a:pos x="187" y="180"/>
                    </a:cxn>
                    <a:cxn ang="0">
                      <a:pos x="247" y="40"/>
                    </a:cxn>
                    <a:cxn ang="0">
                      <a:pos x="58" y="0"/>
                    </a:cxn>
                    <a:cxn ang="0">
                      <a:pos x="0" y="140"/>
                    </a:cxn>
                    <a:cxn ang="0">
                      <a:pos x="187" y="180"/>
                    </a:cxn>
                  </a:cxnLst>
                  <a:rect l="0" t="0" r="r" b="b"/>
                  <a:pathLst>
                    <a:path w="247" h="180">
                      <a:moveTo>
                        <a:pt x="187" y="180"/>
                      </a:moveTo>
                      <a:lnTo>
                        <a:pt x="247" y="40"/>
                      </a:lnTo>
                      <a:lnTo>
                        <a:pt x="58" y="0"/>
                      </a:lnTo>
                      <a:lnTo>
                        <a:pt x="0" y="140"/>
                      </a:lnTo>
                      <a:lnTo>
                        <a:pt x="187" y="180"/>
                      </a:lnTo>
                      <a:close/>
                    </a:path>
                  </a:pathLst>
                </a:custGeom>
                <a:grpFill/>
                <a:ln w="9525">
                  <a:noFill/>
                  <a:round/>
                  <a:headEnd/>
                  <a:tailEnd/>
                </a:ln>
              </p:spPr>
              <p:txBody>
                <a:bodyPr/>
                <a:lstStyle>
                  <a:defPPr>
                    <a:defRPr lang="en-GB"/>
                  </a:defPPr>
                  <a:lvl1pPr algn="l" rtl="0" fontAlgn="base" latinLnBrk="1">
                    <a:spcBef>
                      <a:spcPct val="0"/>
                    </a:spcBef>
                    <a:spcAft>
                      <a:spcPct val="0"/>
                    </a:spcAft>
                    <a:defRPr kumimoji="1" kern="1200">
                      <a:solidFill>
                        <a:schemeClr val="tx1"/>
                      </a:solidFill>
                      <a:latin typeface="Arial" charset="0"/>
                      <a:ea typeface="굴림" pitchFamily="50" charset="-127"/>
                      <a:cs typeface="+mn-cs"/>
                    </a:defRPr>
                  </a:lvl1pPr>
                  <a:lvl2pPr marL="457200" algn="l" rtl="0" fontAlgn="base" latinLnBrk="1">
                    <a:spcBef>
                      <a:spcPct val="0"/>
                    </a:spcBef>
                    <a:spcAft>
                      <a:spcPct val="0"/>
                    </a:spcAft>
                    <a:defRPr kumimoji="1" kern="1200">
                      <a:solidFill>
                        <a:schemeClr val="tx1"/>
                      </a:solidFill>
                      <a:latin typeface="Arial" charset="0"/>
                      <a:ea typeface="굴림" pitchFamily="50" charset="-127"/>
                      <a:cs typeface="+mn-cs"/>
                    </a:defRPr>
                  </a:lvl2pPr>
                  <a:lvl3pPr marL="914400" algn="l" rtl="0" fontAlgn="base" latinLnBrk="1">
                    <a:spcBef>
                      <a:spcPct val="0"/>
                    </a:spcBef>
                    <a:spcAft>
                      <a:spcPct val="0"/>
                    </a:spcAft>
                    <a:defRPr kumimoji="1" kern="1200">
                      <a:solidFill>
                        <a:schemeClr val="tx1"/>
                      </a:solidFill>
                      <a:latin typeface="Arial" charset="0"/>
                      <a:ea typeface="굴림" pitchFamily="50" charset="-127"/>
                      <a:cs typeface="+mn-cs"/>
                    </a:defRPr>
                  </a:lvl3pPr>
                  <a:lvl4pPr marL="1371600" algn="l" rtl="0" fontAlgn="base" latinLnBrk="1">
                    <a:spcBef>
                      <a:spcPct val="0"/>
                    </a:spcBef>
                    <a:spcAft>
                      <a:spcPct val="0"/>
                    </a:spcAft>
                    <a:defRPr kumimoji="1" kern="1200">
                      <a:solidFill>
                        <a:schemeClr val="tx1"/>
                      </a:solidFill>
                      <a:latin typeface="Arial" charset="0"/>
                      <a:ea typeface="굴림" pitchFamily="50" charset="-127"/>
                      <a:cs typeface="+mn-cs"/>
                    </a:defRPr>
                  </a:lvl4pPr>
                  <a:lvl5pPr marL="1828800" algn="l" rtl="0" fontAlgn="base" latinLnBrk="1">
                    <a:spcBef>
                      <a:spcPct val="0"/>
                    </a:spcBef>
                    <a:spcAft>
                      <a:spcPct val="0"/>
                    </a:spcAft>
                    <a:defRPr kumimoji="1" kern="1200">
                      <a:solidFill>
                        <a:schemeClr val="tx1"/>
                      </a:solidFill>
                      <a:latin typeface="Arial" charset="0"/>
                      <a:ea typeface="굴림" pitchFamily="50" charset="-127"/>
                      <a:cs typeface="+mn-cs"/>
                    </a:defRPr>
                  </a:lvl5pPr>
                  <a:lvl6pPr marL="2286000" algn="l" defTabSz="914400" rtl="0" eaLnBrk="1" latinLnBrk="1" hangingPunct="1">
                    <a:defRPr kumimoji="1" kern="1200">
                      <a:solidFill>
                        <a:schemeClr val="tx1"/>
                      </a:solidFill>
                      <a:latin typeface="Arial" charset="0"/>
                      <a:ea typeface="굴림" pitchFamily="50" charset="-127"/>
                      <a:cs typeface="+mn-cs"/>
                    </a:defRPr>
                  </a:lvl6pPr>
                  <a:lvl7pPr marL="2743200" algn="l" defTabSz="914400" rtl="0" eaLnBrk="1" latinLnBrk="1" hangingPunct="1">
                    <a:defRPr kumimoji="1" kern="1200">
                      <a:solidFill>
                        <a:schemeClr val="tx1"/>
                      </a:solidFill>
                      <a:latin typeface="Arial" charset="0"/>
                      <a:ea typeface="굴림" pitchFamily="50" charset="-127"/>
                      <a:cs typeface="+mn-cs"/>
                    </a:defRPr>
                  </a:lvl7pPr>
                  <a:lvl8pPr marL="3200400" algn="l" defTabSz="914400" rtl="0" eaLnBrk="1" latinLnBrk="1" hangingPunct="1">
                    <a:defRPr kumimoji="1" kern="1200">
                      <a:solidFill>
                        <a:schemeClr val="tx1"/>
                      </a:solidFill>
                      <a:latin typeface="Arial" charset="0"/>
                      <a:ea typeface="굴림" pitchFamily="50" charset="-127"/>
                      <a:cs typeface="+mn-cs"/>
                    </a:defRPr>
                  </a:lvl8pPr>
                  <a:lvl9pPr marL="3657600" algn="l" defTabSz="914400" rtl="0" eaLnBrk="1" latinLnBrk="1" hangingPunct="1">
                    <a:defRPr kumimoji="1" kern="1200">
                      <a:solidFill>
                        <a:schemeClr val="tx1"/>
                      </a:solidFill>
                      <a:latin typeface="Arial" charset="0"/>
                      <a:ea typeface="굴림" pitchFamily="50" charset="-127"/>
                      <a:cs typeface="+mn-cs"/>
                    </a:defRPr>
                  </a:lvl9pPr>
                </a:lstStyle>
                <a:p>
                  <a:pPr eaLnBrk="1" hangingPunct="1">
                    <a:defRPr/>
                  </a:pPr>
                  <a:endParaRPr lang="ko-KR" altLang="en-US">
                    <a:solidFill>
                      <a:sysClr val="windowText" lastClr="000000"/>
                    </a:solidFill>
                    <a:latin typeface="Arial" pitchFamily="34" charset="0"/>
                  </a:endParaRPr>
                </a:p>
              </p:txBody>
            </p:sp>
            <p:sp>
              <p:nvSpPr>
                <p:cNvPr id="1154" name="Freeform 31">
                  <a:extLst>
                    <a:ext uri="{FF2B5EF4-FFF2-40B4-BE49-F238E27FC236}">
                      <a16:creationId xmlns:a16="http://schemas.microsoft.com/office/drawing/2014/main" id="{90AC3032-37F2-45CB-A7A0-99D85B75CF13}"/>
                    </a:ext>
                  </a:extLst>
                </p:cNvPr>
                <p:cNvSpPr>
                  <a:spLocks/>
                </p:cNvSpPr>
                <p:nvPr/>
              </p:nvSpPr>
              <p:spPr bwMode="auto">
                <a:xfrm>
                  <a:off x="3948108" y="5138746"/>
                  <a:ext cx="157163" cy="114300"/>
                </a:xfrm>
                <a:custGeom>
                  <a:avLst/>
                  <a:gdLst/>
                  <a:ahLst/>
                  <a:cxnLst>
                    <a:cxn ang="0">
                      <a:pos x="151" y="144"/>
                    </a:cxn>
                    <a:cxn ang="0">
                      <a:pos x="198" y="32"/>
                    </a:cxn>
                    <a:cxn ang="0">
                      <a:pos x="48" y="0"/>
                    </a:cxn>
                    <a:cxn ang="0">
                      <a:pos x="0" y="112"/>
                    </a:cxn>
                    <a:cxn ang="0">
                      <a:pos x="151" y="144"/>
                    </a:cxn>
                  </a:cxnLst>
                  <a:rect l="0" t="0" r="r" b="b"/>
                  <a:pathLst>
                    <a:path w="198" h="144">
                      <a:moveTo>
                        <a:pt x="151" y="144"/>
                      </a:moveTo>
                      <a:lnTo>
                        <a:pt x="198" y="32"/>
                      </a:lnTo>
                      <a:lnTo>
                        <a:pt x="48" y="0"/>
                      </a:lnTo>
                      <a:lnTo>
                        <a:pt x="0" y="112"/>
                      </a:lnTo>
                      <a:lnTo>
                        <a:pt x="151" y="144"/>
                      </a:lnTo>
                      <a:close/>
                    </a:path>
                  </a:pathLst>
                </a:custGeom>
                <a:grpFill/>
                <a:ln w="9525">
                  <a:noFill/>
                  <a:round/>
                  <a:headEnd/>
                  <a:tailEnd/>
                </a:ln>
              </p:spPr>
              <p:txBody>
                <a:bodyPr/>
                <a:lstStyle>
                  <a:defPPr>
                    <a:defRPr lang="en-GB"/>
                  </a:defPPr>
                  <a:lvl1pPr algn="l" rtl="0" fontAlgn="base" latinLnBrk="1">
                    <a:spcBef>
                      <a:spcPct val="0"/>
                    </a:spcBef>
                    <a:spcAft>
                      <a:spcPct val="0"/>
                    </a:spcAft>
                    <a:defRPr kumimoji="1" kern="1200">
                      <a:solidFill>
                        <a:schemeClr val="tx1"/>
                      </a:solidFill>
                      <a:latin typeface="Arial" charset="0"/>
                      <a:ea typeface="굴림" pitchFamily="50" charset="-127"/>
                      <a:cs typeface="+mn-cs"/>
                    </a:defRPr>
                  </a:lvl1pPr>
                  <a:lvl2pPr marL="457200" algn="l" rtl="0" fontAlgn="base" latinLnBrk="1">
                    <a:spcBef>
                      <a:spcPct val="0"/>
                    </a:spcBef>
                    <a:spcAft>
                      <a:spcPct val="0"/>
                    </a:spcAft>
                    <a:defRPr kumimoji="1" kern="1200">
                      <a:solidFill>
                        <a:schemeClr val="tx1"/>
                      </a:solidFill>
                      <a:latin typeface="Arial" charset="0"/>
                      <a:ea typeface="굴림" pitchFamily="50" charset="-127"/>
                      <a:cs typeface="+mn-cs"/>
                    </a:defRPr>
                  </a:lvl2pPr>
                  <a:lvl3pPr marL="914400" algn="l" rtl="0" fontAlgn="base" latinLnBrk="1">
                    <a:spcBef>
                      <a:spcPct val="0"/>
                    </a:spcBef>
                    <a:spcAft>
                      <a:spcPct val="0"/>
                    </a:spcAft>
                    <a:defRPr kumimoji="1" kern="1200">
                      <a:solidFill>
                        <a:schemeClr val="tx1"/>
                      </a:solidFill>
                      <a:latin typeface="Arial" charset="0"/>
                      <a:ea typeface="굴림" pitchFamily="50" charset="-127"/>
                      <a:cs typeface="+mn-cs"/>
                    </a:defRPr>
                  </a:lvl3pPr>
                  <a:lvl4pPr marL="1371600" algn="l" rtl="0" fontAlgn="base" latinLnBrk="1">
                    <a:spcBef>
                      <a:spcPct val="0"/>
                    </a:spcBef>
                    <a:spcAft>
                      <a:spcPct val="0"/>
                    </a:spcAft>
                    <a:defRPr kumimoji="1" kern="1200">
                      <a:solidFill>
                        <a:schemeClr val="tx1"/>
                      </a:solidFill>
                      <a:latin typeface="Arial" charset="0"/>
                      <a:ea typeface="굴림" pitchFamily="50" charset="-127"/>
                      <a:cs typeface="+mn-cs"/>
                    </a:defRPr>
                  </a:lvl4pPr>
                  <a:lvl5pPr marL="1828800" algn="l" rtl="0" fontAlgn="base" latinLnBrk="1">
                    <a:spcBef>
                      <a:spcPct val="0"/>
                    </a:spcBef>
                    <a:spcAft>
                      <a:spcPct val="0"/>
                    </a:spcAft>
                    <a:defRPr kumimoji="1" kern="1200">
                      <a:solidFill>
                        <a:schemeClr val="tx1"/>
                      </a:solidFill>
                      <a:latin typeface="Arial" charset="0"/>
                      <a:ea typeface="굴림" pitchFamily="50" charset="-127"/>
                      <a:cs typeface="+mn-cs"/>
                    </a:defRPr>
                  </a:lvl5pPr>
                  <a:lvl6pPr marL="2286000" algn="l" defTabSz="914400" rtl="0" eaLnBrk="1" latinLnBrk="1" hangingPunct="1">
                    <a:defRPr kumimoji="1" kern="1200">
                      <a:solidFill>
                        <a:schemeClr val="tx1"/>
                      </a:solidFill>
                      <a:latin typeface="Arial" charset="0"/>
                      <a:ea typeface="굴림" pitchFamily="50" charset="-127"/>
                      <a:cs typeface="+mn-cs"/>
                    </a:defRPr>
                  </a:lvl6pPr>
                  <a:lvl7pPr marL="2743200" algn="l" defTabSz="914400" rtl="0" eaLnBrk="1" latinLnBrk="1" hangingPunct="1">
                    <a:defRPr kumimoji="1" kern="1200">
                      <a:solidFill>
                        <a:schemeClr val="tx1"/>
                      </a:solidFill>
                      <a:latin typeface="Arial" charset="0"/>
                      <a:ea typeface="굴림" pitchFamily="50" charset="-127"/>
                      <a:cs typeface="+mn-cs"/>
                    </a:defRPr>
                  </a:lvl7pPr>
                  <a:lvl8pPr marL="3200400" algn="l" defTabSz="914400" rtl="0" eaLnBrk="1" latinLnBrk="1" hangingPunct="1">
                    <a:defRPr kumimoji="1" kern="1200">
                      <a:solidFill>
                        <a:schemeClr val="tx1"/>
                      </a:solidFill>
                      <a:latin typeface="Arial" charset="0"/>
                      <a:ea typeface="굴림" pitchFamily="50" charset="-127"/>
                      <a:cs typeface="+mn-cs"/>
                    </a:defRPr>
                  </a:lvl8pPr>
                  <a:lvl9pPr marL="3657600" algn="l" defTabSz="914400" rtl="0" eaLnBrk="1" latinLnBrk="1" hangingPunct="1">
                    <a:defRPr kumimoji="1" kern="1200">
                      <a:solidFill>
                        <a:schemeClr val="tx1"/>
                      </a:solidFill>
                      <a:latin typeface="Arial" charset="0"/>
                      <a:ea typeface="굴림" pitchFamily="50" charset="-127"/>
                      <a:cs typeface="+mn-cs"/>
                    </a:defRPr>
                  </a:lvl9pPr>
                </a:lstStyle>
                <a:p>
                  <a:pPr eaLnBrk="1" hangingPunct="1">
                    <a:defRPr/>
                  </a:pPr>
                  <a:endParaRPr lang="ko-KR" altLang="en-US">
                    <a:solidFill>
                      <a:sysClr val="windowText" lastClr="000000"/>
                    </a:solidFill>
                    <a:latin typeface="Arial" pitchFamily="34" charset="0"/>
                  </a:endParaRPr>
                </a:p>
              </p:txBody>
            </p:sp>
          </p:grpSp>
          <p:grpSp>
            <p:nvGrpSpPr>
              <p:cNvPr id="87541" name="그룹 1123">
                <a:extLst>
                  <a:ext uri="{FF2B5EF4-FFF2-40B4-BE49-F238E27FC236}">
                    <a16:creationId xmlns:a16="http://schemas.microsoft.com/office/drawing/2014/main" id="{6AA01A79-C397-4197-A2A7-6EF9AB383D6F}"/>
                  </a:ext>
                </a:extLst>
              </p:cNvPr>
              <p:cNvGrpSpPr>
                <a:grpSpLocks/>
              </p:cNvGrpSpPr>
              <p:nvPr/>
            </p:nvGrpSpPr>
            <p:grpSpPr bwMode="auto">
              <a:xfrm>
                <a:off x="4233960" y="2453966"/>
                <a:ext cx="71266" cy="50877"/>
                <a:chOff x="3929058" y="5124458"/>
                <a:chExt cx="196850" cy="142875"/>
              </a:xfrm>
            </p:grpSpPr>
            <p:sp>
              <p:nvSpPr>
                <p:cNvPr id="87564" name="Freeform 30">
                  <a:extLst>
                    <a:ext uri="{FF2B5EF4-FFF2-40B4-BE49-F238E27FC236}">
                      <a16:creationId xmlns:a16="http://schemas.microsoft.com/office/drawing/2014/main" id="{EB2FA261-0AFC-44F6-A094-5A18D5C42FDF}"/>
                    </a:ext>
                  </a:extLst>
                </p:cNvPr>
                <p:cNvSpPr>
                  <a:spLocks/>
                </p:cNvSpPr>
                <p:nvPr/>
              </p:nvSpPr>
              <p:spPr bwMode="auto">
                <a:xfrm>
                  <a:off x="3929058" y="5124458"/>
                  <a:ext cx="196850" cy="142875"/>
                </a:xfrm>
                <a:custGeom>
                  <a:avLst/>
                  <a:gdLst>
                    <a:gd name="T0" fmla="*/ 2147483646 w 247"/>
                    <a:gd name="T1" fmla="*/ 2147483646 h 180"/>
                    <a:gd name="T2" fmla="*/ 2147483646 w 247"/>
                    <a:gd name="T3" fmla="*/ 2147483646 h 180"/>
                    <a:gd name="T4" fmla="*/ 2147483646 w 247"/>
                    <a:gd name="T5" fmla="*/ 0 h 180"/>
                    <a:gd name="T6" fmla="*/ 0 w 247"/>
                    <a:gd name="T7" fmla="*/ 2147483646 h 180"/>
                    <a:gd name="T8" fmla="*/ 2147483646 w 247"/>
                    <a:gd name="T9" fmla="*/ 2147483646 h 180"/>
                    <a:gd name="T10" fmla="*/ 0 60000 65536"/>
                    <a:gd name="T11" fmla="*/ 0 60000 65536"/>
                    <a:gd name="T12" fmla="*/ 0 60000 65536"/>
                    <a:gd name="T13" fmla="*/ 0 60000 65536"/>
                    <a:gd name="T14" fmla="*/ 0 60000 65536"/>
                    <a:gd name="T15" fmla="*/ 0 w 247"/>
                    <a:gd name="T16" fmla="*/ 0 h 180"/>
                    <a:gd name="T17" fmla="*/ 247 w 247"/>
                    <a:gd name="T18" fmla="*/ 180 h 180"/>
                  </a:gdLst>
                  <a:ahLst/>
                  <a:cxnLst>
                    <a:cxn ang="T10">
                      <a:pos x="T0" y="T1"/>
                    </a:cxn>
                    <a:cxn ang="T11">
                      <a:pos x="T2" y="T3"/>
                    </a:cxn>
                    <a:cxn ang="T12">
                      <a:pos x="T4" y="T5"/>
                    </a:cxn>
                    <a:cxn ang="T13">
                      <a:pos x="T6" y="T7"/>
                    </a:cxn>
                    <a:cxn ang="T14">
                      <a:pos x="T8" y="T9"/>
                    </a:cxn>
                  </a:cxnLst>
                  <a:rect l="T15" t="T16" r="T17" b="T18"/>
                  <a:pathLst>
                    <a:path w="247" h="180">
                      <a:moveTo>
                        <a:pt x="187" y="180"/>
                      </a:moveTo>
                      <a:lnTo>
                        <a:pt x="247" y="40"/>
                      </a:lnTo>
                      <a:lnTo>
                        <a:pt x="58" y="0"/>
                      </a:lnTo>
                      <a:lnTo>
                        <a:pt x="0" y="140"/>
                      </a:lnTo>
                      <a:lnTo>
                        <a:pt x="187"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65" name="Freeform 31">
                  <a:extLst>
                    <a:ext uri="{FF2B5EF4-FFF2-40B4-BE49-F238E27FC236}">
                      <a16:creationId xmlns:a16="http://schemas.microsoft.com/office/drawing/2014/main" id="{F40C9FA1-15D3-4D8B-BE10-A0DB8D0895A0}"/>
                    </a:ext>
                  </a:extLst>
                </p:cNvPr>
                <p:cNvSpPr>
                  <a:spLocks/>
                </p:cNvSpPr>
                <p:nvPr/>
              </p:nvSpPr>
              <p:spPr bwMode="auto">
                <a:xfrm>
                  <a:off x="3948985" y="5141850"/>
                  <a:ext cx="153058" cy="84558"/>
                </a:xfrm>
                <a:custGeom>
                  <a:avLst/>
                  <a:gdLst>
                    <a:gd name="T0" fmla="*/ 2147483646 w 198"/>
                    <a:gd name="T1" fmla="*/ 2147483646 h 144"/>
                    <a:gd name="T2" fmla="*/ 2147483646 w 198"/>
                    <a:gd name="T3" fmla="*/ 2147483646 h 144"/>
                    <a:gd name="T4" fmla="*/ 2147483646 w 198"/>
                    <a:gd name="T5" fmla="*/ 0 h 144"/>
                    <a:gd name="T6" fmla="*/ 0 w 198"/>
                    <a:gd name="T7" fmla="*/ 2147483646 h 144"/>
                    <a:gd name="T8" fmla="*/ 2147483646 w 198"/>
                    <a:gd name="T9" fmla="*/ 2147483646 h 144"/>
                    <a:gd name="T10" fmla="*/ 0 60000 65536"/>
                    <a:gd name="T11" fmla="*/ 0 60000 65536"/>
                    <a:gd name="T12" fmla="*/ 0 60000 65536"/>
                    <a:gd name="T13" fmla="*/ 0 60000 65536"/>
                    <a:gd name="T14" fmla="*/ 0 60000 65536"/>
                    <a:gd name="T15" fmla="*/ 0 w 198"/>
                    <a:gd name="T16" fmla="*/ 0 h 144"/>
                    <a:gd name="T17" fmla="*/ 198 w 198"/>
                    <a:gd name="T18" fmla="*/ 144 h 144"/>
                  </a:gdLst>
                  <a:ahLst/>
                  <a:cxnLst>
                    <a:cxn ang="T10">
                      <a:pos x="T0" y="T1"/>
                    </a:cxn>
                    <a:cxn ang="T11">
                      <a:pos x="T2" y="T3"/>
                    </a:cxn>
                    <a:cxn ang="T12">
                      <a:pos x="T4" y="T5"/>
                    </a:cxn>
                    <a:cxn ang="T13">
                      <a:pos x="T6" y="T7"/>
                    </a:cxn>
                    <a:cxn ang="T14">
                      <a:pos x="T8" y="T9"/>
                    </a:cxn>
                  </a:cxnLst>
                  <a:rect l="T15" t="T16" r="T17" b="T18"/>
                  <a:pathLst>
                    <a:path w="198" h="144">
                      <a:moveTo>
                        <a:pt x="151" y="144"/>
                      </a:moveTo>
                      <a:lnTo>
                        <a:pt x="198" y="32"/>
                      </a:lnTo>
                      <a:lnTo>
                        <a:pt x="48" y="0"/>
                      </a:lnTo>
                      <a:lnTo>
                        <a:pt x="0" y="112"/>
                      </a:lnTo>
                      <a:lnTo>
                        <a:pt x="151" y="14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87542" name="그룹 1124">
                <a:extLst>
                  <a:ext uri="{FF2B5EF4-FFF2-40B4-BE49-F238E27FC236}">
                    <a16:creationId xmlns:a16="http://schemas.microsoft.com/office/drawing/2014/main" id="{BED8E3C2-AA52-418F-B8CF-250EED92A2F9}"/>
                  </a:ext>
                </a:extLst>
              </p:cNvPr>
              <p:cNvGrpSpPr>
                <a:grpSpLocks/>
              </p:cNvGrpSpPr>
              <p:nvPr/>
            </p:nvGrpSpPr>
            <p:grpSpPr bwMode="auto">
              <a:xfrm>
                <a:off x="4218886" y="2487660"/>
                <a:ext cx="71266" cy="50877"/>
                <a:chOff x="3929058" y="5124458"/>
                <a:chExt cx="196850" cy="142875"/>
              </a:xfrm>
            </p:grpSpPr>
            <p:sp>
              <p:nvSpPr>
                <p:cNvPr id="87562" name="Freeform 30">
                  <a:extLst>
                    <a:ext uri="{FF2B5EF4-FFF2-40B4-BE49-F238E27FC236}">
                      <a16:creationId xmlns:a16="http://schemas.microsoft.com/office/drawing/2014/main" id="{5C21F38A-B158-4A7E-A805-E0219547DBA9}"/>
                    </a:ext>
                  </a:extLst>
                </p:cNvPr>
                <p:cNvSpPr>
                  <a:spLocks/>
                </p:cNvSpPr>
                <p:nvPr/>
              </p:nvSpPr>
              <p:spPr bwMode="auto">
                <a:xfrm>
                  <a:off x="3929058" y="5124458"/>
                  <a:ext cx="196850" cy="142875"/>
                </a:xfrm>
                <a:custGeom>
                  <a:avLst/>
                  <a:gdLst>
                    <a:gd name="T0" fmla="*/ 2147483646 w 247"/>
                    <a:gd name="T1" fmla="*/ 2147483646 h 180"/>
                    <a:gd name="T2" fmla="*/ 2147483646 w 247"/>
                    <a:gd name="T3" fmla="*/ 2147483646 h 180"/>
                    <a:gd name="T4" fmla="*/ 2147483646 w 247"/>
                    <a:gd name="T5" fmla="*/ 0 h 180"/>
                    <a:gd name="T6" fmla="*/ 0 w 247"/>
                    <a:gd name="T7" fmla="*/ 2147483646 h 180"/>
                    <a:gd name="T8" fmla="*/ 2147483646 w 247"/>
                    <a:gd name="T9" fmla="*/ 2147483646 h 180"/>
                    <a:gd name="T10" fmla="*/ 0 60000 65536"/>
                    <a:gd name="T11" fmla="*/ 0 60000 65536"/>
                    <a:gd name="T12" fmla="*/ 0 60000 65536"/>
                    <a:gd name="T13" fmla="*/ 0 60000 65536"/>
                    <a:gd name="T14" fmla="*/ 0 60000 65536"/>
                    <a:gd name="T15" fmla="*/ 0 w 247"/>
                    <a:gd name="T16" fmla="*/ 0 h 180"/>
                    <a:gd name="T17" fmla="*/ 247 w 247"/>
                    <a:gd name="T18" fmla="*/ 180 h 180"/>
                  </a:gdLst>
                  <a:ahLst/>
                  <a:cxnLst>
                    <a:cxn ang="T10">
                      <a:pos x="T0" y="T1"/>
                    </a:cxn>
                    <a:cxn ang="T11">
                      <a:pos x="T2" y="T3"/>
                    </a:cxn>
                    <a:cxn ang="T12">
                      <a:pos x="T4" y="T5"/>
                    </a:cxn>
                    <a:cxn ang="T13">
                      <a:pos x="T6" y="T7"/>
                    </a:cxn>
                    <a:cxn ang="T14">
                      <a:pos x="T8" y="T9"/>
                    </a:cxn>
                  </a:cxnLst>
                  <a:rect l="T15" t="T16" r="T17" b="T18"/>
                  <a:pathLst>
                    <a:path w="247" h="180">
                      <a:moveTo>
                        <a:pt x="187" y="180"/>
                      </a:moveTo>
                      <a:lnTo>
                        <a:pt x="247" y="40"/>
                      </a:lnTo>
                      <a:lnTo>
                        <a:pt x="58" y="0"/>
                      </a:lnTo>
                      <a:lnTo>
                        <a:pt x="0" y="140"/>
                      </a:lnTo>
                      <a:lnTo>
                        <a:pt x="187"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63" name="Freeform 31">
                  <a:extLst>
                    <a:ext uri="{FF2B5EF4-FFF2-40B4-BE49-F238E27FC236}">
                      <a16:creationId xmlns:a16="http://schemas.microsoft.com/office/drawing/2014/main" id="{7A1A53AF-7F6E-4A3F-A547-BD4278195A75}"/>
                    </a:ext>
                  </a:extLst>
                </p:cNvPr>
                <p:cNvSpPr>
                  <a:spLocks/>
                </p:cNvSpPr>
                <p:nvPr/>
              </p:nvSpPr>
              <p:spPr bwMode="auto">
                <a:xfrm>
                  <a:off x="3950108" y="5141734"/>
                  <a:ext cx="153058" cy="79582"/>
                </a:xfrm>
                <a:custGeom>
                  <a:avLst/>
                  <a:gdLst>
                    <a:gd name="T0" fmla="*/ 2147483646 w 198"/>
                    <a:gd name="T1" fmla="*/ 2147483646 h 144"/>
                    <a:gd name="T2" fmla="*/ 2147483646 w 198"/>
                    <a:gd name="T3" fmla="*/ 2147483646 h 144"/>
                    <a:gd name="T4" fmla="*/ 2147483646 w 198"/>
                    <a:gd name="T5" fmla="*/ 0 h 144"/>
                    <a:gd name="T6" fmla="*/ 0 w 198"/>
                    <a:gd name="T7" fmla="*/ 2147483646 h 144"/>
                    <a:gd name="T8" fmla="*/ 2147483646 w 198"/>
                    <a:gd name="T9" fmla="*/ 2147483646 h 144"/>
                    <a:gd name="T10" fmla="*/ 0 60000 65536"/>
                    <a:gd name="T11" fmla="*/ 0 60000 65536"/>
                    <a:gd name="T12" fmla="*/ 0 60000 65536"/>
                    <a:gd name="T13" fmla="*/ 0 60000 65536"/>
                    <a:gd name="T14" fmla="*/ 0 60000 65536"/>
                    <a:gd name="T15" fmla="*/ 0 w 198"/>
                    <a:gd name="T16" fmla="*/ 0 h 144"/>
                    <a:gd name="T17" fmla="*/ 198 w 198"/>
                    <a:gd name="T18" fmla="*/ 144 h 144"/>
                  </a:gdLst>
                  <a:ahLst/>
                  <a:cxnLst>
                    <a:cxn ang="T10">
                      <a:pos x="T0" y="T1"/>
                    </a:cxn>
                    <a:cxn ang="T11">
                      <a:pos x="T2" y="T3"/>
                    </a:cxn>
                    <a:cxn ang="T12">
                      <a:pos x="T4" y="T5"/>
                    </a:cxn>
                    <a:cxn ang="T13">
                      <a:pos x="T6" y="T7"/>
                    </a:cxn>
                    <a:cxn ang="T14">
                      <a:pos x="T8" y="T9"/>
                    </a:cxn>
                  </a:cxnLst>
                  <a:rect l="T15" t="T16" r="T17" b="T18"/>
                  <a:pathLst>
                    <a:path w="198" h="144">
                      <a:moveTo>
                        <a:pt x="151" y="144"/>
                      </a:moveTo>
                      <a:lnTo>
                        <a:pt x="198" y="32"/>
                      </a:lnTo>
                      <a:lnTo>
                        <a:pt x="48" y="0"/>
                      </a:lnTo>
                      <a:lnTo>
                        <a:pt x="0" y="112"/>
                      </a:lnTo>
                      <a:lnTo>
                        <a:pt x="151" y="14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23" name="그룹 1125">
                <a:extLst>
                  <a:ext uri="{FF2B5EF4-FFF2-40B4-BE49-F238E27FC236}">
                    <a16:creationId xmlns:a16="http://schemas.microsoft.com/office/drawing/2014/main" id="{0205362A-0C6C-4CF7-A013-C6D6361FD635}"/>
                  </a:ext>
                </a:extLst>
              </p:cNvPr>
              <p:cNvGrpSpPr/>
              <p:nvPr/>
            </p:nvGrpSpPr>
            <p:grpSpPr>
              <a:xfrm>
                <a:off x="4204527" y="2523732"/>
                <a:ext cx="71266" cy="50877"/>
                <a:chOff x="3929058" y="5124458"/>
                <a:chExt cx="196850" cy="142875"/>
              </a:xfrm>
              <a:solidFill>
                <a:srgbClr val="008000"/>
              </a:solidFill>
            </p:grpSpPr>
            <p:sp>
              <p:nvSpPr>
                <p:cNvPr id="1147" name="Freeform 30">
                  <a:extLst>
                    <a:ext uri="{FF2B5EF4-FFF2-40B4-BE49-F238E27FC236}">
                      <a16:creationId xmlns:a16="http://schemas.microsoft.com/office/drawing/2014/main" id="{27F83240-BBDA-47A5-963F-4BDA80B1B5CF}"/>
                    </a:ext>
                  </a:extLst>
                </p:cNvPr>
                <p:cNvSpPr>
                  <a:spLocks/>
                </p:cNvSpPr>
                <p:nvPr/>
              </p:nvSpPr>
              <p:spPr bwMode="auto">
                <a:xfrm>
                  <a:off x="3929058" y="5124458"/>
                  <a:ext cx="196850" cy="142875"/>
                </a:xfrm>
                <a:custGeom>
                  <a:avLst/>
                  <a:gdLst/>
                  <a:ahLst/>
                  <a:cxnLst>
                    <a:cxn ang="0">
                      <a:pos x="187" y="180"/>
                    </a:cxn>
                    <a:cxn ang="0">
                      <a:pos x="247" y="40"/>
                    </a:cxn>
                    <a:cxn ang="0">
                      <a:pos x="58" y="0"/>
                    </a:cxn>
                    <a:cxn ang="0">
                      <a:pos x="0" y="140"/>
                    </a:cxn>
                    <a:cxn ang="0">
                      <a:pos x="187" y="180"/>
                    </a:cxn>
                  </a:cxnLst>
                  <a:rect l="0" t="0" r="r" b="b"/>
                  <a:pathLst>
                    <a:path w="247" h="180">
                      <a:moveTo>
                        <a:pt x="187" y="180"/>
                      </a:moveTo>
                      <a:lnTo>
                        <a:pt x="247" y="40"/>
                      </a:lnTo>
                      <a:lnTo>
                        <a:pt x="58" y="0"/>
                      </a:lnTo>
                      <a:lnTo>
                        <a:pt x="0" y="140"/>
                      </a:lnTo>
                      <a:lnTo>
                        <a:pt x="187" y="180"/>
                      </a:lnTo>
                      <a:close/>
                    </a:path>
                  </a:pathLst>
                </a:custGeom>
                <a:grpFill/>
                <a:ln w="9525">
                  <a:noFill/>
                  <a:round/>
                  <a:headEnd/>
                  <a:tailEnd/>
                </a:ln>
              </p:spPr>
              <p:txBody>
                <a:bodyPr/>
                <a:lstStyle>
                  <a:defPPr>
                    <a:defRPr lang="en-GB"/>
                  </a:defPPr>
                  <a:lvl1pPr algn="l" rtl="0" fontAlgn="base" latinLnBrk="1">
                    <a:spcBef>
                      <a:spcPct val="0"/>
                    </a:spcBef>
                    <a:spcAft>
                      <a:spcPct val="0"/>
                    </a:spcAft>
                    <a:defRPr kumimoji="1" kern="1200">
                      <a:solidFill>
                        <a:schemeClr val="tx1"/>
                      </a:solidFill>
                      <a:latin typeface="Arial" charset="0"/>
                      <a:ea typeface="굴림" pitchFamily="50" charset="-127"/>
                      <a:cs typeface="+mn-cs"/>
                    </a:defRPr>
                  </a:lvl1pPr>
                  <a:lvl2pPr marL="457200" algn="l" rtl="0" fontAlgn="base" latinLnBrk="1">
                    <a:spcBef>
                      <a:spcPct val="0"/>
                    </a:spcBef>
                    <a:spcAft>
                      <a:spcPct val="0"/>
                    </a:spcAft>
                    <a:defRPr kumimoji="1" kern="1200">
                      <a:solidFill>
                        <a:schemeClr val="tx1"/>
                      </a:solidFill>
                      <a:latin typeface="Arial" charset="0"/>
                      <a:ea typeface="굴림" pitchFamily="50" charset="-127"/>
                      <a:cs typeface="+mn-cs"/>
                    </a:defRPr>
                  </a:lvl2pPr>
                  <a:lvl3pPr marL="914400" algn="l" rtl="0" fontAlgn="base" latinLnBrk="1">
                    <a:spcBef>
                      <a:spcPct val="0"/>
                    </a:spcBef>
                    <a:spcAft>
                      <a:spcPct val="0"/>
                    </a:spcAft>
                    <a:defRPr kumimoji="1" kern="1200">
                      <a:solidFill>
                        <a:schemeClr val="tx1"/>
                      </a:solidFill>
                      <a:latin typeface="Arial" charset="0"/>
                      <a:ea typeface="굴림" pitchFamily="50" charset="-127"/>
                      <a:cs typeface="+mn-cs"/>
                    </a:defRPr>
                  </a:lvl3pPr>
                  <a:lvl4pPr marL="1371600" algn="l" rtl="0" fontAlgn="base" latinLnBrk="1">
                    <a:spcBef>
                      <a:spcPct val="0"/>
                    </a:spcBef>
                    <a:spcAft>
                      <a:spcPct val="0"/>
                    </a:spcAft>
                    <a:defRPr kumimoji="1" kern="1200">
                      <a:solidFill>
                        <a:schemeClr val="tx1"/>
                      </a:solidFill>
                      <a:latin typeface="Arial" charset="0"/>
                      <a:ea typeface="굴림" pitchFamily="50" charset="-127"/>
                      <a:cs typeface="+mn-cs"/>
                    </a:defRPr>
                  </a:lvl4pPr>
                  <a:lvl5pPr marL="1828800" algn="l" rtl="0" fontAlgn="base" latinLnBrk="1">
                    <a:spcBef>
                      <a:spcPct val="0"/>
                    </a:spcBef>
                    <a:spcAft>
                      <a:spcPct val="0"/>
                    </a:spcAft>
                    <a:defRPr kumimoji="1" kern="1200">
                      <a:solidFill>
                        <a:schemeClr val="tx1"/>
                      </a:solidFill>
                      <a:latin typeface="Arial" charset="0"/>
                      <a:ea typeface="굴림" pitchFamily="50" charset="-127"/>
                      <a:cs typeface="+mn-cs"/>
                    </a:defRPr>
                  </a:lvl5pPr>
                  <a:lvl6pPr marL="2286000" algn="l" defTabSz="914400" rtl="0" eaLnBrk="1" latinLnBrk="1" hangingPunct="1">
                    <a:defRPr kumimoji="1" kern="1200">
                      <a:solidFill>
                        <a:schemeClr val="tx1"/>
                      </a:solidFill>
                      <a:latin typeface="Arial" charset="0"/>
                      <a:ea typeface="굴림" pitchFamily="50" charset="-127"/>
                      <a:cs typeface="+mn-cs"/>
                    </a:defRPr>
                  </a:lvl6pPr>
                  <a:lvl7pPr marL="2743200" algn="l" defTabSz="914400" rtl="0" eaLnBrk="1" latinLnBrk="1" hangingPunct="1">
                    <a:defRPr kumimoji="1" kern="1200">
                      <a:solidFill>
                        <a:schemeClr val="tx1"/>
                      </a:solidFill>
                      <a:latin typeface="Arial" charset="0"/>
                      <a:ea typeface="굴림" pitchFamily="50" charset="-127"/>
                      <a:cs typeface="+mn-cs"/>
                    </a:defRPr>
                  </a:lvl7pPr>
                  <a:lvl8pPr marL="3200400" algn="l" defTabSz="914400" rtl="0" eaLnBrk="1" latinLnBrk="1" hangingPunct="1">
                    <a:defRPr kumimoji="1" kern="1200">
                      <a:solidFill>
                        <a:schemeClr val="tx1"/>
                      </a:solidFill>
                      <a:latin typeface="Arial" charset="0"/>
                      <a:ea typeface="굴림" pitchFamily="50" charset="-127"/>
                      <a:cs typeface="+mn-cs"/>
                    </a:defRPr>
                  </a:lvl8pPr>
                  <a:lvl9pPr marL="3657600" algn="l" defTabSz="914400" rtl="0" eaLnBrk="1" latinLnBrk="1" hangingPunct="1">
                    <a:defRPr kumimoji="1" kern="1200">
                      <a:solidFill>
                        <a:schemeClr val="tx1"/>
                      </a:solidFill>
                      <a:latin typeface="Arial" charset="0"/>
                      <a:ea typeface="굴림" pitchFamily="50" charset="-127"/>
                      <a:cs typeface="+mn-cs"/>
                    </a:defRPr>
                  </a:lvl9pPr>
                </a:lstStyle>
                <a:p>
                  <a:pPr eaLnBrk="1" hangingPunct="1">
                    <a:defRPr/>
                  </a:pPr>
                  <a:endParaRPr lang="ko-KR" altLang="en-US">
                    <a:solidFill>
                      <a:sysClr val="windowText" lastClr="000000"/>
                    </a:solidFill>
                    <a:latin typeface="Arial" pitchFamily="34" charset="0"/>
                  </a:endParaRPr>
                </a:p>
              </p:txBody>
            </p:sp>
            <p:sp>
              <p:nvSpPr>
                <p:cNvPr id="1148" name="Freeform 31">
                  <a:extLst>
                    <a:ext uri="{FF2B5EF4-FFF2-40B4-BE49-F238E27FC236}">
                      <a16:creationId xmlns:a16="http://schemas.microsoft.com/office/drawing/2014/main" id="{EBCFC4A9-3391-46B4-A379-70149F64FAFB}"/>
                    </a:ext>
                  </a:extLst>
                </p:cNvPr>
                <p:cNvSpPr>
                  <a:spLocks/>
                </p:cNvSpPr>
                <p:nvPr/>
              </p:nvSpPr>
              <p:spPr bwMode="auto">
                <a:xfrm>
                  <a:off x="3948108" y="5138746"/>
                  <a:ext cx="157163" cy="114300"/>
                </a:xfrm>
                <a:custGeom>
                  <a:avLst/>
                  <a:gdLst/>
                  <a:ahLst/>
                  <a:cxnLst>
                    <a:cxn ang="0">
                      <a:pos x="151" y="144"/>
                    </a:cxn>
                    <a:cxn ang="0">
                      <a:pos x="198" y="32"/>
                    </a:cxn>
                    <a:cxn ang="0">
                      <a:pos x="48" y="0"/>
                    </a:cxn>
                    <a:cxn ang="0">
                      <a:pos x="0" y="112"/>
                    </a:cxn>
                    <a:cxn ang="0">
                      <a:pos x="151" y="144"/>
                    </a:cxn>
                  </a:cxnLst>
                  <a:rect l="0" t="0" r="r" b="b"/>
                  <a:pathLst>
                    <a:path w="198" h="144">
                      <a:moveTo>
                        <a:pt x="151" y="144"/>
                      </a:moveTo>
                      <a:lnTo>
                        <a:pt x="198" y="32"/>
                      </a:lnTo>
                      <a:lnTo>
                        <a:pt x="48" y="0"/>
                      </a:lnTo>
                      <a:lnTo>
                        <a:pt x="0" y="112"/>
                      </a:lnTo>
                      <a:lnTo>
                        <a:pt x="151" y="144"/>
                      </a:lnTo>
                      <a:close/>
                    </a:path>
                  </a:pathLst>
                </a:custGeom>
                <a:grpFill/>
                <a:ln w="9525">
                  <a:noFill/>
                  <a:round/>
                  <a:headEnd/>
                  <a:tailEnd/>
                </a:ln>
              </p:spPr>
              <p:txBody>
                <a:bodyPr/>
                <a:lstStyle>
                  <a:defPPr>
                    <a:defRPr lang="en-GB"/>
                  </a:defPPr>
                  <a:lvl1pPr algn="l" rtl="0" fontAlgn="base" latinLnBrk="1">
                    <a:spcBef>
                      <a:spcPct val="0"/>
                    </a:spcBef>
                    <a:spcAft>
                      <a:spcPct val="0"/>
                    </a:spcAft>
                    <a:defRPr kumimoji="1" kern="1200">
                      <a:solidFill>
                        <a:schemeClr val="tx1"/>
                      </a:solidFill>
                      <a:latin typeface="Arial" charset="0"/>
                      <a:ea typeface="굴림" pitchFamily="50" charset="-127"/>
                      <a:cs typeface="+mn-cs"/>
                    </a:defRPr>
                  </a:lvl1pPr>
                  <a:lvl2pPr marL="457200" algn="l" rtl="0" fontAlgn="base" latinLnBrk="1">
                    <a:spcBef>
                      <a:spcPct val="0"/>
                    </a:spcBef>
                    <a:spcAft>
                      <a:spcPct val="0"/>
                    </a:spcAft>
                    <a:defRPr kumimoji="1" kern="1200">
                      <a:solidFill>
                        <a:schemeClr val="tx1"/>
                      </a:solidFill>
                      <a:latin typeface="Arial" charset="0"/>
                      <a:ea typeface="굴림" pitchFamily="50" charset="-127"/>
                      <a:cs typeface="+mn-cs"/>
                    </a:defRPr>
                  </a:lvl2pPr>
                  <a:lvl3pPr marL="914400" algn="l" rtl="0" fontAlgn="base" latinLnBrk="1">
                    <a:spcBef>
                      <a:spcPct val="0"/>
                    </a:spcBef>
                    <a:spcAft>
                      <a:spcPct val="0"/>
                    </a:spcAft>
                    <a:defRPr kumimoji="1" kern="1200">
                      <a:solidFill>
                        <a:schemeClr val="tx1"/>
                      </a:solidFill>
                      <a:latin typeface="Arial" charset="0"/>
                      <a:ea typeface="굴림" pitchFamily="50" charset="-127"/>
                      <a:cs typeface="+mn-cs"/>
                    </a:defRPr>
                  </a:lvl3pPr>
                  <a:lvl4pPr marL="1371600" algn="l" rtl="0" fontAlgn="base" latinLnBrk="1">
                    <a:spcBef>
                      <a:spcPct val="0"/>
                    </a:spcBef>
                    <a:spcAft>
                      <a:spcPct val="0"/>
                    </a:spcAft>
                    <a:defRPr kumimoji="1" kern="1200">
                      <a:solidFill>
                        <a:schemeClr val="tx1"/>
                      </a:solidFill>
                      <a:latin typeface="Arial" charset="0"/>
                      <a:ea typeface="굴림" pitchFamily="50" charset="-127"/>
                      <a:cs typeface="+mn-cs"/>
                    </a:defRPr>
                  </a:lvl4pPr>
                  <a:lvl5pPr marL="1828800" algn="l" rtl="0" fontAlgn="base" latinLnBrk="1">
                    <a:spcBef>
                      <a:spcPct val="0"/>
                    </a:spcBef>
                    <a:spcAft>
                      <a:spcPct val="0"/>
                    </a:spcAft>
                    <a:defRPr kumimoji="1" kern="1200">
                      <a:solidFill>
                        <a:schemeClr val="tx1"/>
                      </a:solidFill>
                      <a:latin typeface="Arial" charset="0"/>
                      <a:ea typeface="굴림" pitchFamily="50" charset="-127"/>
                      <a:cs typeface="+mn-cs"/>
                    </a:defRPr>
                  </a:lvl5pPr>
                  <a:lvl6pPr marL="2286000" algn="l" defTabSz="914400" rtl="0" eaLnBrk="1" latinLnBrk="1" hangingPunct="1">
                    <a:defRPr kumimoji="1" kern="1200">
                      <a:solidFill>
                        <a:schemeClr val="tx1"/>
                      </a:solidFill>
                      <a:latin typeface="Arial" charset="0"/>
                      <a:ea typeface="굴림" pitchFamily="50" charset="-127"/>
                      <a:cs typeface="+mn-cs"/>
                    </a:defRPr>
                  </a:lvl6pPr>
                  <a:lvl7pPr marL="2743200" algn="l" defTabSz="914400" rtl="0" eaLnBrk="1" latinLnBrk="1" hangingPunct="1">
                    <a:defRPr kumimoji="1" kern="1200">
                      <a:solidFill>
                        <a:schemeClr val="tx1"/>
                      </a:solidFill>
                      <a:latin typeface="Arial" charset="0"/>
                      <a:ea typeface="굴림" pitchFamily="50" charset="-127"/>
                      <a:cs typeface="+mn-cs"/>
                    </a:defRPr>
                  </a:lvl7pPr>
                  <a:lvl8pPr marL="3200400" algn="l" defTabSz="914400" rtl="0" eaLnBrk="1" latinLnBrk="1" hangingPunct="1">
                    <a:defRPr kumimoji="1" kern="1200">
                      <a:solidFill>
                        <a:schemeClr val="tx1"/>
                      </a:solidFill>
                      <a:latin typeface="Arial" charset="0"/>
                      <a:ea typeface="굴림" pitchFamily="50" charset="-127"/>
                      <a:cs typeface="+mn-cs"/>
                    </a:defRPr>
                  </a:lvl8pPr>
                  <a:lvl9pPr marL="3657600" algn="l" defTabSz="914400" rtl="0" eaLnBrk="1" latinLnBrk="1" hangingPunct="1">
                    <a:defRPr kumimoji="1" kern="1200">
                      <a:solidFill>
                        <a:schemeClr val="tx1"/>
                      </a:solidFill>
                      <a:latin typeface="Arial" charset="0"/>
                      <a:ea typeface="굴림" pitchFamily="50" charset="-127"/>
                      <a:cs typeface="+mn-cs"/>
                    </a:defRPr>
                  </a:lvl9pPr>
                </a:lstStyle>
                <a:p>
                  <a:pPr eaLnBrk="1" hangingPunct="1">
                    <a:defRPr/>
                  </a:pPr>
                  <a:endParaRPr lang="ko-KR" altLang="en-US">
                    <a:solidFill>
                      <a:sysClr val="windowText" lastClr="000000"/>
                    </a:solidFill>
                    <a:latin typeface="Arial" pitchFamily="34" charset="0"/>
                  </a:endParaRPr>
                </a:p>
              </p:txBody>
            </p:sp>
          </p:grpSp>
          <p:grpSp>
            <p:nvGrpSpPr>
              <p:cNvPr id="87544" name="그룹 1126">
                <a:extLst>
                  <a:ext uri="{FF2B5EF4-FFF2-40B4-BE49-F238E27FC236}">
                    <a16:creationId xmlns:a16="http://schemas.microsoft.com/office/drawing/2014/main" id="{69C72382-CCD9-4FDA-A87A-E90A342DD9ED}"/>
                  </a:ext>
                </a:extLst>
              </p:cNvPr>
              <p:cNvGrpSpPr>
                <a:grpSpLocks/>
              </p:cNvGrpSpPr>
              <p:nvPr/>
            </p:nvGrpSpPr>
            <p:grpSpPr bwMode="auto">
              <a:xfrm>
                <a:off x="4284234" y="2465242"/>
                <a:ext cx="90577" cy="50877"/>
                <a:chOff x="3929058" y="5124458"/>
                <a:chExt cx="250191" cy="142875"/>
              </a:xfrm>
            </p:grpSpPr>
            <p:sp>
              <p:nvSpPr>
                <p:cNvPr id="87560" name="Freeform 30">
                  <a:extLst>
                    <a:ext uri="{FF2B5EF4-FFF2-40B4-BE49-F238E27FC236}">
                      <a16:creationId xmlns:a16="http://schemas.microsoft.com/office/drawing/2014/main" id="{71A9800B-EFED-44B5-880D-D6F1BFE38C8D}"/>
                    </a:ext>
                  </a:extLst>
                </p:cNvPr>
                <p:cNvSpPr>
                  <a:spLocks/>
                </p:cNvSpPr>
                <p:nvPr/>
              </p:nvSpPr>
              <p:spPr bwMode="auto">
                <a:xfrm>
                  <a:off x="3929058" y="5124458"/>
                  <a:ext cx="196850" cy="142875"/>
                </a:xfrm>
                <a:custGeom>
                  <a:avLst/>
                  <a:gdLst>
                    <a:gd name="T0" fmla="*/ 2147483646 w 247"/>
                    <a:gd name="T1" fmla="*/ 2147483646 h 180"/>
                    <a:gd name="T2" fmla="*/ 2147483646 w 247"/>
                    <a:gd name="T3" fmla="*/ 2147483646 h 180"/>
                    <a:gd name="T4" fmla="*/ 2147483646 w 247"/>
                    <a:gd name="T5" fmla="*/ 0 h 180"/>
                    <a:gd name="T6" fmla="*/ 0 w 247"/>
                    <a:gd name="T7" fmla="*/ 2147483646 h 180"/>
                    <a:gd name="T8" fmla="*/ 2147483646 w 247"/>
                    <a:gd name="T9" fmla="*/ 2147483646 h 180"/>
                    <a:gd name="T10" fmla="*/ 0 60000 65536"/>
                    <a:gd name="T11" fmla="*/ 0 60000 65536"/>
                    <a:gd name="T12" fmla="*/ 0 60000 65536"/>
                    <a:gd name="T13" fmla="*/ 0 60000 65536"/>
                    <a:gd name="T14" fmla="*/ 0 60000 65536"/>
                    <a:gd name="T15" fmla="*/ 0 w 247"/>
                    <a:gd name="T16" fmla="*/ 0 h 180"/>
                    <a:gd name="T17" fmla="*/ 247 w 247"/>
                    <a:gd name="T18" fmla="*/ 180 h 180"/>
                  </a:gdLst>
                  <a:ahLst/>
                  <a:cxnLst>
                    <a:cxn ang="T10">
                      <a:pos x="T0" y="T1"/>
                    </a:cxn>
                    <a:cxn ang="T11">
                      <a:pos x="T2" y="T3"/>
                    </a:cxn>
                    <a:cxn ang="T12">
                      <a:pos x="T4" y="T5"/>
                    </a:cxn>
                    <a:cxn ang="T13">
                      <a:pos x="T6" y="T7"/>
                    </a:cxn>
                    <a:cxn ang="T14">
                      <a:pos x="T8" y="T9"/>
                    </a:cxn>
                  </a:cxnLst>
                  <a:rect l="T15" t="T16" r="T17" b="T18"/>
                  <a:pathLst>
                    <a:path w="247" h="180">
                      <a:moveTo>
                        <a:pt x="187" y="180"/>
                      </a:moveTo>
                      <a:lnTo>
                        <a:pt x="247" y="40"/>
                      </a:lnTo>
                      <a:lnTo>
                        <a:pt x="58" y="0"/>
                      </a:lnTo>
                      <a:lnTo>
                        <a:pt x="0" y="140"/>
                      </a:lnTo>
                      <a:lnTo>
                        <a:pt x="187"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61" name="Freeform 31">
                  <a:extLst>
                    <a:ext uri="{FF2B5EF4-FFF2-40B4-BE49-F238E27FC236}">
                      <a16:creationId xmlns:a16="http://schemas.microsoft.com/office/drawing/2014/main" id="{2EFC5EE3-ECAF-4595-9E7C-F58B4783DF5C}"/>
                    </a:ext>
                  </a:extLst>
                </p:cNvPr>
                <p:cNvSpPr>
                  <a:spLocks/>
                </p:cNvSpPr>
                <p:nvPr/>
              </p:nvSpPr>
              <p:spPr bwMode="auto">
                <a:xfrm>
                  <a:off x="3945159" y="5140027"/>
                  <a:ext cx="234090" cy="114401"/>
                </a:xfrm>
                <a:custGeom>
                  <a:avLst/>
                  <a:gdLst>
                    <a:gd name="T0" fmla="*/ 2147483646 w 198"/>
                    <a:gd name="T1" fmla="*/ 2147483646 h 144"/>
                    <a:gd name="T2" fmla="*/ 2147483646 w 198"/>
                    <a:gd name="T3" fmla="*/ 2147483646 h 144"/>
                    <a:gd name="T4" fmla="*/ 2147483646 w 198"/>
                    <a:gd name="T5" fmla="*/ 0 h 144"/>
                    <a:gd name="T6" fmla="*/ 0 w 198"/>
                    <a:gd name="T7" fmla="*/ 2147483646 h 144"/>
                    <a:gd name="T8" fmla="*/ 2147483646 w 198"/>
                    <a:gd name="T9" fmla="*/ 2147483646 h 144"/>
                    <a:gd name="T10" fmla="*/ 0 60000 65536"/>
                    <a:gd name="T11" fmla="*/ 0 60000 65536"/>
                    <a:gd name="T12" fmla="*/ 0 60000 65536"/>
                    <a:gd name="T13" fmla="*/ 0 60000 65536"/>
                    <a:gd name="T14" fmla="*/ 0 60000 65536"/>
                    <a:gd name="T15" fmla="*/ 0 w 198"/>
                    <a:gd name="T16" fmla="*/ 0 h 144"/>
                    <a:gd name="T17" fmla="*/ 198 w 198"/>
                    <a:gd name="T18" fmla="*/ 144 h 144"/>
                  </a:gdLst>
                  <a:ahLst/>
                  <a:cxnLst>
                    <a:cxn ang="T10">
                      <a:pos x="T0" y="T1"/>
                    </a:cxn>
                    <a:cxn ang="T11">
                      <a:pos x="T2" y="T3"/>
                    </a:cxn>
                    <a:cxn ang="T12">
                      <a:pos x="T4" y="T5"/>
                    </a:cxn>
                    <a:cxn ang="T13">
                      <a:pos x="T6" y="T7"/>
                    </a:cxn>
                    <a:cxn ang="T14">
                      <a:pos x="T8" y="T9"/>
                    </a:cxn>
                  </a:cxnLst>
                  <a:rect l="T15" t="T16" r="T17" b="T18"/>
                  <a:pathLst>
                    <a:path w="198" h="144">
                      <a:moveTo>
                        <a:pt x="151" y="144"/>
                      </a:moveTo>
                      <a:lnTo>
                        <a:pt x="198" y="32"/>
                      </a:lnTo>
                      <a:lnTo>
                        <a:pt x="48" y="0"/>
                      </a:lnTo>
                      <a:lnTo>
                        <a:pt x="0" y="112"/>
                      </a:lnTo>
                      <a:lnTo>
                        <a:pt x="151" y="14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87545" name="그룹 1127">
                <a:extLst>
                  <a:ext uri="{FF2B5EF4-FFF2-40B4-BE49-F238E27FC236}">
                    <a16:creationId xmlns:a16="http://schemas.microsoft.com/office/drawing/2014/main" id="{E5517067-B518-4806-9EF7-627425FCD4AC}"/>
                  </a:ext>
                </a:extLst>
              </p:cNvPr>
              <p:cNvGrpSpPr>
                <a:grpSpLocks/>
              </p:cNvGrpSpPr>
              <p:nvPr/>
            </p:nvGrpSpPr>
            <p:grpSpPr bwMode="auto">
              <a:xfrm>
                <a:off x="4269162" y="2498937"/>
                <a:ext cx="71266" cy="50877"/>
                <a:chOff x="3929058" y="5124458"/>
                <a:chExt cx="196850" cy="142875"/>
              </a:xfrm>
            </p:grpSpPr>
            <p:sp>
              <p:nvSpPr>
                <p:cNvPr id="87558" name="Freeform 30">
                  <a:extLst>
                    <a:ext uri="{FF2B5EF4-FFF2-40B4-BE49-F238E27FC236}">
                      <a16:creationId xmlns:a16="http://schemas.microsoft.com/office/drawing/2014/main" id="{DEB70BF4-96AA-4549-9A99-1710A6D14CD3}"/>
                    </a:ext>
                  </a:extLst>
                </p:cNvPr>
                <p:cNvSpPr>
                  <a:spLocks/>
                </p:cNvSpPr>
                <p:nvPr/>
              </p:nvSpPr>
              <p:spPr bwMode="auto">
                <a:xfrm>
                  <a:off x="3929058" y="5124458"/>
                  <a:ext cx="196850" cy="142875"/>
                </a:xfrm>
                <a:custGeom>
                  <a:avLst/>
                  <a:gdLst>
                    <a:gd name="T0" fmla="*/ 2147483646 w 247"/>
                    <a:gd name="T1" fmla="*/ 2147483646 h 180"/>
                    <a:gd name="T2" fmla="*/ 2147483646 w 247"/>
                    <a:gd name="T3" fmla="*/ 2147483646 h 180"/>
                    <a:gd name="T4" fmla="*/ 2147483646 w 247"/>
                    <a:gd name="T5" fmla="*/ 0 h 180"/>
                    <a:gd name="T6" fmla="*/ 0 w 247"/>
                    <a:gd name="T7" fmla="*/ 2147483646 h 180"/>
                    <a:gd name="T8" fmla="*/ 2147483646 w 247"/>
                    <a:gd name="T9" fmla="*/ 2147483646 h 180"/>
                    <a:gd name="T10" fmla="*/ 0 60000 65536"/>
                    <a:gd name="T11" fmla="*/ 0 60000 65536"/>
                    <a:gd name="T12" fmla="*/ 0 60000 65536"/>
                    <a:gd name="T13" fmla="*/ 0 60000 65536"/>
                    <a:gd name="T14" fmla="*/ 0 60000 65536"/>
                    <a:gd name="T15" fmla="*/ 0 w 247"/>
                    <a:gd name="T16" fmla="*/ 0 h 180"/>
                    <a:gd name="T17" fmla="*/ 247 w 247"/>
                    <a:gd name="T18" fmla="*/ 180 h 180"/>
                  </a:gdLst>
                  <a:ahLst/>
                  <a:cxnLst>
                    <a:cxn ang="T10">
                      <a:pos x="T0" y="T1"/>
                    </a:cxn>
                    <a:cxn ang="T11">
                      <a:pos x="T2" y="T3"/>
                    </a:cxn>
                    <a:cxn ang="T12">
                      <a:pos x="T4" y="T5"/>
                    </a:cxn>
                    <a:cxn ang="T13">
                      <a:pos x="T6" y="T7"/>
                    </a:cxn>
                    <a:cxn ang="T14">
                      <a:pos x="T8" y="T9"/>
                    </a:cxn>
                  </a:cxnLst>
                  <a:rect l="T15" t="T16" r="T17" b="T18"/>
                  <a:pathLst>
                    <a:path w="247" h="180">
                      <a:moveTo>
                        <a:pt x="187" y="180"/>
                      </a:moveTo>
                      <a:lnTo>
                        <a:pt x="247" y="40"/>
                      </a:lnTo>
                      <a:lnTo>
                        <a:pt x="58" y="0"/>
                      </a:lnTo>
                      <a:lnTo>
                        <a:pt x="0" y="140"/>
                      </a:lnTo>
                      <a:lnTo>
                        <a:pt x="187"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59" name="Freeform 31">
                  <a:extLst>
                    <a:ext uri="{FF2B5EF4-FFF2-40B4-BE49-F238E27FC236}">
                      <a16:creationId xmlns:a16="http://schemas.microsoft.com/office/drawing/2014/main" id="{1A687E9A-8CC7-42AE-9DC8-611E69C24F52}"/>
                    </a:ext>
                  </a:extLst>
                </p:cNvPr>
                <p:cNvSpPr>
                  <a:spLocks/>
                </p:cNvSpPr>
                <p:nvPr/>
              </p:nvSpPr>
              <p:spPr bwMode="auto">
                <a:xfrm>
                  <a:off x="3968795" y="5139911"/>
                  <a:ext cx="135051" cy="114398"/>
                </a:xfrm>
                <a:custGeom>
                  <a:avLst/>
                  <a:gdLst>
                    <a:gd name="T0" fmla="*/ 2147483646 w 198"/>
                    <a:gd name="T1" fmla="*/ 2147483646 h 144"/>
                    <a:gd name="T2" fmla="*/ 2147483646 w 198"/>
                    <a:gd name="T3" fmla="*/ 2147483646 h 144"/>
                    <a:gd name="T4" fmla="*/ 2147483646 w 198"/>
                    <a:gd name="T5" fmla="*/ 0 h 144"/>
                    <a:gd name="T6" fmla="*/ 0 w 198"/>
                    <a:gd name="T7" fmla="*/ 2147483646 h 144"/>
                    <a:gd name="T8" fmla="*/ 2147483646 w 198"/>
                    <a:gd name="T9" fmla="*/ 2147483646 h 144"/>
                    <a:gd name="T10" fmla="*/ 0 60000 65536"/>
                    <a:gd name="T11" fmla="*/ 0 60000 65536"/>
                    <a:gd name="T12" fmla="*/ 0 60000 65536"/>
                    <a:gd name="T13" fmla="*/ 0 60000 65536"/>
                    <a:gd name="T14" fmla="*/ 0 60000 65536"/>
                    <a:gd name="T15" fmla="*/ 0 w 198"/>
                    <a:gd name="T16" fmla="*/ 0 h 144"/>
                    <a:gd name="T17" fmla="*/ 198 w 198"/>
                    <a:gd name="T18" fmla="*/ 144 h 144"/>
                  </a:gdLst>
                  <a:ahLst/>
                  <a:cxnLst>
                    <a:cxn ang="T10">
                      <a:pos x="T0" y="T1"/>
                    </a:cxn>
                    <a:cxn ang="T11">
                      <a:pos x="T2" y="T3"/>
                    </a:cxn>
                    <a:cxn ang="T12">
                      <a:pos x="T4" y="T5"/>
                    </a:cxn>
                    <a:cxn ang="T13">
                      <a:pos x="T6" y="T7"/>
                    </a:cxn>
                    <a:cxn ang="T14">
                      <a:pos x="T8" y="T9"/>
                    </a:cxn>
                  </a:cxnLst>
                  <a:rect l="T15" t="T16" r="T17" b="T18"/>
                  <a:pathLst>
                    <a:path w="198" h="144">
                      <a:moveTo>
                        <a:pt x="151" y="144"/>
                      </a:moveTo>
                      <a:lnTo>
                        <a:pt x="198" y="32"/>
                      </a:lnTo>
                      <a:lnTo>
                        <a:pt x="48" y="0"/>
                      </a:lnTo>
                      <a:lnTo>
                        <a:pt x="0" y="112"/>
                      </a:lnTo>
                      <a:lnTo>
                        <a:pt x="151" y="14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26" name="그룹 1128">
                <a:extLst>
                  <a:ext uri="{FF2B5EF4-FFF2-40B4-BE49-F238E27FC236}">
                    <a16:creationId xmlns:a16="http://schemas.microsoft.com/office/drawing/2014/main" id="{E1694FAC-5531-4395-A2B8-22AA700CAE6D}"/>
                  </a:ext>
                </a:extLst>
              </p:cNvPr>
              <p:cNvGrpSpPr/>
              <p:nvPr/>
            </p:nvGrpSpPr>
            <p:grpSpPr>
              <a:xfrm>
                <a:off x="4252643" y="2535004"/>
                <a:ext cx="71266" cy="50877"/>
                <a:chOff x="3929058" y="5124458"/>
                <a:chExt cx="196850" cy="142875"/>
              </a:xfrm>
              <a:solidFill>
                <a:srgbClr val="FFFF00"/>
              </a:solidFill>
            </p:grpSpPr>
            <p:sp>
              <p:nvSpPr>
                <p:cNvPr id="1141" name="Freeform 30">
                  <a:extLst>
                    <a:ext uri="{FF2B5EF4-FFF2-40B4-BE49-F238E27FC236}">
                      <a16:creationId xmlns:a16="http://schemas.microsoft.com/office/drawing/2014/main" id="{1F4DE56F-8FF3-475D-B1A8-EAA13C52F4F1}"/>
                    </a:ext>
                  </a:extLst>
                </p:cNvPr>
                <p:cNvSpPr>
                  <a:spLocks/>
                </p:cNvSpPr>
                <p:nvPr/>
              </p:nvSpPr>
              <p:spPr bwMode="auto">
                <a:xfrm>
                  <a:off x="3929058" y="5124458"/>
                  <a:ext cx="196850" cy="142875"/>
                </a:xfrm>
                <a:custGeom>
                  <a:avLst/>
                  <a:gdLst/>
                  <a:ahLst/>
                  <a:cxnLst>
                    <a:cxn ang="0">
                      <a:pos x="187" y="180"/>
                    </a:cxn>
                    <a:cxn ang="0">
                      <a:pos x="247" y="40"/>
                    </a:cxn>
                    <a:cxn ang="0">
                      <a:pos x="58" y="0"/>
                    </a:cxn>
                    <a:cxn ang="0">
                      <a:pos x="0" y="140"/>
                    </a:cxn>
                    <a:cxn ang="0">
                      <a:pos x="187" y="180"/>
                    </a:cxn>
                  </a:cxnLst>
                  <a:rect l="0" t="0" r="r" b="b"/>
                  <a:pathLst>
                    <a:path w="247" h="180">
                      <a:moveTo>
                        <a:pt x="187" y="180"/>
                      </a:moveTo>
                      <a:lnTo>
                        <a:pt x="247" y="40"/>
                      </a:lnTo>
                      <a:lnTo>
                        <a:pt x="58" y="0"/>
                      </a:lnTo>
                      <a:lnTo>
                        <a:pt x="0" y="140"/>
                      </a:lnTo>
                      <a:lnTo>
                        <a:pt x="187" y="180"/>
                      </a:lnTo>
                      <a:close/>
                    </a:path>
                  </a:pathLst>
                </a:custGeom>
                <a:grpFill/>
                <a:ln w="9525">
                  <a:noFill/>
                  <a:round/>
                  <a:headEnd/>
                  <a:tailEnd/>
                </a:ln>
              </p:spPr>
              <p:txBody>
                <a:bodyPr/>
                <a:lstStyle>
                  <a:defPPr>
                    <a:defRPr lang="en-GB"/>
                  </a:defPPr>
                  <a:lvl1pPr algn="l" rtl="0" fontAlgn="base" latinLnBrk="1">
                    <a:spcBef>
                      <a:spcPct val="0"/>
                    </a:spcBef>
                    <a:spcAft>
                      <a:spcPct val="0"/>
                    </a:spcAft>
                    <a:defRPr kumimoji="1" kern="1200">
                      <a:solidFill>
                        <a:schemeClr val="tx1"/>
                      </a:solidFill>
                      <a:latin typeface="Arial" charset="0"/>
                      <a:ea typeface="굴림" pitchFamily="50" charset="-127"/>
                      <a:cs typeface="+mn-cs"/>
                    </a:defRPr>
                  </a:lvl1pPr>
                  <a:lvl2pPr marL="457200" algn="l" rtl="0" fontAlgn="base" latinLnBrk="1">
                    <a:spcBef>
                      <a:spcPct val="0"/>
                    </a:spcBef>
                    <a:spcAft>
                      <a:spcPct val="0"/>
                    </a:spcAft>
                    <a:defRPr kumimoji="1" kern="1200">
                      <a:solidFill>
                        <a:schemeClr val="tx1"/>
                      </a:solidFill>
                      <a:latin typeface="Arial" charset="0"/>
                      <a:ea typeface="굴림" pitchFamily="50" charset="-127"/>
                      <a:cs typeface="+mn-cs"/>
                    </a:defRPr>
                  </a:lvl2pPr>
                  <a:lvl3pPr marL="914400" algn="l" rtl="0" fontAlgn="base" latinLnBrk="1">
                    <a:spcBef>
                      <a:spcPct val="0"/>
                    </a:spcBef>
                    <a:spcAft>
                      <a:spcPct val="0"/>
                    </a:spcAft>
                    <a:defRPr kumimoji="1" kern="1200">
                      <a:solidFill>
                        <a:schemeClr val="tx1"/>
                      </a:solidFill>
                      <a:latin typeface="Arial" charset="0"/>
                      <a:ea typeface="굴림" pitchFamily="50" charset="-127"/>
                      <a:cs typeface="+mn-cs"/>
                    </a:defRPr>
                  </a:lvl3pPr>
                  <a:lvl4pPr marL="1371600" algn="l" rtl="0" fontAlgn="base" latinLnBrk="1">
                    <a:spcBef>
                      <a:spcPct val="0"/>
                    </a:spcBef>
                    <a:spcAft>
                      <a:spcPct val="0"/>
                    </a:spcAft>
                    <a:defRPr kumimoji="1" kern="1200">
                      <a:solidFill>
                        <a:schemeClr val="tx1"/>
                      </a:solidFill>
                      <a:latin typeface="Arial" charset="0"/>
                      <a:ea typeface="굴림" pitchFamily="50" charset="-127"/>
                      <a:cs typeface="+mn-cs"/>
                    </a:defRPr>
                  </a:lvl4pPr>
                  <a:lvl5pPr marL="1828800" algn="l" rtl="0" fontAlgn="base" latinLnBrk="1">
                    <a:spcBef>
                      <a:spcPct val="0"/>
                    </a:spcBef>
                    <a:spcAft>
                      <a:spcPct val="0"/>
                    </a:spcAft>
                    <a:defRPr kumimoji="1" kern="1200">
                      <a:solidFill>
                        <a:schemeClr val="tx1"/>
                      </a:solidFill>
                      <a:latin typeface="Arial" charset="0"/>
                      <a:ea typeface="굴림" pitchFamily="50" charset="-127"/>
                      <a:cs typeface="+mn-cs"/>
                    </a:defRPr>
                  </a:lvl5pPr>
                  <a:lvl6pPr marL="2286000" algn="l" defTabSz="914400" rtl="0" eaLnBrk="1" latinLnBrk="1" hangingPunct="1">
                    <a:defRPr kumimoji="1" kern="1200">
                      <a:solidFill>
                        <a:schemeClr val="tx1"/>
                      </a:solidFill>
                      <a:latin typeface="Arial" charset="0"/>
                      <a:ea typeface="굴림" pitchFamily="50" charset="-127"/>
                      <a:cs typeface="+mn-cs"/>
                    </a:defRPr>
                  </a:lvl6pPr>
                  <a:lvl7pPr marL="2743200" algn="l" defTabSz="914400" rtl="0" eaLnBrk="1" latinLnBrk="1" hangingPunct="1">
                    <a:defRPr kumimoji="1" kern="1200">
                      <a:solidFill>
                        <a:schemeClr val="tx1"/>
                      </a:solidFill>
                      <a:latin typeface="Arial" charset="0"/>
                      <a:ea typeface="굴림" pitchFamily="50" charset="-127"/>
                      <a:cs typeface="+mn-cs"/>
                    </a:defRPr>
                  </a:lvl7pPr>
                  <a:lvl8pPr marL="3200400" algn="l" defTabSz="914400" rtl="0" eaLnBrk="1" latinLnBrk="1" hangingPunct="1">
                    <a:defRPr kumimoji="1" kern="1200">
                      <a:solidFill>
                        <a:schemeClr val="tx1"/>
                      </a:solidFill>
                      <a:latin typeface="Arial" charset="0"/>
                      <a:ea typeface="굴림" pitchFamily="50" charset="-127"/>
                      <a:cs typeface="+mn-cs"/>
                    </a:defRPr>
                  </a:lvl8pPr>
                  <a:lvl9pPr marL="3657600" algn="l" defTabSz="914400" rtl="0" eaLnBrk="1" latinLnBrk="1" hangingPunct="1">
                    <a:defRPr kumimoji="1" kern="1200">
                      <a:solidFill>
                        <a:schemeClr val="tx1"/>
                      </a:solidFill>
                      <a:latin typeface="Arial" charset="0"/>
                      <a:ea typeface="굴림" pitchFamily="50" charset="-127"/>
                      <a:cs typeface="+mn-cs"/>
                    </a:defRPr>
                  </a:lvl9pPr>
                </a:lstStyle>
                <a:p>
                  <a:pPr eaLnBrk="1" hangingPunct="1">
                    <a:defRPr/>
                  </a:pPr>
                  <a:endParaRPr lang="ko-KR" altLang="en-US">
                    <a:solidFill>
                      <a:sysClr val="windowText" lastClr="000000"/>
                    </a:solidFill>
                    <a:latin typeface="Arial" pitchFamily="34" charset="0"/>
                  </a:endParaRPr>
                </a:p>
              </p:txBody>
            </p:sp>
            <p:sp>
              <p:nvSpPr>
                <p:cNvPr id="1142" name="Freeform 31">
                  <a:extLst>
                    <a:ext uri="{FF2B5EF4-FFF2-40B4-BE49-F238E27FC236}">
                      <a16:creationId xmlns:a16="http://schemas.microsoft.com/office/drawing/2014/main" id="{445B94C1-C795-4AA9-B64A-424888FA0EC4}"/>
                    </a:ext>
                  </a:extLst>
                </p:cNvPr>
                <p:cNvSpPr>
                  <a:spLocks/>
                </p:cNvSpPr>
                <p:nvPr/>
              </p:nvSpPr>
              <p:spPr bwMode="auto">
                <a:xfrm>
                  <a:off x="3948108" y="5138746"/>
                  <a:ext cx="157163" cy="114300"/>
                </a:xfrm>
                <a:custGeom>
                  <a:avLst/>
                  <a:gdLst/>
                  <a:ahLst/>
                  <a:cxnLst>
                    <a:cxn ang="0">
                      <a:pos x="151" y="144"/>
                    </a:cxn>
                    <a:cxn ang="0">
                      <a:pos x="198" y="32"/>
                    </a:cxn>
                    <a:cxn ang="0">
                      <a:pos x="48" y="0"/>
                    </a:cxn>
                    <a:cxn ang="0">
                      <a:pos x="0" y="112"/>
                    </a:cxn>
                    <a:cxn ang="0">
                      <a:pos x="151" y="144"/>
                    </a:cxn>
                  </a:cxnLst>
                  <a:rect l="0" t="0" r="r" b="b"/>
                  <a:pathLst>
                    <a:path w="198" h="144">
                      <a:moveTo>
                        <a:pt x="151" y="144"/>
                      </a:moveTo>
                      <a:lnTo>
                        <a:pt x="198" y="32"/>
                      </a:lnTo>
                      <a:lnTo>
                        <a:pt x="48" y="0"/>
                      </a:lnTo>
                      <a:lnTo>
                        <a:pt x="0" y="112"/>
                      </a:lnTo>
                      <a:lnTo>
                        <a:pt x="151" y="144"/>
                      </a:lnTo>
                      <a:close/>
                    </a:path>
                  </a:pathLst>
                </a:custGeom>
                <a:grpFill/>
                <a:ln w="9525">
                  <a:noFill/>
                  <a:round/>
                  <a:headEnd/>
                  <a:tailEnd/>
                </a:ln>
              </p:spPr>
              <p:txBody>
                <a:bodyPr/>
                <a:lstStyle>
                  <a:defPPr>
                    <a:defRPr lang="en-GB"/>
                  </a:defPPr>
                  <a:lvl1pPr algn="l" rtl="0" fontAlgn="base" latinLnBrk="1">
                    <a:spcBef>
                      <a:spcPct val="0"/>
                    </a:spcBef>
                    <a:spcAft>
                      <a:spcPct val="0"/>
                    </a:spcAft>
                    <a:defRPr kumimoji="1" kern="1200">
                      <a:solidFill>
                        <a:schemeClr val="tx1"/>
                      </a:solidFill>
                      <a:latin typeface="Arial" charset="0"/>
                      <a:ea typeface="굴림" pitchFamily="50" charset="-127"/>
                      <a:cs typeface="+mn-cs"/>
                    </a:defRPr>
                  </a:lvl1pPr>
                  <a:lvl2pPr marL="457200" algn="l" rtl="0" fontAlgn="base" latinLnBrk="1">
                    <a:spcBef>
                      <a:spcPct val="0"/>
                    </a:spcBef>
                    <a:spcAft>
                      <a:spcPct val="0"/>
                    </a:spcAft>
                    <a:defRPr kumimoji="1" kern="1200">
                      <a:solidFill>
                        <a:schemeClr val="tx1"/>
                      </a:solidFill>
                      <a:latin typeface="Arial" charset="0"/>
                      <a:ea typeface="굴림" pitchFamily="50" charset="-127"/>
                      <a:cs typeface="+mn-cs"/>
                    </a:defRPr>
                  </a:lvl2pPr>
                  <a:lvl3pPr marL="914400" algn="l" rtl="0" fontAlgn="base" latinLnBrk="1">
                    <a:spcBef>
                      <a:spcPct val="0"/>
                    </a:spcBef>
                    <a:spcAft>
                      <a:spcPct val="0"/>
                    </a:spcAft>
                    <a:defRPr kumimoji="1" kern="1200">
                      <a:solidFill>
                        <a:schemeClr val="tx1"/>
                      </a:solidFill>
                      <a:latin typeface="Arial" charset="0"/>
                      <a:ea typeface="굴림" pitchFamily="50" charset="-127"/>
                      <a:cs typeface="+mn-cs"/>
                    </a:defRPr>
                  </a:lvl3pPr>
                  <a:lvl4pPr marL="1371600" algn="l" rtl="0" fontAlgn="base" latinLnBrk="1">
                    <a:spcBef>
                      <a:spcPct val="0"/>
                    </a:spcBef>
                    <a:spcAft>
                      <a:spcPct val="0"/>
                    </a:spcAft>
                    <a:defRPr kumimoji="1" kern="1200">
                      <a:solidFill>
                        <a:schemeClr val="tx1"/>
                      </a:solidFill>
                      <a:latin typeface="Arial" charset="0"/>
                      <a:ea typeface="굴림" pitchFamily="50" charset="-127"/>
                      <a:cs typeface="+mn-cs"/>
                    </a:defRPr>
                  </a:lvl4pPr>
                  <a:lvl5pPr marL="1828800" algn="l" rtl="0" fontAlgn="base" latinLnBrk="1">
                    <a:spcBef>
                      <a:spcPct val="0"/>
                    </a:spcBef>
                    <a:spcAft>
                      <a:spcPct val="0"/>
                    </a:spcAft>
                    <a:defRPr kumimoji="1" kern="1200">
                      <a:solidFill>
                        <a:schemeClr val="tx1"/>
                      </a:solidFill>
                      <a:latin typeface="Arial" charset="0"/>
                      <a:ea typeface="굴림" pitchFamily="50" charset="-127"/>
                      <a:cs typeface="+mn-cs"/>
                    </a:defRPr>
                  </a:lvl5pPr>
                  <a:lvl6pPr marL="2286000" algn="l" defTabSz="914400" rtl="0" eaLnBrk="1" latinLnBrk="1" hangingPunct="1">
                    <a:defRPr kumimoji="1" kern="1200">
                      <a:solidFill>
                        <a:schemeClr val="tx1"/>
                      </a:solidFill>
                      <a:latin typeface="Arial" charset="0"/>
                      <a:ea typeface="굴림" pitchFamily="50" charset="-127"/>
                      <a:cs typeface="+mn-cs"/>
                    </a:defRPr>
                  </a:lvl6pPr>
                  <a:lvl7pPr marL="2743200" algn="l" defTabSz="914400" rtl="0" eaLnBrk="1" latinLnBrk="1" hangingPunct="1">
                    <a:defRPr kumimoji="1" kern="1200">
                      <a:solidFill>
                        <a:schemeClr val="tx1"/>
                      </a:solidFill>
                      <a:latin typeface="Arial" charset="0"/>
                      <a:ea typeface="굴림" pitchFamily="50" charset="-127"/>
                      <a:cs typeface="+mn-cs"/>
                    </a:defRPr>
                  </a:lvl7pPr>
                  <a:lvl8pPr marL="3200400" algn="l" defTabSz="914400" rtl="0" eaLnBrk="1" latinLnBrk="1" hangingPunct="1">
                    <a:defRPr kumimoji="1" kern="1200">
                      <a:solidFill>
                        <a:schemeClr val="tx1"/>
                      </a:solidFill>
                      <a:latin typeface="Arial" charset="0"/>
                      <a:ea typeface="굴림" pitchFamily="50" charset="-127"/>
                      <a:cs typeface="+mn-cs"/>
                    </a:defRPr>
                  </a:lvl8pPr>
                  <a:lvl9pPr marL="3657600" algn="l" defTabSz="914400" rtl="0" eaLnBrk="1" latinLnBrk="1" hangingPunct="1">
                    <a:defRPr kumimoji="1" kern="1200">
                      <a:solidFill>
                        <a:schemeClr val="tx1"/>
                      </a:solidFill>
                      <a:latin typeface="Arial" charset="0"/>
                      <a:ea typeface="굴림" pitchFamily="50" charset="-127"/>
                      <a:cs typeface="+mn-cs"/>
                    </a:defRPr>
                  </a:lvl9pPr>
                </a:lstStyle>
                <a:p>
                  <a:pPr eaLnBrk="1" hangingPunct="1">
                    <a:defRPr/>
                  </a:pPr>
                  <a:endParaRPr lang="ko-KR" altLang="en-US">
                    <a:solidFill>
                      <a:sysClr val="windowText" lastClr="000000"/>
                    </a:solidFill>
                    <a:latin typeface="Arial" pitchFamily="34" charset="0"/>
                  </a:endParaRPr>
                </a:p>
              </p:txBody>
            </p:sp>
          </p:grpSp>
          <p:sp>
            <p:nvSpPr>
              <p:cNvPr id="87547" name="Freeform 42">
                <a:extLst>
                  <a:ext uri="{FF2B5EF4-FFF2-40B4-BE49-F238E27FC236}">
                    <a16:creationId xmlns:a16="http://schemas.microsoft.com/office/drawing/2014/main" id="{ECD60D98-38A5-4536-B8CD-5DA3642C5FD1}"/>
                  </a:ext>
                </a:extLst>
              </p:cNvPr>
              <p:cNvSpPr>
                <a:spLocks/>
              </p:cNvSpPr>
              <p:nvPr/>
            </p:nvSpPr>
            <p:spPr bwMode="auto">
              <a:xfrm>
                <a:off x="4191034" y="2488968"/>
                <a:ext cx="28729" cy="17619"/>
              </a:xfrm>
              <a:custGeom>
                <a:avLst/>
                <a:gdLst>
                  <a:gd name="T0" fmla="*/ 2147483646 w 47"/>
                  <a:gd name="T1" fmla="*/ 0 h 28"/>
                  <a:gd name="T2" fmla="*/ 2147483646 w 47"/>
                  <a:gd name="T3" fmla="*/ 2147483646 h 28"/>
                  <a:gd name="T4" fmla="*/ 2147483646 w 47"/>
                  <a:gd name="T5" fmla="*/ 2147483646 h 28"/>
                  <a:gd name="T6" fmla="*/ 2147483646 w 47"/>
                  <a:gd name="T7" fmla="*/ 2147483646 h 28"/>
                  <a:gd name="T8" fmla="*/ 0 w 47"/>
                  <a:gd name="T9" fmla="*/ 2147483646 h 28"/>
                  <a:gd name="T10" fmla="*/ 0 w 47"/>
                  <a:gd name="T11" fmla="*/ 2147483646 h 28"/>
                  <a:gd name="T12" fmla="*/ 2147483646 w 47"/>
                  <a:gd name="T13" fmla="*/ 2147483646 h 28"/>
                  <a:gd name="T14" fmla="*/ 2147483646 w 47"/>
                  <a:gd name="T15" fmla="*/ 2147483646 h 28"/>
                  <a:gd name="T16" fmla="*/ 2147483646 w 47"/>
                  <a:gd name="T17" fmla="*/ 2147483646 h 28"/>
                  <a:gd name="T18" fmla="*/ 2147483646 w 47"/>
                  <a:gd name="T19" fmla="*/ 2147483646 h 28"/>
                  <a:gd name="T20" fmla="*/ 2147483646 w 47"/>
                  <a:gd name="T21" fmla="*/ 2147483646 h 28"/>
                  <a:gd name="T22" fmla="*/ 2147483646 w 47"/>
                  <a:gd name="T23" fmla="*/ 2147483646 h 28"/>
                  <a:gd name="T24" fmla="*/ 2147483646 w 47"/>
                  <a:gd name="T25" fmla="*/ 2147483646 h 28"/>
                  <a:gd name="T26" fmla="*/ 2147483646 w 47"/>
                  <a:gd name="T27" fmla="*/ 2147483646 h 28"/>
                  <a:gd name="T28" fmla="*/ 2147483646 w 47"/>
                  <a:gd name="T29" fmla="*/ 2147483646 h 28"/>
                  <a:gd name="T30" fmla="*/ 2147483646 w 47"/>
                  <a:gd name="T31" fmla="*/ 2147483646 h 28"/>
                  <a:gd name="T32" fmla="*/ 2147483646 w 47"/>
                  <a:gd name="T33" fmla="*/ 2147483646 h 28"/>
                  <a:gd name="T34" fmla="*/ 2147483646 w 47"/>
                  <a:gd name="T35" fmla="*/ 2147483646 h 28"/>
                  <a:gd name="T36" fmla="*/ 2147483646 w 47"/>
                  <a:gd name="T37" fmla="*/ 2147483646 h 28"/>
                  <a:gd name="T38" fmla="*/ 2147483646 w 47"/>
                  <a:gd name="T39" fmla="*/ 2147483646 h 28"/>
                  <a:gd name="T40" fmla="*/ 2147483646 w 47"/>
                  <a:gd name="T41" fmla="*/ 2147483646 h 28"/>
                  <a:gd name="T42" fmla="*/ 2147483646 w 47"/>
                  <a:gd name="T43" fmla="*/ 2147483646 h 28"/>
                  <a:gd name="T44" fmla="*/ 2147483646 w 47"/>
                  <a:gd name="T45" fmla="*/ 2147483646 h 28"/>
                  <a:gd name="T46" fmla="*/ 2147483646 w 47"/>
                  <a:gd name="T47" fmla="*/ 2147483646 h 28"/>
                  <a:gd name="T48" fmla="*/ 2147483646 w 47"/>
                  <a:gd name="T49" fmla="*/ 2147483646 h 28"/>
                  <a:gd name="T50" fmla="*/ 2147483646 w 47"/>
                  <a:gd name="T51" fmla="*/ 2147483646 h 28"/>
                  <a:gd name="T52" fmla="*/ 2147483646 w 47"/>
                  <a:gd name="T53" fmla="*/ 2147483646 h 28"/>
                  <a:gd name="T54" fmla="*/ 2147483646 w 47"/>
                  <a:gd name="T55" fmla="*/ 2147483646 h 28"/>
                  <a:gd name="T56" fmla="*/ 2147483646 w 47"/>
                  <a:gd name="T57" fmla="*/ 2147483646 h 28"/>
                  <a:gd name="T58" fmla="*/ 2147483646 w 47"/>
                  <a:gd name="T59" fmla="*/ 2147483646 h 28"/>
                  <a:gd name="T60" fmla="*/ 2147483646 w 47"/>
                  <a:gd name="T61" fmla="*/ 2147483646 h 28"/>
                  <a:gd name="T62" fmla="*/ 2147483646 w 47"/>
                  <a:gd name="T63" fmla="*/ 2147483646 h 28"/>
                  <a:gd name="T64" fmla="*/ 2147483646 w 47"/>
                  <a:gd name="T65" fmla="*/ 2147483646 h 28"/>
                  <a:gd name="T66" fmla="*/ 2147483646 w 47"/>
                  <a:gd name="T67" fmla="*/ 2147483646 h 28"/>
                  <a:gd name="T68" fmla="*/ 2147483646 w 47"/>
                  <a:gd name="T69" fmla="*/ 2147483646 h 28"/>
                  <a:gd name="T70" fmla="*/ 2147483646 w 47"/>
                  <a:gd name="T71" fmla="*/ 2147483646 h 28"/>
                  <a:gd name="T72" fmla="*/ 2147483646 w 47"/>
                  <a:gd name="T73" fmla="*/ 2147483646 h 28"/>
                  <a:gd name="T74" fmla="*/ 2147483646 w 47"/>
                  <a:gd name="T75" fmla="*/ 0 h 28"/>
                  <a:gd name="T76" fmla="*/ 2147483646 w 47"/>
                  <a:gd name="T77" fmla="*/ 0 h 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7"/>
                  <a:gd name="T118" fmla="*/ 0 h 28"/>
                  <a:gd name="T119" fmla="*/ 47 w 47"/>
                  <a:gd name="T120" fmla="*/ 28 h 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7" h="28">
                    <a:moveTo>
                      <a:pt x="24" y="0"/>
                    </a:moveTo>
                    <a:lnTo>
                      <a:pt x="15" y="2"/>
                    </a:lnTo>
                    <a:lnTo>
                      <a:pt x="7" y="6"/>
                    </a:lnTo>
                    <a:lnTo>
                      <a:pt x="2" y="13"/>
                    </a:lnTo>
                    <a:lnTo>
                      <a:pt x="0" y="23"/>
                    </a:lnTo>
                    <a:lnTo>
                      <a:pt x="0" y="24"/>
                    </a:lnTo>
                    <a:lnTo>
                      <a:pt x="1" y="25"/>
                    </a:lnTo>
                    <a:lnTo>
                      <a:pt x="1" y="27"/>
                    </a:lnTo>
                    <a:lnTo>
                      <a:pt x="1" y="28"/>
                    </a:lnTo>
                    <a:lnTo>
                      <a:pt x="15" y="25"/>
                    </a:lnTo>
                    <a:lnTo>
                      <a:pt x="15" y="24"/>
                    </a:lnTo>
                    <a:lnTo>
                      <a:pt x="15" y="23"/>
                    </a:lnTo>
                    <a:lnTo>
                      <a:pt x="15" y="21"/>
                    </a:lnTo>
                    <a:lnTo>
                      <a:pt x="15" y="19"/>
                    </a:lnTo>
                    <a:lnTo>
                      <a:pt x="16" y="18"/>
                    </a:lnTo>
                    <a:lnTo>
                      <a:pt x="17" y="17"/>
                    </a:lnTo>
                    <a:lnTo>
                      <a:pt x="19" y="16"/>
                    </a:lnTo>
                    <a:lnTo>
                      <a:pt x="20" y="15"/>
                    </a:lnTo>
                    <a:lnTo>
                      <a:pt x="23" y="13"/>
                    </a:lnTo>
                    <a:lnTo>
                      <a:pt x="24" y="13"/>
                    </a:lnTo>
                    <a:lnTo>
                      <a:pt x="26" y="13"/>
                    </a:lnTo>
                    <a:lnTo>
                      <a:pt x="27" y="15"/>
                    </a:lnTo>
                    <a:lnTo>
                      <a:pt x="30" y="16"/>
                    </a:lnTo>
                    <a:lnTo>
                      <a:pt x="31" y="17"/>
                    </a:lnTo>
                    <a:lnTo>
                      <a:pt x="32" y="18"/>
                    </a:lnTo>
                    <a:lnTo>
                      <a:pt x="32" y="19"/>
                    </a:lnTo>
                    <a:lnTo>
                      <a:pt x="32" y="20"/>
                    </a:lnTo>
                    <a:lnTo>
                      <a:pt x="33" y="21"/>
                    </a:lnTo>
                    <a:lnTo>
                      <a:pt x="47" y="18"/>
                    </a:lnTo>
                    <a:lnTo>
                      <a:pt x="46" y="15"/>
                    </a:lnTo>
                    <a:lnTo>
                      <a:pt x="45" y="12"/>
                    </a:lnTo>
                    <a:lnTo>
                      <a:pt x="42" y="9"/>
                    </a:lnTo>
                    <a:lnTo>
                      <a:pt x="40" y="6"/>
                    </a:lnTo>
                    <a:lnTo>
                      <a:pt x="36" y="3"/>
                    </a:lnTo>
                    <a:lnTo>
                      <a:pt x="32" y="1"/>
                    </a:lnTo>
                    <a:lnTo>
                      <a:pt x="28" y="0"/>
                    </a:lnTo>
                    <a:lnTo>
                      <a:pt x="2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48" name="Freeform 43">
                <a:extLst>
                  <a:ext uri="{FF2B5EF4-FFF2-40B4-BE49-F238E27FC236}">
                    <a16:creationId xmlns:a16="http://schemas.microsoft.com/office/drawing/2014/main" id="{543C06ED-B6E6-4ACC-815B-B7BC1652AC11}"/>
                  </a:ext>
                </a:extLst>
              </p:cNvPr>
              <p:cNvSpPr>
                <a:spLocks/>
              </p:cNvSpPr>
              <p:nvPr/>
            </p:nvSpPr>
            <p:spPr bwMode="auto">
              <a:xfrm>
                <a:off x="4192231" y="2499540"/>
                <a:ext cx="27532" cy="17619"/>
              </a:xfrm>
              <a:custGeom>
                <a:avLst/>
                <a:gdLst>
                  <a:gd name="T0" fmla="*/ 2147483646 w 46"/>
                  <a:gd name="T1" fmla="*/ 2147483646 h 29"/>
                  <a:gd name="T2" fmla="*/ 2147483646 w 46"/>
                  <a:gd name="T3" fmla="*/ 2147483646 h 29"/>
                  <a:gd name="T4" fmla="*/ 2147483646 w 46"/>
                  <a:gd name="T5" fmla="*/ 2147483646 h 29"/>
                  <a:gd name="T6" fmla="*/ 2147483646 w 46"/>
                  <a:gd name="T7" fmla="*/ 2147483646 h 29"/>
                  <a:gd name="T8" fmla="*/ 2147483646 w 46"/>
                  <a:gd name="T9" fmla="*/ 2147483646 h 29"/>
                  <a:gd name="T10" fmla="*/ 2147483646 w 46"/>
                  <a:gd name="T11" fmla="*/ 2147483646 h 29"/>
                  <a:gd name="T12" fmla="*/ 2147483646 w 46"/>
                  <a:gd name="T13" fmla="*/ 2147483646 h 29"/>
                  <a:gd name="T14" fmla="*/ 2147483646 w 46"/>
                  <a:gd name="T15" fmla="*/ 2147483646 h 29"/>
                  <a:gd name="T16" fmla="*/ 2147483646 w 46"/>
                  <a:gd name="T17" fmla="*/ 2147483646 h 29"/>
                  <a:gd name="T18" fmla="*/ 2147483646 w 46"/>
                  <a:gd name="T19" fmla="*/ 2147483646 h 29"/>
                  <a:gd name="T20" fmla="*/ 2147483646 w 46"/>
                  <a:gd name="T21" fmla="*/ 2147483646 h 29"/>
                  <a:gd name="T22" fmla="*/ 2147483646 w 46"/>
                  <a:gd name="T23" fmla="*/ 2147483646 h 29"/>
                  <a:gd name="T24" fmla="*/ 2147483646 w 46"/>
                  <a:gd name="T25" fmla="*/ 2147483646 h 29"/>
                  <a:gd name="T26" fmla="*/ 0 w 46"/>
                  <a:gd name="T27" fmla="*/ 2147483646 h 29"/>
                  <a:gd name="T28" fmla="*/ 2147483646 w 46"/>
                  <a:gd name="T29" fmla="*/ 2147483646 h 29"/>
                  <a:gd name="T30" fmla="*/ 2147483646 w 46"/>
                  <a:gd name="T31" fmla="*/ 2147483646 h 29"/>
                  <a:gd name="T32" fmla="*/ 2147483646 w 46"/>
                  <a:gd name="T33" fmla="*/ 2147483646 h 29"/>
                  <a:gd name="T34" fmla="*/ 2147483646 w 46"/>
                  <a:gd name="T35" fmla="*/ 2147483646 h 29"/>
                  <a:gd name="T36" fmla="*/ 2147483646 w 46"/>
                  <a:gd name="T37" fmla="*/ 2147483646 h 29"/>
                  <a:gd name="T38" fmla="*/ 2147483646 w 46"/>
                  <a:gd name="T39" fmla="*/ 2147483646 h 29"/>
                  <a:gd name="T40" fmla="*/ 2147483646 w 46"/>
                  <a:gd name="T41" fmla="*/ 2147483646 h 29"/>
                  <a:gd name="T42" fmla="*/ 2147483646 w 46"/>
                  <a:gd name="T43" fmla="*/ 2147483646 h 29"/>
                  <a:gd name="T44" fmla="*/ 2147483646 w 46"/>
                  <a:gd name="T45" fmla="*/ 2147483646 h 29"/>
                  <a:gd name="T46" fmla="*/ 2147483646 w 46"/>
                  <a:gd name="T47" fmla="*/ 2147483646 h 29"/>
                  <a:gd name="T48" fmla="*/ 2147483646 w 46"/>
                  <a:gd name="T49" fmla="*/ 2147483646 h 29"/>
                  <a:gd name="T50" fmla="*/ 2147483646 w 46"/>
                  <a:gd name="T51" fmla="*/ 2147483646 h 29"/>
                  <a:gd name="T52" fmla="*/ 2147483646 w 46"/>
                  <a:gd name="T53" fmla="*/ 2147483646 h 29"/>
                  <a:gd name="T54" fmla="*/ 2147483646 w 46"/>
                  <a:gd name="T55" fmla="*/ 2147483646 h 29"/>
                  <a:gd name="T56" fmla="*/ 2147483646 w 46"/>
                  <a:gd name="T57" fmla="*/ 2147483646 h 29"/>
                  <a:gd name="T58" fmla="*/ 2147483646 w 46"/>
                  <a:gd name="T59" fmla="*/ 2147483646 h 29"/>
                  <a:gd name="T60" fmla="*/ 2147483646 w 46"/>
                  <a:gd name="T61" fmla="*/ 2147483646 h 29"/>
                  <a:gd name="T62" fmla="*/ 2147483646 w 46"/>
                  <a:gd name="T63" fmla="*/ 2147483646 h 29"/>
                  <a:gd name="T64" fmla="*/ 2147483646 w 46"/>
                  <a:gd name="T65" fmla="*/ 2147483646 h 29"/>
                  <a:gd name="T66" fmla="*/ 2147483646 w 46"/>
                  <a:gd name="T67" fmla="*/ 0 h 29"/>
                  <a:gd name="T68" fmla="*/ 2147483646 w 46"/>
                  <a:gd name="T69" fmla="*/ 2147483646 h 29"/>
                  <a:gd name="T70" fmla="*/ 2147483646 w 46"/>
                  <a:gd name="T71" fmla="*/ 2147483646 h 29"/>
                  <a:gd name="T72" fmla="*/ 2147483646 w 46"/>
                  <a:gd name="T73" fmla="*/ 2147483646 h 29"/>
                  <a:gd name="T74" fmla="*/ 2147483646 w 46"/>
                  <a:gd name="T75" fmla="*/ 2147483646 h 29"/>
                  <a:gd name="T76" fmla="*/ 2147483646 w 46"/>
                  <a:gd name="T77" fmla="*/ 2147483646 h 2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6"/>
                  <a:gd name="T118" fmla="*/ 0 h 29"/>
                  <a:gd name="T119" fmla="*/ 46 w 46"/>
                  <a:gd name="T120" fmla="*/ 29 h 2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6" h="29">
                    <a:moveTo>
                      <a:pt x="32" y="5"/>
                    </a:moveTo>
                    <a:lnTo>
                      <a:pt x="31" y="9"/>
                    </a:lnTo>
                    <a:lnTo>
                      <a:pt x="30" y="12"/>
                    </a:lnTo>
                    <a:lnTo>
                      <a:pt x="26" y="14"/>
                    </a:lnTo>
                    <a:lnTo>
                      <a:pt x="23" y="15"/>
                    </a:lnTo>
                    <a:lnTo>
                      <a:pt x="22" y="15"/>
                    </a:lnTo>
                    <a:lnTo>
                      <a:pt x="19" y="14"/>
                    </a:lnTo>
                    <a:lnTo>
                      <a:pt x="18" y="13"/>
                    </a:lnTo>
                    <a:lnTo>
                      <a:pt x="16" y="12"/>
                    </a:lnTo>
                    <a:lnTo>
                      <a:pt x="15" y="10"/>
                    </a:lnTo>
                    <a:lnTo>
                      <a:pt x="15" y="9"/>
                    </a:lnTo>
                    <a:lnTo>
                      <a:pt x="14" y="8"/>
                    </a:lnTo>
                    <a:lnTo>
                      <a:pt x="14" y="7"/>
                    </a:lnTo>
                    <a:lnTo>
                      <a:pt x="0" y="10"/>
                    </a:lnTo>
                    <a:lnTo>
                      <a:pt x="1" y="13"/>
                    </a:lnTo>
                    <a:lnTo>
                      <a:pt x="2" y="16"/>
                    </a:lnTo>
                    <a:lnTo>
                      <a:pt x="4" y="20"/>
                    </a:lnTo>
                    <a:lnTo>
                      <a:pt x="6" y="22"/>
                    </a:lnTo>
                    <a:lnTo>
                      <a:pt x="9" y="25"/>
                    </a:lnTo>
                    <a:lnTo>
                      <a:pt x="14" y="27"/>
                    </a:lnTo>
                    <a:lnTo>
                      <a:pt x="18" y="29"/>
                    </a:lnTo>
                    <a:lnTo>
                      <a:pt x="23" y="29"/>
                    </a:lnTo>
                    <a:lnTo>
                      <a:pt x="27" y="29"/>
                    </a:lnTo>
                    <a:lnTo>
                      <a:pt x="31" y="27"/>
                    </a:lnTo>
                    <a:lnTo>
                      <a:pt x="35" y="25"/>
                    </a:lnTo>
                    <a:lnTo>
                      <a:pt x="39" y="22"/>
                    </a:lnTo>
                    <a:lnTo>
                      <a:pt x="42" y="18"/>
                    </a:lnTo>
                    <a:lnTo>
                      <a:pt x="45" y="14"/>
                    </a:lnTo>
                    <a:lnTo>
                      <a:pt x="46" y="9"/>
                    </a:lnTo>
                    <a:lnTo>
                      <a:pt x="46" y="5"/>
                    </a:lnTo>
                    <a:lnTo>
                      <a:pt x="46" y="3"/>
                    </a:lnTo>
                    <a:lnTo>
                      <a:pt x="46" y="2"/>
                    </a:lnTo>
                    <a:lnTo>
                      <a:pt x="46" y="1"/>
                    </a:lnTo>
                    <a:lnTo>
                      <a:pt x="46" y="0"/>
                    </a:lnTo>
                    <a:lnTo>
                      <a:pt x="32" y="3"/>
                    </a:lnTo>
                    <a:lnTo>
                      <a:pt x="3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49" name="Freeform 54">
                <a:extLst>
                  <a:ext uri="{FF2B5EF4-FFF2-40B4-BE49-F238E27FC236}">
                    <a16:creationId xmlns:a16="http://schemas.microsoft.com/office/drawing/2014/main" id="{37E68511-EC33-4F24-8F99-86D424A89376}"/>
                  </a:ext>
                </a:extLst>
              </p:cNvPr>
              <p:cNvSpPr>
                <a:spLocks/>
              </p:cNvSpPr>
              <p:nvPr/>
            </p:nvSpPr>
            <p:spPr bwMode="auto">
              <a:xfrm>
                <a:off x="4208031" y="2466181"/>
                <a:ext cx="27532" cy="17619"/>
              </a:xfrm>
              <a:custGeom>
                <a:avLst/>
                <a:gdLst>
                  <a:gd name="T0" fmla="*/ 2147483646 w 47"/>
                  <a:gd name="T1" fmla="*/ 2147483646 h 30"/>
                  <a:gd name="T2" fmla="*/ 2147483646 w 47"/>
                  <a:gd name="T3" fmla="*/ 2147483646 h 30"/>
                  <a:gd name="T4" fmla="*/ 2147483646 w 47"/>
                  <a:gd name="T5" fmla="*/ 2147483646 h 30"/>
                  <a:gd name="T6" fmla="*/ 2147483646 w 47"/>
                  <a:gd name="T7" fmla="*/ 2147483646 h 30"/>
                  <a:gd name="T8" fmla="*/ 2147483646 w 47"/>
                  <a:gd name="T9" fmla="*/ 2147483646 h 30"/>
                  <a:gd name="T10" fmla="*/ 2147483646 w 47"/>
                  <a:gd name="T11" fmla="*/ 2147483646 h 30"/>
                  <a:gd name="T12" fmla="*/ 2147483646 w 47"/>
                  <a:gd name="T13" fmla="*/ 2147483646 h 30"/>
                  <a:gd name="T14" fmla="*/ 2147483646 w 47"/>
                  <a:gd name="T15" fmla="*/ 2147483646 h 30"/>
                  <a:gd name="T16" fmla="*/ 2147483646 w 47"/>
                  <a:gd name="T17" fmla="*/ 2147483646 h 30"/>
                  <a:gd name="T18" fmla="*/ 2147483646 w 47"/>
                  <a:gd name="T19" fmla="*/ 2147483646 h 30"/>
                  <a:gd name="T20" fmla="*/ 2147483646 w 47"/>
                  <a:gd name="T21" fmla="*/ 2147483646 h 30"/>
                  <a:gd name="T22" fmla="*/ 2147483646 w 47"/>
                  <a:gd name="T23" fmla="*/ 2147483646 h 30"/>
                  <a:gd name="T24" fmla="*/ 2147483646 w 47"/>
                  <a:gd name="T25" fmla="*/ 2147483646 h 30"/>
                  <a:gd name="T26" fmla="*/ 0 w 47"/>
                  <a:gd name="T27" fmla="*/ 2147483646 h 30"/>
                  <a:gd name="T28" fmla="*/ 2147483646 w 47"/>
                  <a:gd name="T29" fmla="*/ 2147483646 h 30"/>
                  <a:gd name="T30" fmla="*/ 2147483646 w 47"/>
                  <a:gd name="T31" fmla="*/ 2147483646 h 30"/>
                  <a:gd name="T32" fmla="*/ 2147483646 w 47"/>
                  <a:gd name="T33" fmla="*/ 2147483646 h 30"/>
                  <a:gd name="T34" fmla="*/ 2147483646 w 47"/>
                  <a:gd name="T35" fmla="*/ 2147483646 h 30"/>
                  <a:gd name="T36" fmla="*/ 2147483646 w 47"/>
                  <a:gd name="T37" fmla="*/ 2147483646 h 30"/>
                  <a:gd name="T38" fmla="*/ 2147483646 w 47"/>
                  <a:gd name="T39" fmla="*/ 2147483646 h 30"/>
                  <a:gd name="T40" fmla="*/ 2147483646 w 47"/>
                  <a:gd name="T41" fmla="*/ 2147483646 h 30"/>
                  <a:gd name="T42" fmla="*/ 2147483646 w 47"/>
                  <a:gd name="T43" fmla="*/ 2147483646 h 30"/>
                  <a:gd name="T44" fmla="*/ 2147483646 w 47"/>
                  <a:gd name="T45" fmla="*/ 2147483646 h 30"/>
                  <a:gd name="T46" fmla="*/ 2147483646 w 47"/>
                  <a:gd name="T47" fmla="*/ 2147483646 h 30"/>
                  <a:gd name="T48" fmla="*/ 2147483646 w 47"/>
                  <a:gd name="T49" fmla="*/ 2147483646 h 30"/>
                  <a:gd name="T50" fmla="*/ 2147483646 w 47"/>
                  <a:gd name="T51" fmla="*/ 2147483646 h 30"/>
                  <a:gd name="T52" fmla="*/ 2147483646 w 47"/>
                  <a:gd name="T53" fmla="*/ 2147483646 h 30"/>
                  <a:gd name="T54" fmla="*/ 2147483646 w 47"/>
                  <a:gd name="T55" fmla="*/ 2147483646 h 30"/>
                  <a:gd name="T56" fmla="*/ 2147483646 w 47"/>
                  <a:gd name="T57" fmla="*/ 2147483646 h 30"/>
                  <a:gd name="T58" fmla="*/ 2147483646 w 47"/>
                  <a:gd name="T59" fmla="*/ 2147483646 h 30"/>
                  <a:gd name="T60" fmla="*/ 2147483646 w 47"/>
                  <a:gd name="T61" fmla="*/ 2147483646 h 30"/>
                  <a:gd name="T62" fmla="*/ 2147483646 w 47"/>
                  <a:gd name="T63" fmla="*/ 2147483646 h 30"/>
                  <a:gd name="T64" fmla="*/ 2147483646 w 47"/>
                  <a:gd name="T65" fmla="*/ 2147483646 h 30"/>
                  <a:gd name="T66" fmla="*/ 2147483646 w 47"/>
                  <a:gd name="T67" fmla="*/ 0 h 30"/>
                  <a:gd name="T68" fmla="*/ 2147483646 w 47"/>
                  <a:gd name="T69" fmla="*/ 2147483646 h 30"/>
                  <a:gd name="T70" fmla="*/ 2147483646 w 47"/>
                  <a:gd name="T71" fmla="*/ 2147483646 h 30"/>
                  <a:gd name="T72" fmla="*/ 2147483646 w 47"/>
                  <a:gd name="T73" fmla="*/ 2147483646 h 30"/>
                  <a:gd name="T74" fmla="*/ 2147483646 w 47"/>
                  <a:gd name="T75" fmla="*/ 2147483646 h 30"/>
                  <a:gd name="T76" fmla="*/ 2147483646 w 47"/>
                  <a:gd name="T77" fmla="*/ 2147483646 h 3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7"/>
                  <a:gd name="T118" fmla="*/ 0 h 30"/>
                  <a:gd name="T119" fmla="*/ 47 w 47"/>
                  <a:gd name="T120" fmla="*/ 30 h 3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7" h="30">
                    <a:moveTo>
                      <a:pt x="32" y="7"/>
                    </a:moveTo>
                    <a:lnTo>
                      <a:pt x="31" y="10"/>
                    </a:lnTo>
                    <a:lnTo>
                      <a:pt x="30" y="12"/>
                    </a:lnTo>
                    <a:lnTo>
                      <a:pt x="27" y="15"/>
                    </a:lnTo>
                    <a:lnTo>
                      <a:pt x="23" y="16"/>
                    </a:lnTo>
                    <a:lnTo>
                      <a:pt x="22" y="16"/>
                    </a:lnTo>
                    <a:lnTo>
                      <a:pt x="20" y="15"/>
                    </a:lnTo>
                    <a:lnTo>
                      <a:pt x="19" y="13"/>
                    </a:lnTo>
                    <a:lnTo>
                      <a:pt x="16" y="12"/>
                    </a:lnTo>
                    <a:lnTo>
                      <a:pt x="15" y="11"/>
                    </a:lnTo>
                    <a:lnTo>
                      <a:pt x="15" y="10"/>
                    </a:lnTo>
                    <a:lnTo>
                      <a:pt x="14" y="8"/>
                    </a:lnTo>
                    <a:lnTo>
                      <a:pt x="14" y="7"/>
                    </a:lnTo>
                    <a:lnTo>
                      <a:pt x="0" y="9"/>
                    </a:lnTo>
                    <a:lnTo>
                      <a:pt x="1" y="13"/>
                    </a:lnTo>
                    <a:lnTo>
                      <a:pt x="2" y="17"/>
                    </a:lnTo>
                    <a:lnTo>
                      <a:pt x="5" y="20"/>
                    </a:lnTo>
                    <a:lnTo>
                      <a:pt x="7" y="23"/>
                    </a:lnTo>
                    <a:lnTo>
                      <a:pt x="10" y="26"/>
                    </a:lnTo>
                    <a:lnTo>
                      <a:pt x="15" y="27"/>
                    </a:lnTo>
                    <a:lnTo>
                      <a:pt x="19" y="30"/>
                    </a:lnTo>
                    <a:lnTo>
                      <a:pt x="23" y="30"/>
                    </a:lnTo>
                    <a:lnTo>
                      <a:pt x="28" y="30"/>
                    </a:lnTo>
                    <a:lnTo>
                      <a:pt x="32" y="27"/>
                    </a:lnTo>
                    <a:lnTo>
                      <a:pt x="37" y="26"/>
                    </a:lnTo>
                    <a:lnTo>
                      <a:pt x="40" y="23"/>
                    </a:lnTo>
                    <a:lnTo>
                      <a:pt x="43" y="19"/>
                    </a:lnTo>
                    <a:lnTo>
                      <a:pt x="45" y="15"/>
                    </a:lnTo>
                    <a:lnTo>
                      <a:pt x="46" y="11"/>
                    </a:lnTo>
                    <a:lnTo>
                      <a:pt x="47" y="7"/>
                    </a:lnTo>
                    <a:lnTo>
                      <a:pt x="47" y="4"/>
                    </a:lnTo>
                    <a:lnTo>
                      <a:pt x="47" y="3"/>
                    </a:lnTo>
                    <a:lnTo>
                      <a:pt x="46" y="1"/>
                    </a:lnTo>
                    <a:lnTo>
                      <a:pt x="46" y="0"/>
                    </a:lnTo>
                    <a:lnTo>
                      <a:pt x="32" y="3"/>
                    </a:lnTo>
                    <a:lnTo>
                      <a:pt x="32" y="4"/>
                    </a:lnTo>
                    <a:lnTo>
                      <a:pt x="32" y="5"/>
                    </a:lnTo>
                    <a:lnTo>
                      <a:pt x="3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50" name="Freeform 55">
                <a:extLst>
                  <a:ext uri="{FF2B5EF4-FFF2-40B4-BE49-F238E27FC236}">
                    <a16:creationId xmlns:a16="http://schemas.microsoft.com/office/drawing/2014/main" id="{3FFDAA37-3883-4F9B-8A91-45E6C25159A6}"/>
                  </a:ext>
                </a:extLst>
              </p:cNvPr>
              <p:cNvSpPr>
                <a:spLocks/>
              </p:cNvSpPr>
              <p:nvPr/>
            </p:nvSpPr>
            <p:spPr bwMode="auto">
              <a:xfrm>
                <a:off x="4208031" y="2456785"/>
                <a:ext cx="27532" cy="15270"/>
              </a:xfrm>
              <a:custGeom>
                <a:avLst/>
                <a:gdLst>
                  <a:gd name="T0" fmla="*/ 2147483646 w 46"/>
                  <a:gd name="T1" fmla="*/ 0 h 27"/>
                  <a:gd name="T2" fmla="*/ 2147483646 w 46"/>
                  <a:gd name="T3" fmla="*/ 2147483646 h 27"/>
                  <a:gd name="T4" fmla="*/ 2147483646 w 46"/>
                  <a:gd name="T5" fmla="*/ 2147483646 h 27"/>
                  <a:gd name="T6" fmla="*/ 2147483646 w 46"/>
                  <a:gd name="T7" fmla="*/ 2147483646 h 27"/>
                  <a:gd name="T8" fmla="*/ 0 w 46"/>
                  <a:gd name="T9" fmla="*/ 2147483646 h 27"/>
                  <a:gd name="T10" fmla="*/ 0 w 46"/>
                  <a:gd name="T11" fmla="*/ 2147483646 h 27"/>
                  <a:gd name="T12" fmla="*/ 0 w 46"/>
                  <a:gd name="T13" fmla="*/ 2147483646 h 27"/>
                  <a:gd name="T14" fmla="*/ 0 w 46"/>
                  <a:gd name="T15" fmla="*/ 2147483646 h 27"/>
                  <a:gd name="T16" fmla="*/ 0 w 46"/>
                  <a:gd name="T17" fmla="*/ 2147483646 h 27"/>
                  <a:gd name="T18" fmla="*/ 2147483646 w 46"/>
                  <a:gd name="T19" fmla="*/ 2147483646 h 27"/>
                  <a:gd name="T20" fmla="*/ 2147483646 w 46"/>
                  <a:gd name="T21" fmla="*/ 2147483646 h 27"/>
                  <a:gd name="T22" fmla="*/ 2147483646 w 46"/>
                  <a:gd name="T23" fmla="*/ 2147483646 h 27"/>
                  <a:gd name="T24" fmla="*/ 2147483646 w 46"/>
                  <a:gd name="T25" fmla="*/ 2147483646 h 27"/>
                  <a:gd name="T26" fmla="*/ 2147483646 w 46"/>
                  <a:gd name="T27" fmla="*/ 2147483646 h 27"/>
                  <a:gd name="T28" fmla="*/ 2147483646 w 46"/>
                  <a:gd name="T29" fmla="*/ 2147483646 h 27"/>
                  <a:gd name="T30" fmla="*/ 2147483646 w 46"/>
                  <a:gd name="T31" fmla="*/ 2147483646 h 27"/>
                  <a:gd name="T32" fmla="*/ 2147483646 w 46"/>
                  <a:gd name="T33" fmla="*/ 2147483646 h 27"/>
                  <a:gd name="T34" fmla="*/ 2147483646 w 46"/>
                  <a:gd name="T35" fmla="*/ 2147483646 h 27"/>
                  <a:gd name="T36" fmla="*/ 2147483646 w 46"/>
                  <a:gd name="T37" fmla="*/ 2147483646 h 27"/>
                  <a:gd name="T38" fmla="*/ 2147483646 w 46"/>
                  <a:gd name="T39" fmla="*/ 2147483646 h 27"/>
                  <a:gd name="T40" fmla="*/ 2147483646 w 46"/>
                  <a:gd name="T41" fmla="*/ 2147483646 h 27"/>
                  <a:gd name="T42" fmla="*/ 2147483646 w 46"/>
                  <a:gd name="T43" fmla="*/ 2147483646 h 27"/>
                  <a:gd name="T44" fmla="*/ 2147483646 w 46"/>
                  <a:gd name="T45" fmla="*/ 2147483646 h 27"/>
                  <a:gd name="T46" fmla="*/ 2147483646 w 46"/>
                  <a:gd name="T47" fmla="*/ 2147483646 h 27"/>
                  <a:gd name="T48" fmla="*/ 2147483646 w 46"/>
                  <a:gd name="T49" fmla="*/ 2147483646 h 27"/>
                  <a:gd name="T50" fmla="*/ 2147483646 w 46"/>
                  <a:gd name="T51" fmla="*/ 2147483646 h 27"/>
                  <a:gd name="T52" fmla="*/ 2147483646 w 46"/>
                  <a:gd name="T53" fmla="*/ 2147483646 h 27"/>
                  <a:gd name="T54" fmla="*/ 2147483646 w 46"/>
                  <a:gd name="T55" fmla="*/ 2147483646 h 27"/>
                  <a:gd name="T56" fmla="*/ 2147483646 w 46"/>
                  <a:gd name="T57" fmla="*/ 2147483646 h 27"/>
                  <a:gd name="T58" fmla="*/ 2147483646 w 46"/>
                  <a:gd name="T59" fmla="*/ 2147483646 h 27"/>
                  <a:gd name="T60" fmla="*/ 2147483646 w 46"/>
                  <a:gd name="T61" fmla="*/ 2147483646 h 27"/>
                  <a:gd name="T62" fmla="*/ 2147483646 w 46"/>
                  <a:gd name="T63" fmla="*/ 2147483646 h 27"/>
                  <a:gd name="T64" fmla="*/ 2147483646 w 46"/>
                  <a:gd name="T65" fmla="*/ 2147483646 h 27"/>
                  <a:gd name="T66" fmla="*/ 2147483646 w 46"/>
                  <a:gd name="T67" fmla="*/ 2147483646 h 27"/>
                  <a:gd name="T68" fmla="*/ 2147483646 w 46"/>
                  <a:gd name="T69" fmla="*/ 2147483646 h 27"/>
                  <a:gd name="T70" fmla="*/ 2147483646 w 46"/>
                  <a:gd name="T71" fmla="*/ 2147483646 h 27"/>
                  <a:gd name="T72" fmla="*/ 2147483646 w 46"/>
                  <a:gd name="T73" fmla="*/ 2147483646 h 27"/>
                  <a:gd name="T74" fmla="*/ 2147483646 w 46"/>
                  <a:gd name="T75" fmla="*/ 0 h 27"/>
                  <a:gd name="T76" fmla="*/ 2147483646 w 46"/>
                  <a:gd name="T77" fmla="*/ 0 h 2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6"/>
                  <a:gd name="T118" fmla="*/ 0 h 27"/>
                  <a:gd name="T119" fmla="*/ 46 w 46"/>
                  <a:gd name="T120" fmla="*/ 27 h 2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6" h="27">
                    <a:moveTo>
                      <a:pt x="23" y="0"/>
                    </a:moveTo>
                    <a:lnTo>
                      <a:pt x="14" y="3"/>
                    </a:lnTo>
                    <a:lnTo>
                      <a:pt x="7" y="7"/>
                    </a:lnTo>
                    <a:lnTo>
                      <a:pt x="2" y="15"/>
                    </a:lnTo>
                    <a:lnTo>
                      <a:pt x="0" y="25"/>
                    </a:lnTo>
                    <a:lnTo>
                      <a:pt x="0" y="26"/>
                    </a:lnTo>
                    <a:lnTo>
                      <a:pt x="0" y="27"/>
                    </a:lnTo>
                    <a:lnTo>
                      <a:pt x="14" y="25"/>
                    </a:lnTo>
                    <a:lnTo>
                      <a:pt x="14" y="22"/>
                    </a:lnTo>
                    <a:lnTo>
                      <a:pt x="15" y="20"/>
                    </a:lnTo>
                    <a:lnTo>
                      <a:pt x="15" y="19"/>
                    </a:lnTo>
                    <a:lnTo>
                      <a:pt x="16" y="18"/>
                    </a:lnTo>
                    <a:lnTo>
                      <a:pt x="19" y="16"/>
                    </a:lnTo>
                    <a:lnTo>
                      <a:pt x="20" y="15"/>
                    </a:lnTo>
                    <a:lnTo>
                      <a:pt x="22" y="14"/>
                    </a:lnTo>
                    <a:lnTo>
                      <a:pt x="23" y="14"/>
                    </a:lnTo>
                    <a:lnTo>
                      <a:pt x="25" y="14"/>
                    </a:lnTo>
                    <a:lnTo>
                      <a:pt x="27" y="15"/>
                    </a:lnTo>
                    <a:lnTo>
                      <a:pt x="29" y="16"/>
                    </a:lnTo>
                    <a:lnTo>
                      <a:pt x="30" y="18"/>
                    </a:lnTo>
                    <a:lnTo>
                      <a:pt x="31" y="19"/>
                    </a:lnTo>
                    <a:lnTo>
                      <a:pt x="31" y="20"/>
                    </a:lnTo>
                    <a:lnTo>
                      <a:pt x="32" y="21"/>
                    </a:lnTo>
                    <a:lnTo>
                      <a:pt x="46" y="18"/>
                    </a:lnTo>
                    <a:lnTo>
                      <a:pt x="45" y="15"/>
                    </a:lnTo>
                    <a:lnTo>
                      <a:pt x="44" y="12"/>
                    </a:lnTo>
                    <a:lnTo>
                      <a:pt x="42" y="10"/>
                    </a:lnTo>
                    <a:lnTo>
                      <a:pt x="40" y="7"/>
                    </a:lnTo>
                    <a:lnTo>
                      <a:pt x="37" y="4"/>
                    </a:lnTo>
                    <a:lnTo>
                      <a:pt x="32" y="1"/>
                    </a:lnTo>
                    <a:lnTo>
                      <a:pt x="28" y="0"/>
                    </a:lnTo>
                    <a:lnTo>
                      <a:pt x="2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51" name="Freeform 48">
                <a:extLst>
                  <a:ext uri="{FF2B5EF4-FFF2-40B4-BE49-F238E27FC236}">
                    <a16:creationId xmlns:a16="http://schemas.microsoft.com/office/drawing/2014/main" id="{305328BD-56BF-43BB-B88A-A1A41988C0AD}"/>
                  </a:ext>
                </a:extLst>
              </p:cNvPr>
              <p:cNvSpPr>
                <a:spLocks/>
              </p:cNvSpPr>
              <p:nvPr/>
            </p:nvSpPr>
            <p:spPr bwMode="auto">
              <a:xfrm>
                <a:off x="4292307" y="2510348"/>
                <a:ext cx="27532" cy="15270"/>
              </a:xfrm>
              <a:custGeom>
                <a:avLst/>
                <a:gdLst>
                  <a:gd name="T0" fmla="*/ 2147483646 w 47"/>
                  <a:gd name="T1" fmla="*/ 0 h 26"/>
                  <a:gd name="T2" fmla="*/ 2147483646 w 47"/>
                  <a:gd name="T3" fmla="*/ 2147483646 h 26"/>
                  <a:gd name="T4" fmla="*/ 2147483646 w 47"/>
                  <a:gd name="T5" fmla="*/ 2147483646 h 26"/>
                  <a:gd name="T6" fmla="*/ 2147483646 w 47"/>
                  <a:gd name="T7" fmla="*/ 2147483646 h 26"/>
                  <a:gd name="T8" fmla="*/ 0 w 47"/>
                  <a:gd name="T9" fmla="*/ 2147483646 h 26"/>
                  <a:gd name="T10" fmla="*/ 0 w 47"/>
                  <a:gd name="T11" fmla="*/ 2147483646 h 26"/>
                  <a:gd name="T12" fmla="*/ 0 w 47"/>
                  <a:gd name="T13" fmla="*/ 2147483646 h 26"/>
                  <a:gd name="T14" fmla="*/ 0 w 47"/>
                  <a:gd name="T15" fmla="*/ 2147483646 h 26"/>
                  <a:gd name="T16" fmla="*/ 2147483646 w 47"/>
                  <a:gd name="T17" fmla="*/ 2147483646 h 26"/>
                  <a:gd name="T18" fmla="*/ 2147483646 w 47"/>
                  <a:gd name="T19" fmla="*/ 2147483646 h 26"/>
                  <a:gd name="T20" fmla="*/ 2147483646 w 47"/>
                  <a:gd name="T21" fmla="*/ 2147483646 h 26"/>
                  <a:gd name="T22" fmla="*/ 2147483646 w 47"/>
                  <a:gd name="T23" fmla="*/ 2147483646 h 26"/>
                  <a:gd name="T24" fmla="*/ 2147483646 w 47"/>
                  <a:gd name="T25" fmla="*/ 2147483646 h 26"/>
                  <a:gd name="T26" fmla="*/ 2147483646 w 47"/>
                  <a:gd name="T27" fmla="*/ 2147483646 h 26"/>
                  <a:gd name="T28" fmla="*/ 2147483646 w 47"/>
                  <a:gd name="T29" fmla="*/ 2147483646 h 26"/>
                  <a:gd name="T30" fmla="*/ 2147483646 w 47"/>
                  <a:gd name="T31" fmla="*/ 2147483646 h 26"/>
                  <a:gd name="T32" fmla="*/ 2147483646 w 47"/>
                  <a:gd name="T33" fmla="*/ 2147483646 h 26"/>
                  <a:gd name="T34" fmla="*/ 2147483646 w 47"/>
                  <a:gd name="T35" fmla="*/ 2147483646 h 26"/>
                  <a:gd name="T36" fmla="*/ 2147483646 w 47"/>
                  <a:gd name="T37" fmla="*/ 2147483646 h 26"/>
                  <a:gd name="T38" fmla="*/ 2147483646 w 47"/>
                  <a:gd name="T39" fmla="*/ 2147483646 h 26"/>
                  <a:gd name="T40" fmla="*/ 2147483646 w 47"/>
                  <a:gd name="T41" fmla="*/ 2147483646 h 26"/>
                  <a:gd name="T42" fmla="*/ 2147483646 w 47"/>
                  <a:gd name="T43" fmla="*/ 2147483646 h 26"/>
                  <a:gd name="T44" fmla="*/ 2147483646 w 47"/>
                  <a:gd name="T45" fmla="*/ 2147483646 h 26"/>
                  <a:gd name="T46" fmla="*/ 2147483646 w 47"/>
                  <a:gd name="T47" fmla="*/ 2147483646 h 26"/>
                  <a:gd name="T48" fmla="*/ 2147483646 w 47"/>
                  <a:gd name="T49" fmla="*/ 2147483646 h 26"/>
                  <a:gd name="T50" fmla="*/ 2147483646 w 47"/>
                  <a:gd name="T51" fmla="*/ 2147483646 h 26"/>
                  <a:gd name="T52" fmla="*/ 2147483646 w 47"/>
                  <a:gd name="T53" fmla="*/ 2147483646 h 26"/>
                  <a:gd name="T54" fmla="*/ 2147483646 w 47"/>
                  <a:gd name="T55" fmla="*/ 2147483646 h 26"/>
                  <a:gd name="T56" fmla="*/ 2147483646 w 47"/>
                  <a:gd name="T57" fmla="*/ 2147483646 h 26"/>
                  <a:gd name="T58" fmla="*/ 2147483646 w 47"/>
                  <a:gd name="T59" fmla="*/ 2147483646 h 26"/>
                  <a:gd name="T60" fmla="*/ 2147483646 w 47"/>
                  <a:gd name="T61" fmla="*/ 2147483646 h 26"/>
                  <a:gd name="T62" fmla="*/ 2147483646 w 47"/>
                  <a:gd name="T63" fmla="*/ 2147483646 h 26"/>
                  <a:gd name="T64" fmla="*/ 2147483646 w 47"/>
                  <a:gd name="T65" fmla="*/ 2147483646 h 26"/>
                  <a:gd name="T66" fmla="*/ 2147483646 w 47"/>
                  <a:gd name="T67" fmla="*/ 2147483646 h 26"/>
                  <a:gd name="T68" fmla="*/ 2147483646 w 47"/>
                  <a:gd name="T69" fmla="*/ 2147483646 h 26"/>
                  <a:gd name="T70" fmla="*/ 2147483646 w 47"/>
                  <a:gd name="T71" fmla="*/ 2147483646 h 26"/>
                  <a:gd name="T72" fmla="*/ 2147483646 w 47"/>
                  <a:gd name="T73" fmla="*/ 2147483646 h 26"/>
                  <a:gd name="T74" fmla="*/ 2147483646 w 47"/>
                  <a:gd name="T75" fmla="*/ 0 h 26"/>
                  <a:gd name="T76" fmla="*/ 2147483646 w 47"/>
                  <a:gd name="T77" fmla="*/ 0 h 2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7"/>
                  <a:gd name="T118" fmla="*/ 0 h 26"/>
                  <a:gd name="T119" fmla="*/ 47 w 47"/>
                  <a:gd name="T120" fmla="*/ 26 h 2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7" h="26">
                    <a:moveTo>
                      <a:pt x="25" y="0"/>
                    </a:moveTo>
                    <a:lnTo>
                      <a:pt x="15" y="2"/>
                    </a:lnTo>
                    <a:lnTo>
                      <a:pt x="7" y="7"/>
                    </a:lnTo>
                    <a:lnTo>
                      <a:pt x="3" y="15"/>
                    </a:lnTo>
                    <a:lnTo>
                      <a:pt x="0" y="24"/>
                    </a:lnTo>
                    <a:lnTo>
                      <a:pt x="0" y="25"/>
                    </a:lnTo>
                    <a:lnTo>
                      <a:pt x="2" y="26"/>
                    </a:lnTo>
                    <a:lnTo>
                      <a:pt x="14" y="24"/>
                    </a:lnTo>
                    <a:lnTo>
                      <a:pt x="14" y="22"/>
                    </a:lnTo>
                    <a:lnTo>
                      <a:pt x="15" y="19"/>
                    </a:lnTo>
                    <a:lnTo>
                      <a:pt x="17" y="18"/>
                    </a:lnTo>
                    <a:lnTo>
                      <a:pt x="18" y="17"/>
                    </a:lnTo>
                    <a:lnTo>
                      <a:pt x="19" y="16"/>
                    </a:lnTo>
                    <a:lnTo>
                      <a:pt x="20" y="15"/>
                    </a:lnTo>
                    <a:lnTo>
                      <a:pt x="22" y="14"/>
                    </a:lnTo>
                    <a:lnTo>
                      <a:pt x="25" y="14"/>
                    </a:lnTo>
                    <a:lnTo>
                      <a:pt x="27" y="14"/>
                    </a:lnTo>
                    <a:lnTo>
                      <a:pt x="28" y="15"/>
                    </a:lnTo>
                    <a:lnTo>
                      <a:pt x="30" y="16"/>
                    </a:lnTo>
                    <a:lnTo>
                      <a:pt x="32" y="17"/>
                    </a:lnTo>
                    <a:lnTo>
                      <a:pt x="32" y="18"/>
                    </a:lnTo>
                    <a:lnTo>
                      <a:pt x="33" y="18"/>
                    </a:lnTo>
                    <a:lnTo>
                      <a:pt x="33" y="19"/>
                    </a:lnTo>
                    <a:lnTo>
                      <a:pt x="33" y="21"/>
                    </a:lnTo>
                    <a:lnTo>
                      <a:pt x="47" y="17"/>
                    </a:lnTo>
                    <a:lnTo>
                      <a:pt x="45" y="15"/>
                    </a:lnTo>
                    <a:lnTo>
                      <a:pt x="44" y="11"/>
                    </a:lnTo>
                    <a:lnTo>
                      <a:pt x="43" y="9"/>
                    </a:lnTo>
                    <a:lnTo>
                      <a:pt x="41" y="7"/>
                    </a:lnTo>
                    <a:lnTo>
                      <a:pt x="37" y="3"/>
                    </a:lnTo>
                    <a:lnTo>
                      <a:pt x="33" y="1"/>
                    </a:lnTo>
                    <a:lnTo>
                      <a:pt x="29" y="0"/>
                    </a:lnTo>
                    <a:lnTo>
                      <a:pt x="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52" name="Freeform 49">
                <a:extLst>
                  <a:ext uri="{FF2B5EF4-FFF2-40B4-BE49-F238E27FC236}">
                    <a16:creationId xmlns:a16="http://schemas.microsoft.com/office/drawing/2014/main" id="{0B995A7B-FB2E-4A08-875B-37686ADCE940}"/>
                  </a:ext>
                </a:extLst>
              </p:cNvPr>
              <p:cNvSpPr>
                <a:spLocks/>
              </p:cNvSpPr>
              <p:nvPr/>
            </p:nvSpPr>
            <p:spPr bwMode="auto">
              <a:xfrm>
                <a:off x="4292307" y="2520920"/>
                <a:ext cx="27532" cy="17619"/>
              </a:xfrm>
              <a:custGeom>
                <a:avLst/>
                <a:gdLst>
                  <a:gd name="T0" fmla="*/ 2147483646 w 46"/>
                  <a:gd name="T1" fmla="*/ 2147483646 h 30"/>
                  <a:gd name="T2" fmla="*/ 2147483646 w 46"/>
                  <a:gd name="T3" fmla="*/ 2147483646 h 30"/>
                  <a:gd name="T4" fmla="*/ 2147483646 w 46"/>
                  <a:gd name="T5" fmla="*/ 2147483646 h 30"/>
                  <a:gd name="T6" fmla="*/ 2147483646 w 46"/>
                  <a:gd name="T7" fmla="*/ 2147483646 h 30"/>
                  <a:gd name="T8" fmla="*/ 2147483646 w 46"/>
                  <a:gd name="T9" fmla="*/ 2147483646 h 30"/>
                  <a:gd name="T10" fmla="*/ 2147483646 w 46"/>
                  <a:gd name="T11" fmla="*/ 2147483646 h 30"/>
                  <a:gd name="T12" fmla="*/ 2147483646 w 46"/>
                  <a:gd name="T13" fmla="*/ 2147483646 h 30"/>
                  <a:gd name="T14" fmla="*/ 2147483646 w 46"/>
                  <a:gd name="T15" fmla="*/ 2147483646 h 30"/>
                  <a:gd name="T16" fmla="*/ 2147483646 w 46"/>
                  <a:gd name="T17" fmla="*/ 2147483646 h 30"/>
                  <a:gd name="T18" fmla="*/ 2147483646 w 46"/>
                  <a:gd name="T19" fmla="*/ 2147483646 h 30"/>
                  <a:gd name="T20" fmla="*/ 2147483646 w 46"/>
                  <a:gd name="T21" fmla="*/ 2147483646 h 30"/>
                  <a:gd name="T22" fmla="*/ 2147483646 w 46"/>
                  <a:gd name="T23" fmla="*/ 2147483646 h 30"/>
                  <a:gd name="T24" fmla="*/ 2147483646 w 46"/>
                  <a:gd name="T25" fmla="*/ 2147483646 h 30"/>
                  <a:gd name="T26" fmla="*/ 0 w 46"/>
                  <a:gd name="T27" fmla="*/ 2147483646 h 30"/>
                  <a:gd name="T28" fmla="*/ 0 w 46"/>
                  <a:gd name="T29" fmla="*/ 2147483646 h 30"/>
                  <a:gd name="T30" fmla="*/ 2147483646 w 46"/>
                  <a:gd name="T31" fmla="*/ 2147483646 h 30"/>
                  <a:gd name="T32" fmla="*/ 2147483646 w 46"/>
                  <a:gd name="T33" fmla="*/ 2147483646 h 30"/>
                  <a:gd name="T34" fmla="*/ 2147483646 w 46"/>
                  <a:gd name="T35" fmla="*/ 2147483646 h 30"/>
                  <a:gd name="T36" fmla="*/ 2147483646 w 46"/>
                  <a:gd name="T37" fmla="*/ 2147483646 h 30"/>
                  <a:gd name="T38" fmla="*/ 2147483646 w 46"/>
                  <a:gd name="T39" fmla="*/ 2147483646 h 30"/>
                  <a:gd name="T40" fmla="*/ 2147483646 w 46"/>
                  <a:gd name="T41" fmla="*/ 2147483646 h 30"/>
                  <a:gd name="T42" fmla="*/ 2147483646 w 46"/>
                  <a:gd name="T43" fmla="*/ 2147483646 h 30"/>
                  <a:gd name="T44" fmla="*/ 2147483646 w 46"/>
                  <a:gd name="T45" fmla="*/ 2147483646 h 30"/>
                  <a:gd name="T46" fmla="*/ 2147483646 w 46"/>
                  <a:gd name="T47" fmla="*/ 2147483646 h 30"/>
                  <a:gd name="T48" fmla="*/ 2147483646 w 46"/>
                  <a:gd name="T49" fmla="*/ 2147483646 h 30"/>
                  <a:gd name="T50" fmla="*/ 2147483646 w 46"/>
                  <a:gd name="T51" fmla="*/ 2147483646 h 30"/>
                  <a:gd name="T52" fmla="*/ 2147483646 w 46"/>
                  <a:gd name="T53" fmla="*/ 2147483646 h 30"/>
                  <a:gd name="T54" fmla="*/ 2147483646 w 46"/>
                  <a:gd name="T55" fmla="*/ 2147483646 h 30"/>
                  <a:gd name="T56" fmla="*/ 2147483646 w 46"/>
                  <a:gd name="T57" fmla="*/ 2147483646 h 30"/>
                  <a:gd name="T58" fmla="*/ 2147483646 w 46"/>
                  <a:gd name="T59" fmla="*/ 2147483646 h 30"/>
                  <a:gd name="T60" fmla="*/ 2147483646 w 46"/>
                  <a:gd name="T61" fmla="*/ 2147483646 h 30"/>
                  <a:gd name="T62" fmla="*/ 2147483646 w 46"/>
                  <a:gd name="T63" fmla="*/ 2147483646 h 30"/>
                  <a:gd name="T64" fmla="*/ 2147483646 w 46"/>
                  <a:gd name="T65" fmla="*/ 2147483646 h 30"/>
                  <a:gd name="T66" fmla="*/ 2147483646 w 46"/>
                  <a:gd name="T67" fmla="*/ 0 h 30"/>
                  <a:gd name="T68" fmla="*/ 2147483646 w 46"/>
                  <a:gd name="T69" fmla="*/ 2147483646 h 30"/>
                  <a:gd name="T70" fmla="*/ 2147483646 w 46"/>
                  <a:gd name="T71" fmla="*/ 2147483646 h 30"/>
                  <a:gd name="T72" fmla="*/ 2147483646 w 46"/>
                  <a:gd name="T73" fmla="*/ 2147483646 h 30"/>
                  <a:gd name="T74" fmla="*/ 2147483646 w 46"/>
                  <a:gd name="T75" fmla="*/ 2147483646 h 30"/>
                  <a:gd name="T76" fmla="*/ 2147483646 w 46"/>
                  <a:gd name="T77" fmla="*/ 2147483646 h 3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6"/>
                  <a:gd name="T118" fmla="*/ 0 h 30"/>
                  <a:gd name="T119" fmla="*/ 46 w 46"/>
                  <a:gd name="T120" fmla="*/ 30 h 3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6" h="30">
                    <a:moveTo>
                      <a:pt x="32" y="7"/>
                    </a:moveTo>
                    <a:lnTo>
                      <a:pt x="31" y="11"/>
                    </a:lnTo>
                    <a:lnTo>
                      <a:pt x="30" y="13"/>
                    </a:lnTo>
                    <a:lnTo>
                      <a:pt x="26" y="15"/>
                    </a:lnTo>
                    <a:lnTo>
                      <a:pt x="23" y="16"/>
                    </a:lnTo>
                    <a:lnTo>
                      <a:pt x="20" y="16"/>
                    </a:lnTo>
                    <a:lnTo>
                      <a:pt x="18" y="15"/>
                    </a:lnTo>
                    <a:lnTo>
                      <a:pt x="17" y="14"/>
                    </a:lnTo>
                    <a:lnTo>
                      <a:pt x="16" y="13"/>
                    </a:lnTo>
                    <a:lnTo>
                      <a:pt x="15" y="12"/>
                    </a:lnTo>
                    <a:lnTo>
                      <a:pt x="13" y="11"/>
                    </a:lnTo>
                    <a:lnTo>
                      <a:pt x="13" y="8"/>
                    </a:lnTo>
                    <a:lnTo>
                      <a:pt x="12" y="7"/>
                    </a:lnTo>
                    <a:lnTo>
                      <a:pt x="0" y="9"/>
                    </a:lnTo>
                    <a:lnTo>
                      <a:pt x="0" y="14"/>
                    </a:lnTo>
                    <a:lnTo>
                      <a:pt x="1" y="17"/>
                    </a:lnTo>
                    <a:lnTo>
                      <a:pt x="3" y="21"/>
                    </a:lnTo>
                    <a:lnTo>
                      <a:pt x="5" y="23"/>
                    </a:lnTo>
                    <a:lnTo>
                      <a:pt x="9" y="27"/>
                    </a:lnTo>
                    <a:lnTo>
                      <a:pt x="13" y="28"/>
                    </a:lnTo>
                    <a:lnTo>
                      <a:pt x="18" y="30"/>
                    </a:lnTo>
                    <a:lnTo>
                      <a:pt x="23" y="30"/>
                    </a:lnTo>
                    <a:lnTo>
                      <a:pt x="27" y="30"/>
                    </a:lnTo>
                    <a:lnTo>
                      <a:pt x="31" y="28"/>
                    </a:lnTo>
                    <a:lnTo>
                      <a:pt x="35" y="27"/>
                    </a:lnTo>
                    <a:lnTo>
                      <a:pt x="39" y="23"/>
                    </a:lnTo>
                    <a:lnTo>
                      <a:pt x="42" y="20"/>
                    </a:lnTo>
                    <a:lnTo>
                      <a:pt x="45" y="15"/>
                    </a:lnTo>
                    <a:lnTo>
                      <a:pt x="46" y="12"/>
                    </a:lnTo>
                    <a:lnTo>
                      <a:pt x="46" y="7"/>
                    </a:lnTo>
                    <a:lnTo>
                      <a:pt x="46" y="5"/>
                    </a:lnTo>
                    <a:lnTo>
                      <a:pt x="46" y="4"/>
                    </a:lnTo>
                    <a:lnTo>
                      <a:pt x="46" y="1"/>
                    </a:lnTo>
                    <a:lnTo>
                      <a:pt x="45" y="0"/>
                    </a:lnTo>
                    <a:lnTo>
                      <a:pt x="31" y="4"/>
                    </a:lnTo>
                    <a:lnTo>
                      <a:pt x="32" y="5"/>
                    </a:lnTo>
                    <a:lnTo>
                      <a:pt x="32" y="6"/>
                    </a:lnTo>
                    <a:lnTo>
                      <a:pt x="3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53" name="Freeform 44">
                <a:extLst>
                  <a:ext uri="{FF2B5EF4-FFF2-40B4-BE49-F238E27FC236}">
                    <a16:creationId xmlns:a16="http://schemas.microsoft.com/office/drawing/2014/main" id="{D5B0881E-9B92-471C-92CE-33E54D34BAAF}"/>
                  </a:ext>
                </a:extLst>
              </p:cNvPr>
              <p:cNvSpPr>
                <a:spLocks/>
              </p:cNvSpPr>
              <p:nvPr/>
            </p:nvSpPr>
            <p:spPr bwMode="auto">
              <a:xfrm>
                <a:off x="4276743" y="2553571"/>
                <a:ext cx="27532" cy="17619"/>
              </a:xfrm>
              <a:custGeom>
                <a:avLst/>
                <a:gdLst>
                  <a:gd name="T0" fmla="*/ 2147483646 w 46"/>
                  <a:gd name="T1" fmla="*/ 2147483646 h 28"/>
                  <a:gd name="T2" fmla="*/ 2147483646 w 46"/>
                  <a:gd name="T3" fmla="*/ 2147483646 h 28"/>
                  <a:gd name="T4" fmla="*/ 2147483646 w 46"/>
                  <a:gd name="T5" fmla="*/ 2147483646 h 28"/>
                  <a:gd name="T6" fmla="*/ 2147483646 w 46"/>
                  <a:gd name="T7" fmla="*/ 2147483646 h 28"/>
                  <a:gd name="T8" fmla="*/ 2147483646 w 46"/>
                  <a:gd name="T9" fmla="*/ 2147483646 h 28"/>
                  <a:gd name="T10" fmla="*/ 2147483646 w 46"/>
                  <a:gd name="T11" fmla="*/ 2147483646 h 28"/>
                  <a:gd name="T12" fmla="*/ 2147483646 w 46"/>
                  <a:gd name="T13" fmla="*/ 2147483646 h 28"/>
                  <a:gd name="T14" fmla="*/ 2147483646 w 46"/>
                  <a:gd name="T15" fmla="*/ 2147483646 h 28"/>
                  <a:gd name="T16" fmla="*/ 2147483646 w 46"/>
                  <a:gd name="T17" fmla="*/ 2147483646 h 28"/>
                  <a:gd name="T18" fmla="*/ 2147483646 w 46"/>
                  <a:gd name="T19" fmla="*/ 2147483646 h 28"/>
                  <a:gd name="T20" fmla="*/ 2147483646 w 46"/>
                  <a:gd name="T21" fmla="*/ 2147483646 h 28"/>
                  <a:gd name="T22" fmla="*/ 2147483646 w 46"/>
                  <a:gd name="T23" fmla="*/ 2147483646 h 28"/>
                  <a:gd name="T24" fmla="*/ 2147483646 w 46"/>
                  <a:gd name="T25" fmla="*/ 2147483646 h 28"/>
                  <a:gd name="T26" fmla="*/ 0 w 46"/>
                  <a:gd name="T27" fmla="*/ 2147483646 h 28"/>
                  <a:gd name="T28" fmla="*/ 2147483646 w 46"/>
                  <a:gd name="T29" fmla="*/ 2147483646 h 28"/>
                  <a:gd name="T30" fmla="*/ 2147483646 w 46"/>
                  <a:gd name="T31" fmla="*/ 2147483646 h 28"/>
                  <a:gd name="T32" fmla="*/ 2147483646 w 46"/>
                  <a:gd name="T33" fmla="*/ 2147483646 h 28"/>
                  <a:gd name="T34" fmla="*/ 2147483646 w 46"/>
                  <a:gd name="T35" fmla="*/ 2147483646 h 28"/>
                  <a:gd name="T36" fmla="*/ 2147483646 w 46"/>
                  <a:gd name="T37" fmla="*/ 2147483646 h 28"/>
                  <a:gd name="T38" fmla="*/ 2147483646 w 46"/>
                  <a:gd name="T39" fmla="*/ 2147483646 h 28"/>
                  <a:gd name="T40" fmla="*/ 2147483646 w 46"/>
                  <a:gd name="T41" fmla="*/ 2147483646 h 28"/>
                  <a:gd name="T42" fmla="*/ 2147483646 w 46"/>
                  <a:gd name="T43" fmla="*/ 2147483646 h 28"/>
                  <a:gd name="T44" fmla="*/ 2147483646 w 46"/>
                  <a:gd name="T45" fmla="*/ 2147483646 h 28"/>
                  <a:gd name="T46" fmla="*/ 2147483646 w 46"/>
                  <a:gd name="T47" fmla="*/ 2147483646 h 28"/>
                  <a:gd name="T48" fmla="*/ 2147483646 w 46"/>
                  <a:gd name="T49" fmla="*/ 2147483646 h 28"/>
                  <a:gd name="T50" fmla="*/ 2147483646 w 46"/>
                  <a:gd name="T51" fmla="*/ 2147483646 h 28"/>
                  <a:gd name="T52" fmla="*/ 2147483646 w 46"/>
                  <a:gd name="T53" fmla="*/ 2147483646 h 28"/>
                  <a:gd name="T54" fmla="*/ 2147483646 w 46"/>
                  <a:gd name="T55" fmla="*/ 2147483646 h 28"/>
                  <a:gd name="T56" fmla="*/ 2147483646 w 46"/>
                  <a:gd name="T57" fmla="*/ 2147483646 h 28"/>
                  <a:gd name="T58" fmla="*/ 2147483646 w 46"/>
                  <a:gd name="T59" fmla="*/ 2147483646 h 28"/>
                  <a:gd name="T60" fmla="*/ 2147483646 w 46"/>
                  <a:gd name="T61" fmla="*/ 2147483646 h 28"/>
                  <a:gd name="T62" fmla="*/ 2147483646 w 46"/>
                  <a:gd name="T63" fmla="*/ 2147483646 h 28"/>
                  <a:gd name="T64" fmla="*/ 2147483646 w 46"/>
                  <a:gd name="T65" fmla="*/ 2147483646 h 28"/>
                  <a:gd name="T66" fmla="*/ 2147483646 w 46"/>
                  <a:gd name="T67" fmla="*/ 0 h 28"/>
                  <a:gd name="T68" fmla="*/ 2147483646 w 46"/>
                  <a:gd name="T69" fmla="*/ 2147483646 h 28"/>
                  <a:gd name="T70" fmla="*/ 2147483646 w 46"/>
                  <a:gd name="T71" fmla="*/ 2147483646 h 28"/>
                  <a:gd name="T72" fmla="*/ 2147483646 w 46"/>
                  <a:gd name="T73" fmla="*/ 2147483646 h 28"/>
                  <a:gd name="T74" fmla="*/ 2147483646 w 46"/>
                  <a:gd name="T75" fmla="*/ 2147483646 h 28"/>
                  <a:gd name="T76" fmla="*/ 2147483646 w 46"/>
                  <a:gd name="T77" fmla="*/ 2147483646 h 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6"/>
                  <a:gd name="T118" fmla="*/ 0 h 28"/>
                  <a:gd name="T119" fmla="*/ 46 w 46"/>
                  <a:gd name="T120" fmla="*/ 28 h 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6" h="28">
                    <a:moveTo>
                      <a:pt x="32" y="4"/>
                    </a:moveTo>
                    <a:lnTo>
                      <a:pt x="31" y="8"/>
                    </a:lnTo>
                    <a:lnTo>
                      <a:pt x="30" y="11"/>
                    </a:lnTo>
                    <a:lnTo>
                      <a:pt x="26" y="12"/>
                    </a:lnTo>
                    <a:lnTo>
                      <a:pt x="23" y="13"/>
                    </a:lnTo>
                    <a:lnTo>
                      <a:pt x="21" y="13"/>
                    </a:lnTo>
                    <a:lnTo>
                      <a:pt x="19" y="13"/>
                    </a:lnTo>
                    <a:lnTo>
                      <a:pt x="18" y="12"/>
                    </a:lnTo>
                    <a:lnTo>
                      <a:pt x="16" y="11"/>
                    </a:lnTo>
                    <a:lnTo>
                      <a:pt x="15" y="10"/>
                    </a:lnTo>
                    <a:lnTo>
                      <a:pt x="15" y="9"/>
                    </a:lnTo>
                    <a:lnTo>
                      <a:pt x="13" y="6"/>
                    </a:lnTo>
                    <a:lnTo>
                      <a:pt x="13" y="5"/>
                    </a:lnTo>
                    <a:lnTo>
                      <a:pt x="0" y="9"/>
                    </a:lnTo>
                    <a:lnTo>
                      <a:pt x="1" y="12"/>
                    </a:lnTo>
                    <a:lnTo>
                      <a:pt x="2" y="16"/>
                    </a:lnTo>
                    <a:lnTo>
                      <a:pt x="4" y="19"/>
                    </a:lnTo>
                    <a:lnTo>
                      <a:pt x="6" y="21"/>
                    </a:lnTo>
                    <a:lnTo>
                      <a:pt x="10" y="24"/>
                    </a:lnTo>
                    <a:lnTo>
                      <a:pt x="13" y="26"/>
                    </a:lnTo>
                    <a:lnTo>
                      <a:pt x="18" y="27"/>
                    </a:lnTo>
                    <a:lnTo>
                      <a:pt x="23" y="28"/>
                    </a:lnTo>
                    <a:lnTo>
                      <a:pt x="27" y="27"/>
                    </a:lnTo>
                    <a:lnTo>
                      <a:pt x="32" y="26"/>
                    </a:lnTo>
                    <a:lnTo>
                      <a:pt x="35" y="24"/>
                    </a:lnTo>
                    <a:lnTo>
                      <a:pt x="39" y="21"/>
                    </a:lnTo>
                    <a:lnTo>
                      <a:pt x="42" y="18"/>
                    </a:lnTo>
                    <a:lnTo>
                      <a:pt x="45" y="13"/>
                    </a:lnTo>
                    <a:lnTo>
                      <a:pt x="46" y="9"/>
                    </a:lnTo>
                    <a:lnTo>
                      <a:pt x="46" y="4"/>
                    </a:lnTo>
                    <a:lnTo>
                      <a:pt x="46" y="3"/>
                    </a:lnTo>
                    <a:lnTo>
                      <a:pt x="46" y="2"/>
                    </a:lnTo>
                    <a:lnTo>
                      <a:pt x="46" y="1"/>
                    </a:lnTo>
                    <a:lnTo>
                      <a:pt x="46" y="0"/>
                    </a:lnTo>
                    <a:lnTo>
                      <a:pt x="32" y="2"/>
                    </a:lnTo>
                    <a:lnTo>
                      <a:pt x="32" y="3"/>
                    </a:lnTo>
                    <a:lnTo>
                      <a:pt x="3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54" name="Freeform 45">
                <a:extLst>
                  <a:ext uri="{FF2B5EF4-FFF2-40B4-BE49-F238E27FC236}">
                    <a16:creationId xmlns:a16="http://schemas.microsoft.com/office/drawing/2014/main" id="{96229ACD-7A14-4487-B272-374DECE75642}"/>
                  </a:ext>
                </a:extLst>
              </p:cNvPr>
              <p:cNvSpPr>
                <a:spLocks/>
              </p:cNvSpPr>
              <p:nvPr/>
            </p:nvSpPr>
            <p:spPr bwMode="auto">
              <a:xfrm>
                <a:off x="4276743" y="2542999"/>
                <a:ext cx="27532" cy="16444"/>
              </a:xfrm>
              <a:custGeom>
                <a:avLst/>
                <a:gdLst>
                  <a:gd name="T0" fmla="*/ 2147483646 w 46"/>
                  <a:gd name="T1" fmla="*/ 0 h 28"/>
                  <a:gd name="T2" fmla="*/ 2147483646 w 46"/>
                  <a:gd name="T3" fmla="*/ 2147483646 h 28"/>
                  <a:gd name="T4" fmla="*/ 2147483646 w 46"/>
                  <a:gd name="T5" fmla="*/ 2147483646 h 28"/>
                  <a:gd name="T6" fmla="*/ 2147483646 w 46"/>
                  <a:gd name="T7" fmla="*/ 2147483646 h 28"/>
                  <a:gd name="T8" fmla="*/ 0 w 46"/>
                  <a:gd name="T9" fmla="*/ 2147483646 h 28"/>
                  <a:gd name="T10" fmla="*/ 0 w 46"/>
                  <a:gd name="T11" fmla="*/ 2147483646 h 28"/>
                  <a:gd name="T12" fmla="*/ 0 w 46"/>
                  <a:gd name="T13" fmla="*/ 2147483646 h 28"/>
                  <a:gd name="T14" fmla="*/ 0 w 46"/>
                  <a:gd name="T15" fmla="*/ 2147483646 h 28"/>
                  <a:gd name="T16" fmla="*/ 0 w 46"/>
                  <a:gd name="T17" fmla="*/ 2147483646 h 28"/>
                  <a:gd name="T18" fmla="*/ 2147483646 w 46"/>
                  <a:gd name="T19" fmla="*/ 2147483646 h 28"/>
                  <a:gd name="T20" fmla="*/ 2147483646 w 46"/>
                  <a:gd name="T21" fmla="*/ 2147483646 h 28"/>
                  <a:gd name="T22" fmla="*/ 2147483646 w 46"/>
                  <a:gd name="T23" fmla="*/ 2147483646 h 28"/>
                  <a:gd name="T24" fmla="*/ 2147483646 w 46"/>
                  <a:gd name="T25" fmla="*/ 2147483646 h 28"/>
                  <a:gd name="T26" fmla="*/ 2147483646 w 46"/>
                  <a:gd name="T27" fmla="*/ 2147483646 h 28"/>
                  <a:gd name="T28" fmla="*/ 2147483646 w 46"/>
                  <a:gd name="T29" fmla="*/ 2147483646 h 28"/>
                  <a:gd name="T30" fmla="*/ 2147483646 w 46"/>
                  <a:gd name="T31" fmla="*/ 2147483646 h 28"/>
                  <a:gd name="T32" fmla="*/ 2147483646 w 46"/>
                  <a:gd name="T33" fmla="*/ 2147483646 h 28"/>
                  <a:gd name="T34" fmla="*/ 2147483646 w 46"/>
                  <a:gd name="T35" fmla="*/ 2147483646 h 28"/>
                  <a:gd name="T36" fmla="*/ 2147483646 w 46"/>
                  <a:gd name="T37" fmla="*/ 2147483646 h 28"/>
                  <a:gd name="T38" fmla="*/ 2147483646 w 46"/>
                  <a:gd name="T39" fmla="*/ 2147483646 h 28"/>
                  <a:gd name="T40" fmla="*/ 2147483646 w 46"/>
                  <a:gd name="T41" fmla="*/ 2147483646 h 28"/>
                  <a:gd name="T42" fmla="*/ 2147483646 w 46"/>
                  <a:gd name="T43" fmla="*/ 2147483646 h 28"/>
                  <a:gd name="T44" fmla="*/ 2147483646 w 46"/>
                  <a:gd name="T45" fmla="*/ 2147483646 h 28"/>
                  <a:gd name="T46" fmla="*/ 2147483646 w 46"/>
                  <a:gd name="T47" fmla="*/ 2147483646 h 28"/>
                  <a:gd name="T48" fmla="*/ 2147483646 w 46"/>
                  <a:gd name="T49" fmla="*/ 2147483646 h 28"/>
                  <a:gd name="T50" fmla="*/ 2147483646 w 46"/>
                  <a:gd name="T51" fmla="*/ 2147483646 h 28"/>
                  <a:gd name="T52" fmla="*/ 2147483646 w 46"/>
                  <a:gd name="T53" fmla="*/ 2147483646 h 28"/>
                  <a:gd name="T54" fmla="*/ 2147483646 w 46"/>
                  <a:gd name="T55" fmla="*/ 2147483646 h 28"/>
                  <a:gd name="T56" fmla="*/ 2147483646 w 46"/>
                  <a:gd name="T57" fmla="*/ 2147483646 h 28"/>
                  <a:gd name="T58" fmla="*/ 2147483646 w 46"/>
                  <a:gd name="T59" fmla="*/ 2147483646 h 28"/>
                  <a:gd name="T60" fmla="*/ 2147483646 w 46"/>
                  <a:gd name="T61" fmla="*/ 2147483646 h 28"/>
                  <a:gd name="T62" fmla="*/ 2147483646 w 46"/>
                  <a:gd name="T63" fmla="*/ 2147483646 h 28"/>
                  <a:gd name="T64" fmla="*/ 2147483646 w 46"/>
                  <a:gd name="T65" fmla="*/ 2147483646 h 28"/>
                  <a:gd name="T66" fmla="*/ 2147483646 w 46"/>
                  <a:gd name="T67" fmla="*/ 2147483646 h 28"/>
                  <a:gd name="T68" fmla="*/ 2147483646 w 46"/>
                  <a:gd name="T69" fmla="*/ 2147483646 h 28"/>
                  <a:gd name="T70" fmla="*/ 2147483646 w 46"/>
                  <a:gd name="T71" fmla="*/ 2147483646 h 28"/>
                  <a:gd name="T72" fmla="*/ 2147483646 w 46"/>
                  <a:gd name="T73" fmla="*/ 2147483646 h 28"/>
                  <a:gd name="T74" fmla="*/ 2147483646 w 46"/>
                  <a:gd name="T75" fmla="*/ 0 h 28"/>
                  <a:gd name="T76" fmla="*/ 2147483646 w 46"/>
                  <a:gd name="T77" fmla="*/ 0 h 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6"/>
                  <a:gd name="T118" fmla="*/ 0 h 28"/>
                  <a:gd name="T119" fmla="*/ 46 w 46"/>
                  <a:gd name="T120" fmla="*/ 28 h 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6" h="28">
                    <a:moveTo>
                      <a:pt x="23" y="0"/>
                    </a:moveTo>
                    <a:lnTo>
                      <a:pt x="13" y="2"/>
                    </a:lnTo>
                    <a:lnTo>
                      <a:pt x="6" y="7"/>
                    </a:lnTo>
                    <a:lnTo>
                      <a:pt x="2" y="14"/>
                    </a:lnTo>
                    <a:lnTo>
                      <a:pt x="0" y="23"/>
                    </a:lnTo>
                    <a:lnTo>
                      <a:pt x="0" y="24"/>
                    </a:lnTo>
                    <a:lnTo>
                      <a:pt x="0" y="25"/>
                    </a:lnTo>
                    <a:lnTo>
                      <a:pt x="0" y="27"/>
                    </a:lnTo>
                    <a:lnTo>
                      <a:pt x="0" y="28"/>
                    </a:lnTo>
                    <a:lnTo>
                      <a:pt x="13" y="24"/>
                    </a:lnTo>
                    <a:lnTo>
                      <a:pt x="13" y="23"/>
                    </a:lnTo>
                    <a:lnTo>
                      <a:pt x="13" y="21"/>
                    </a:lnTo>
                    <a:lnTo>
                      <a:pt x="15" y="20"/>
                    </a:lnTo>
                    <a:lnTo>
                      <a:pt x="15" y="17"/>
                    </a:lnTo>
                    <a:lnTo>
                      <a:pt x="16" y="16"/>
                    </a:lnTo>
                    <a:lnTo>
                      <a:pt x="18" y="15"/>
                    </a:lnTo>
                    <a:lnTo>
                      <a:pt x="19" y="15"/>
                    </a:lnTo>
                    <a:lnTo>
                      <a:pt x="21" y="14"/>
                    </a:lnTo>
                    <a:lnTo>
                      <a:pt x="23" y="14"/>
                    </a:lnTo>
                    <a:lnTo>
                      <a:pt x="25" y="14"/>
                    </a:lnTo>
                    <a:lnTo>
                      <a:pt x="26" y="15"/>
                    </a:lnTo>
                    <a:lnTo>
                      <a:pt x="28" y="15"/>
                    </a:lnTo>
                    <a:lnTo>
                      <a:pt x="30" y="16"/>
                    </a:lnTo>
                    <a:lnTo>
                      <a:pt x="31" y="17"/>
                    </a:lnTo>
                    <a:lnTo>
                      <a:pt x="31" y="19"/>
                    </a:lnTo>
                    <a:lnTo>
                      <a:pt x="31" y="20"/>
                    </a:lnTo>
                    <a:lnTo>
                      <a:pt x="32" y="21"/>
                    </a:lnTo>
                    <a:lnTo>
                      <a:pt x="46" y="19"/>
                    </a:lnTo>
                    <a:lnTo>
                      <a:pt x="45" y="15"/>
                    </a:lnTo>
                    <a:lnTo>
                      <a:pt x="43" y="13"/>
                    </a:lnTo>
                    <a:lnTo>
                      <a:pt x="41" y="9"/>
                    </a:lnTo>
                    <a:lnTo>
                      <a:pt x="39" y="7"/>
                    </a:lnTo>
                    <a:lnTo>
                      <a:pt x="35" y="4"/>
                    </a:lnTo>
                    <a:lnTo>
                      <a:pt x="32" y="1"/>
                    </a:lnTo>
                    <a:lnTo>
                      <a:pt x="27" y="0"/>
                    </a:lnTo>
                    <a:lnTo>
                      <a:pt x="2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cxnSp>
            <p:nvCxnSpPr>
              <p:cNvPr id="87555" name="직선 연결선 1137">
                <a:extLst>
                  <a:ext uri="{FF2B5EF4-FFF2-40B4-BE49-F238E27FC236}">
                    <a16:creationId xmlns:a16="http://schemas.microsoft.com/office/drawing/2014/main" id="{A0E9FE41-099C-4F87-9122-F2263451CA68}"/>
                  </a:ext>
                </a:extLst>
              </p:cNvPr>
              <p:cNvCxnSpPr>
                <a:cxnSpLocks noChangeShapeType="1"/>
              </p:cNvCxnSpPr>
              <p:nvPr/>
            </p:nvCxnSpPr>
            <p:spPr bwMode="auto">
              <a:xfrm>
                <a:off x="4143388" y="2575287"/>
                <a:ext cx="148309" cy="30110"/>
              </a:xfrm>
              <a:prstGeom prst="line">
                <a:avLst/>
              </a:prstGeom>
              <a:noFill/>
              <a:ln w="9525">
                <a:solidFill>
                  <a:srgbClr val="262626"/>
                </a:solidFill>
                <a:round/>
                <a:headEnd/>
                <a:tailEnd/>
              </a:ln>
              <a:extLst>
                <a:ext uri="{909E8E84-426E-40DD-AFC4-6F175D3DCCD1}">
                  <a14:hiddenFill xmlns:a14="http://schemas.microsoft.com/office/drawing/2010/main">
                    <a:noFill/>
                  </a14:hiddenFill>
                </a:ext>
              </a:extLst>
            </p:spPr>
          </p:cxnSp>
          <p:cxnSp>
            <p:nvCxnSpPr>
              <p:cNvPr id="87556" name="직선 연결선 1138">
                <a:extLst>
                  <a:ext uri="{FF2B5EF4-FFF2-40B4-BE49-F238E27FC236}">
                    <a16:creationId xmlns:a16="http://schemas.microsoft.com/office/drawing/2014/main" id="{E894F978-8329-4EBF-A0D1-E0AA5FA78B66}"/>
                  </a:ext>
                </a:extLst>
              </p:cNvPr>
              <p:cNvCxnSpPr>
                <a:cxnSpLocks noChangeShapeType="1"/>
              </p:cNvCxnSpPr>
              <p:nvPr/>
            </p:nvCxnSpPr>
            <p:spPr bwMode="auto">
              <a:xfrm>
                <a:off x="4131980" y="2600084"/>
                <a:ext cx="148308" cy="30110"/>
              </a:xfrm>
              <a:prstGeom prst="line">
                <a:avLst/>
              </a:prstGeom>
              <a:noFill/>
              <a:ln w="9525">
                <a:solidFill>
                  <a:srgbClr val="262626"/>
                </a:solidFill>
                <a:round/>
                <a:headEnd/>
                <a:tailEnd/>
              </a:ln>
              <a:extLst>
                <a:ext uri="{909E8E84-426E-40DD-AFC4-6F175D3DCCD1}">
                  <a14:hiddenFill xmlns:a14="http://schemas.microsoft.com/office/drawing/2010/main">
                    <a:noFill/>
                  </a14:hiddenFill>
                </a:ext>
              </a:extLst>
            </p:spPr>
          </p:cxnSp>
          <p:cxnSp>
            <p:nvCxnSpPr>
              <p:cNvPr id="87557" name="직선 연결선 1139">
                <a:extLst>
                  <a:ext uri="{FF2B5EF4-FFF2-40B4-BE49-F238E27FC236}">
                    <a16:creationId xmlns:a16="http://schemas.microsoft.com/office/drawing/2014/main" id="{4CB4151C-1A2E-4175-966F-73283A03F462}"/>
                  </a:ext>
                </a:extLst>
              </p:cNvPr>
              <p:cNvCxnSpPr>
                <a:cxnSpLocks noChangeShapeType="1"/>
              </p:cNvCxnSpPr>
              <p:nvPr/>
            </p:nvCxnSpPr>
            <p:spPr bwMode="auto">
              <a:xfrm>
                <a:off x="4122202" y="2624880"/>
                <a:ext cx="91267" cy="15940"/>
              </a:xfrm>
              <a:prstGeom prst="line">
                <a:avLst/>
              </a:prstGeom>
              <a:noFill/>
              <a:ln w="9525">
                <a:solidFill>
                  <a:srgbClr val="262626"/>
                </a:solidFill>
                <a:round/>
                <a:headEnd/>
                <a:tailEnd/>
              </a:ln>
              <a:extLst>
                <a:ext uri="{909E8E84-426E-40DD-AFC4-6F175D3DCCD1}">
                  <a14:hiddenFill xmlns:a14="http://schemas.microsoft.com/office/drawing/2010/main">
                    <a:noFill/>
                  </a14:hiddenFill>
                </a:ext>
              </a:extLst>
            </p:spPr>
          </p:cxnSp>
        </p:grpSp>
        <p:sp>
          <p:nvSpPr>
            <p:cNvPr id="87077" name="TextBox 1021">
              <a:extLst>
                <a:ext uri="{FF2B5EF4-FFF2-40B4-BE49-F238E27FC236}">
                  <a16:creationId xmlns:a16="http://schemas.microsoft.com/office/drawing/2014/main" id="{0412BA74-AE4A-47FA-A50D-B770B0CDFA8B}"/>
                </a:ext>
              </a:extLst>
            </p:cNvPr>
            <p:cNvSpPr txBox="1">
              <a:spLocks noChangeArrowheads="1"/>
            </p:cNvSpPr>
            <p:nvPr/>
          </p:nvSpPr>
          <p:spPr bwMode="auto">
            <a:xfrm>
              <a:off x="2684463" y="3570274"/>
              <a:ext cx="12604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algn="ctr" eaLnBrk="1" latinLnBrk="1" hangingPunct="1">
                <a:spcBef>
                  <a:spcPct val="0"/>
                </a:spcBef>
                <a:buClrTx/>
                <a:buSzTx/>
                <a:buFontTx/>
                <a:buNone/>
              </a:pPr>
              <a:r>
                <a:rPr kumimoji="1" lang="en-US" altLang="ko-KR" sz="800" b="1">
                  <a:solidFill>
                    <a:schemeClr val="tx1"/>
                  </a:solidFill>
                  <a:ea typeface="산돌고딕 M"/>
                  <a:cs typeface="Arial" panose="020B0604020202020204" pitchFamily="34" charset="0"/>
                </a:rPr>
                <a:t>Application Receiving</a:t>
              </a:r>
              <a:endParaRPr kumimoji="1" lang="ko-KR" altLang="en-US" sz="800" b="1">
                <a:solidFill>
                  <a:schemeClr val="tx1"/>
                </a:solidFill>
                <a:ea typeface="산돌고딕 M"/>
                <a:cs typeface="Arial" panose="020B0604020202020204" pitchFamily="34" charset="0"/>
              </a:endParaRPr>
            </a:p>
          </p:txBody>
        </p:sp>
        <p:sp>
          <p:nvSpPr>
            <p:cNvPr id="87078" name="TextBox 1022">
              <a:extLst>
                <a:ext uri="{FF2B5EF4-FFF2-40B4-BE49-F238E27FC236}">
                  <a16:creationId xmlns:a16="http://schemas.microsoft.com/office/drawing/2014/main" id="{7232767F-A2A0-4D91-92C2-56D014AAD51D}"/>
                </a:ext>
              </a:extLst>
            </p:cNvPr>
            <p:cNvSpPr txBox="1">
              <a:spLocks noChangeArrowheads="1"/>
            </p:cNvSpPr>
            <p:nvPr/>
          </p:nvSpPr>
          <p:spPr bwMode="auto">
            <a:xfrm>
              <a:off x="5199063" y="3571861"/>
              <a:ext cx="11684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algn="ctr" eaLnBrk="1" latinLnBrk="1" hangingPunct="1">
                <a:spcBef>
                  <a:spcPct val="0"/>
                </a:spcBef>
                <a:buClrTx/>
                <a:buSzTx/>
                <a:buFontTx/>
                <a:buNone/>
              </a:pPr>
              <a:r>
                <a:rPr kumimoji="1" lang="en-US" altLang="ko-KR" sz="800" b="1">
                  <a:solidFill>
                    <a:schemeClr val="tx1"/>
                  </a:solidFill>
                  <a:ea typeface="산돌고딕 M"/>
                  <a:cs typeface="Arial" panose="020B0604020202020204" pitchFamily="34" charset="0"/>
                </a:rPr>
                <a:t>Formality  Checking</a:t>
              </a:r>
              <a:endParaRPr kumimoji="1" lang="ko-KR" altLang="en-US" sz="800" b="1">
                <a:solidFill>
                  <a:schemeClr val="tx1"/>
                </a:solidFill>
                <a:ea typeface="산돌고딕 M"/>
                <a:cs typeface="Arial" panose="020B0604020202020204" pitchFamily="34" charset="0"/>
              </a:endParaRPr>
            </a:p>
          </p:txBody>
        </p:sp>
        <p:sp>
          <p:nvSpPr>
            <p:cNvPr id="87079" name="TextBox 1024">
              <a:extLst>
                <a:ext uri="{FF2B5EF4-FFF2-40B4-BE49-F238E27FC236}">
                  <a16:creationId xmlns:a16="http://schemas.microsoft.com/office/drawing/2014/main" id="{105A29C9-1DCF-4CF4-A03C-30F68C6D745A}"/>
                </a:ext>
              </a:extLst>
            </p:cNvPr>
            <p:cNvSpPr txBox="1">
              <a:spLocks noChangeArrowheads="1"/>
            </p:cNvSpPr>
            <p:nvPr/>
          </p:nvSpPr>
          <p:spPr bwMode="auto">
            <a:xfrm>
              <a:off x="5678488" y="4276711"/>
              <a:ext cx="741362"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algn="ctr" eaLnBrk="1" latinLnBrk="1" hangingPunct="1">
                <a:spcBef>
                  <a:spcPct val="0"/>
                </a:spcBef>
                <a:buClrTx/>
                <a:buSzTx/>
                <a:buFontTx/>
                <a:buNone/>
              </a:pPr>
              <a:r>
                <a:rPr kumimoji="1" lang="en-US" altLang="ko-KR" sz="900" b="1">
                  <a:solidFill>
                    <a:schemeClr val="tx1"/>
                  </a:solidFill>
                  <a:ea typeface="산돌고딕 M"/>
                  <a:cs typeface="Arial" panose="020B0604020202020204" pitchFamily="34" charset="0"/>
                </a:rPr>
                <a:t>Searching</a:t>
              </a:r>
              <a:endParaRPr kumimoji="1" lang="ko-KR" altLang="en-US" sz="900" b="1">
                <a:solidFill>
                  <a:schemeClr val="tx1"/>
                </a:solidFill>
                <a:ea typeface="산돌고딕 M"/>
                <a:cs typeface="Arial" panose="020B0604020202020204" pitchFamily="34" charset="0"/>
              </a:endParaRPr>
            </a:p>
          </p:txBody>
        </p:sp>
        <p:sp>
          <p:nvSpPr>
            <p:cNvPr id="87080" name="TextBox 1066">
              <a:extLst>
                <a:ext uri="{FF2B5EF4-FFF2-40B4-BE49-F238E27FC236}">
                  <a16:creationId xmlns:a16="http://schemas.microsoft.com/office/drawing/2014/main" id="{28E09E05-20FD-4BD8-8CEC-E7CE5EF2D684}"/>
                </a:ext>
              </a:extLst>
            </p:cNvPr>
            <p:cNvSpPr txBox="1">
              <a:spLocks noChangeArrowheads="1"/>
            </p:cNvSpPr>
            <p:nvPr/>
          </p:nvSpPr>
          <p:spPr bwMode="auto">
            <a:xfrm>
              <a:off x="3919538" y="3571861"/>
              <a:ext cx="12954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algn="ctr" eaLnBrk="1" latinLnBrk="1" hangingPunct="1">
                <a:spcBef>
                  <a:spcPct val="0"/>
                </a:spcBef>
                <a:buClrTx/>
                <a:buSzTx/>
                <a:buFontTx/>
                <a:buNone/>
              </a:pPr>
              <a:r>
                <a:rPr kumimoji="1" lang="en-US" altLang="ko-KR" sz="800" b="1">
                  <a:solidFill>
                    <a:schemeClr val="tx1"/>
                  </a:solidFill>
                  <a:ea typeface="산돌고딕 M"/>
                  <a:cs typeface="Arial" panose="020B0604020202020204" pitchFamily="34" charset="0"/>
                </a:rPr>
                <a:t>Document  Digitization</a:t>
              </a:r>
              <a:endParaRPr kumimoji="1" lang="ko-KR" altLang="en-US" sz="800" b="1">
                <a:solidFill>
                  <a:schemeClr val="tx1"/>
                </a:solidFill>
                <a:ea typeface="산돌고딕 M"/>
                <a:cs typeface="Arial" panose="020B0604020202020204" pitchFamily="34" charset="0"/>
              </a:endParaRPr>
            </a:p>
          </p:txBody>
        </p:sp>
        <p:grpSp>
          <p:nvGrpSpPr>
            <p:cNvPr id="87081" name="그룹 661">
              <a:extLst>
                <a:ext uri="{FF2B5EF4-FFF2-40B4-BE49-F238E27FC236}">
                  <a16:creationId xmlns:a16="http://schemas.microsoft.com/office/drawing/2014/main" id="{ACF2D06C-CD11-4F86-8490-82D1DB3BEBFF}"/>
                </a:ext>
              </a:extLst>
            </p:cNvPr>
            <p:cNvGrpSpPr>
              <a:grpSpLocks/>
            </p:cNvGrpSpPr>
            <p:nvPr/>
          </p:nvGrpSpPr>
          <p:grpSpPr bwMode="auto">
            <a:xfrm>
              <a:off x="4344988" y="3187686"/>
              <a:ext cx="419100" cy="384175"/>
              <a:chOff x="8739214" y="3786190"/>
              <a:chExt cx="464358" cy="428643"/>
            </a:xfrm>
          </p:grpSpPr>
          <p:sp>
            <p:nvSpPr>
              <p:cNvPr id="1107" name="타원 1106">
                <a:extLst>
                  <a:ext uri="{FF2B5EF4-FFF2-40B4-BE49-F238E27FC236}">
                    <a16:creationId xmlns:a16="http://schemas.microsoft.com/office/drawing/2014/main" id="{F0DFFB79-FE9F-4CC3-8B6E-2EF4BA8CBFBC}"/>
                  </a:ext>
                </a:extLst>
              </p:cNvPr>
              <p:cNvSpPr/>
              <p:nvPr/>
            </p:nvSpPr>
            <p:spPr bwMode="auto">
              <a:xfrm>
                <a:off x="8739214" y="3786190"/>
                <a:ext cx="464358" cy="428643"/>
              </a:xfrm>
              <a:prstGeom prst="ellipse">
                <a:avLst/>
              </a:prstGeom>
              <a:solidFill>
                <a:srgbClr val="4F81BD"/>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eaLnBrk="1" latinLnBrk="1" hangingPunct="1">
                  <a:defRPr/>
                </a:pPr>
                <a:endParaRPr kumimoji="1" lang="ko-KR" altLang="en-US">
                  <a:solidFill>
                    <a:srgbClr val="FFFFFF"/>
                  </a:solidFill>
                  <a:latin typeface="Arial" charset="0"/>
                  <a:ea typeface="Gulim" pitchFamily="34" charset="-127"/>
                  <a:cs typeface="Gulim" pitchFamily="34" charset="-127"/>
                </a:endParaRPr>
              </a:p>
            </p:txBody>
          </p:sp>
          <p:pic>
            <p:nvPicPr>
              <p:cNvPr id="87526" name="Picture 43" descr="C:\Documents and Settings\강시영\Local Settings\Temporary Internet Files\Content.IE5\H0QILFD4\MCj04289790000[1].wmf">
                <a:extLst>
                  <a:ext uri="{FF2B5EF4-FFF2-40B4-BE49-F238E27FC236}">
                    <a16:creationId xmlns:a16="http://schemas.microsoft.com/office/drawing/2014/main" id="{55AB7B4C-13E4-4A11-8033-56F9E294D41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73452" y="3914408"/>
                <a:ext cx="310724" cy="214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8" name="그룹 1108">
                <a:extLst>
                  <a:ext uri="{FF2B5EF4-FFF2-40B4-BE49-F238E27FC236}">
                    <a16:creationId xmlns:a16="http://schemas.microsoft.com/office/drawing/2014/main" id="{B62CCCD9-6CB7-4D9C-9F90-E6664D9DC60E}"/>
                  </a:ext>
                </a:extLst>
              </p:cNvPr>
              <p:cNvGrpSpPr/>
              <p:nvPr/>
            </p:nvGrpSpPr>
            <p:grpSpPr>
              <a:xfrm rot="18253767" flipH="1">
                <a:off x="8745103" y="3911687"/>
                <a:ext cx="192088" cy="115888"/>
                <a:chOff x="8453462" y="4572008"/>
                <a:chExt cx="192088" cy="115888"/>
              </a:xfrm>
              <a:solidFill>
                <a:srgbClr val="FFC000"/>
              </a:solidFill>
            </p:grpSpPr>
            <p:sp>
              <p:nvSpPr>
                <p:cNvPr id="1110" name="Freeform 49">
                  <a:extLst>
                    <a:ext uri="{FF2B5EF4-FFF2-40B4-BE49-F238E27FC236}">
                      <a16:creationId xmlns:a16="http://schemas.microsoft.com/office/drawing/2014/main" id="{B7A0824F-188C-4574-85B0-98E90F120248}"/>
                    </a:ext>
                  </a:extLst>
                </p:cNvPr>
                <p:cNvSpPr>
                  <a:spLocks/>
                </p:cNvSpPr>
                <p:nvPr/>
              </p:nvSpPr>
              <p:spPr bwMode="auto">
                <a:xfrm>
                  <a:off x="8453462" y="4584708"/>
                  <a:ext cx="44450" cy="85725"/>
                </a:xfrm>
                <a:custGeom>
                  <a:avLst/>
                  <a:gdLst/>
                  <a:ahLst/>
                  <a:cxnLst>
                    <a:cxn ang="0">
                      <a:pos x="99" y="0"/>
                    </a:cxn>
                    <a:cxn ang="0">
                      <a:pos x="113" y="216"/>
                    </a:cxn>
                    <a:cxn ang="0">
                      <a:pos x="0" y="31"/>
                    </a:cxn>
                    <a:cxn ang="0">
                      <a:pos x="99" y="0"/>
                    </a:cxn>
                  </a:cxnLst>
                  <a:rect l="0" t="0" r="r" b="b"/>
                  <a:pathLst>
                    <a:path w="113" h="216">
                      <a:moveTo>
                        <a:pt x="99" y="0"/>
                      </a:moveTo>
                      <a:lnTo>
                        <a:pt x="113" y="216"/>
                      </a:lnTo>
                      <a:lnTo>
                        <a:pt x="0" y="31"/>
                      </a:lnTo>
                      <a:lnTo>
                        <a:pt x="99" y="0"/>
                      </a:lnTo>
                      <a:close/>
                    </a:path>
                  </a:pathLst>
                </a:custGeom>
                <a:grpFill/>
                <a:ln w="9525">
                  <a:noFill/>
                  <a:round/>
                  <a:headEnd/>
                  <a:tailEnd/>
                </a:ln>
              </p:spPr>
              <p:txBody>
                <a:bodyPr/>
                <a:lstStyle>
                  <a:defPPr>
                    <a:defRPr lang="en-GB"/>
                  </a:defPPr>
                  <a:lvl1pPr algn="l" rtl="0" fontAlgn="base" latinLnBrk="1">
                    <a:spcBef>
                      <a:spcPct val="0"/>
                    </a:spcBef>
                    <a:spcAft>
                      <a:spcPct val="0"/>
                    </a:spcAft>
                    <a:defRPr kumimoji="1" kern="1200">
                      <a:solidFill>
                        <a:schemeClr val="tx1"/>
                      </a:solidFill>
                      <a:latin typeface="Arial" charset="0"/>
                      <a:ea typeface="굴림" pitchFamily="50" charset="-127"/>
                      <a:cs typeface="+mn-cs"/>
                    </a:defRPr>
                  </a:lvl1pPr>
                  <a:lvl2pPr marL="457200" algn="l" rtl="0" fontAlgn="base" latinLnBrk="1">
                    <a:spcBef>
                      <a:spcPct val="0"/>
                    </a:spcBef>
                    <a:spcAft>
                      <a:spcPct val="0"/>
                    </a:spcAft>
                    <a:defRPr kumimoji="1" kern="1200">
                      <a:solidFill>
                        <a:schemeClr val="tx1"/>
                      </a:solidFill>
                      <a:latin typeface="Arial" charset="0"/>
                      <a:ea typeface="굴림" pitchFamily="50" charset="-127"/>
                      <a:cs typeface="+mn-cs"/>
                    </a:defRPr>
                  </a:lvl2pPr>
                  <a:lvl3pPr marL="914400" algn="l" rtl="0" fontAlgn="base" latinLnBrk="1">
                    <a:spcBef>
                      <a:spcPct val="0"/>
                    </a:spcBef>
                    <a:spcAft>
                      <a:spcPct val="0"/>
                    </a:spcAft>
                    <a:defRPr kumimoji="1" kern="1200">
                      <a:solidFill>
                        <a:schemeClr val="tx1"/>
                      </a:solidFill>
                      <a:latin typeface="Arial" charset="0"/>
                      <a:ea typeface="굴림" pitchFamily="50" charset="-127"/>
                      <a:cs typeface="+mn-cs"/>
                    </a:defRPr>
                  </a:lvl3pPr>
                  <a:lvl4pPr marL="1371600" algn="l" rtl="0" fontAlgn="base" latinLnBrk="1">
                    <a:spcBef>
                      <a:spcPct val="0"/>
                    </a:spcBef>
                    <a:spcAft>
                      <a:spcPct val="0"/>
                    </a:spcAft>
                    <a:defRPr kumimoji="1" kern="1200">
                      <a:solidFill>
                        <a:schemeClr val="tx1"/>
                      </a:solidFill>
                      <a:latin typeface="Arial" charset="0"/>
                      <a:ea typeface="굴림" pitchFamily="50" charset="-127"/>
                      <a:cs typeface="+mn-cs"/>
                    </a:defRPr>
                  </a:lvl4pPr>
                  <a:lvl5pPr marL="1828800" algn="l" rtl="0" fontAlgn="base" latinLnBrk="1">
                    <a:spcBef>
                      <a:spcPct val="0"/>
                    </a:spcBef>
                    <a:spcAft>
                      <a:spcPct val="0"/>
                    </a:spcAft>
                    <a:defRPr kumimoji="1" kern="1200">
                      <a:solidFill>
                        <a:schemeClr val="tx1"/>
                      </a:solidFill>
                      <a:latin typeface="Arial" charset="0"/>
                      <a:ea typeface="굴림" pitchFamily="50" charset="-127"/>
                      <a:cs typeface="+mn-cs"/>
                    </a:defRPr>
                  </a:lvl5pPr>
                  <a:lvl6pPr marL="2286000" algn="l" defTabSz="914400" rtl="0" eaLnBrk="1" latinLnBrk="1" hangingPunct="1">
                    <a:defRPr kumimoji="1" kern="1200">
                      <a:solidFill>
                        <a:schemeClr val="tx1"/>
                      </a:solidFill>
                      <a:latin typeface="Arial" charset="0"/>
                      <a:ea typeface="굴림" pitchFamily="50" charset="-127"/>
                      <a:cs typeface="+mn-cs"/>
                    </a:defRPr>
                  </a:lvl6pPr>
                  <a:lvl7pPr marL="2743200" algn="l" defTabSz="914400" rtl="0" eaLnBrk="1" latinLnBrk="1" hangingPunct="1">
                    <a:defRPr kumimoji="1" kern="1200">
                      <a:solidFill>
                        <a:schemeClr val="tx1"/>
                      </a:solidFill>
                      <a:latin typeface="Arial" charset="0"/>
                      <a:ea typeface="굴림" pitchFamily="50" charset="-127"/>
                      <a:cs typeface="+mn-cs"/>
                    </a:defRPr>
                  </a:lvl7pPr>
                  <a:lvl8pPr marL="3200400" algn="l" defTabSz="914400" rtl="0" eaLnBrk="1" latinLnBrk="1" hangingPunct="1">
                    <a:defRPr kumimoji="1" kern="1200">
                      <a:solidFill>
                        <a:schemeClr val="tx1"/>
                      </a:solidFill>
                      <a:latin typeface="Arial" charset="0"/>
                      <a:ea typeface="굴림" pitchFamily="50" charset="-127"/>
                      <a:cs typeface="+mn-cs"/>
                    </a:defRPr>
                  </a:lvl8pPr>
                  <a:lvl9pPr marL="3657600" algn="l" defTabSz="914400" rtl="0" eaLnBrk="1" latinLnBrk="1" hangingPunct="1">
                    <a:defRPr kumimoji="1" kern="1200">
                      <a:solidFill>
                        <a:schemeClr val="tx1"/>
                      </a:solidFill>
                      <a:latin typeface="Arial" charset="0"/>
                      <a:ea typeface="굴림" pitchFamily="50" charset="-127"/>
                      <a:cs typeface="+mn-cs"/>
                    </a:defRPr>
                  </a:lvl9pPr>
                </a:lstStyle>
                <a:p>
                  <a:pPr eaLnBrk="1" hangingPunct="1">
                    <a:defRPr/>
                  </a:pPr>
                  <a:endParaRPr lang="ko-KR" altLang="en-US">
                    <a:solidFill>
                      <a:sysClr val="windowText" lastClr="000000"/>
                    </a:solidFill>
                    <a:latin typeface="Arial" pitchFamily="34" charset="0"/>
                  </a:endParaRPr>
                </a:p>
              </p:txBody>
            </p:sp>
            <p:sp>
              <p:nvSpPr>
                <p:cNvPr id="1111" name="Freeform 50">
                  <a:extLst>
                    <a:ext uri="{FF2B5EF4-FFF2-40B4-BE49-F238E27FC236}">
                      <a16:creationId xmlns:a16="http://schemas.microsoft.com/office/drawing/2014/main" id="{90635E69-F0C7-43BA-9AB6-DB420E8C1A59}"/>
                    </a:ext>
                  </a:extLst>
                </p:cNvPr>
                <p:cNvSpPr>
                  <a:spLocks/>
                </p:cNvSpPr>
                <p:nvPr/>
              </p:nvSpPr>
              <p:spPr bwMode="auto">
                <a:xfrm>
                  <a:off x="8537599" y="4572008"/>
                  <a:ext cx="47625" cy="84138"/>
                </a:xfrm>
                <a:custGeom>
                  <a:avLst/>
                  <a:gdLst/>
                  <a:ahLst/>
                  <a:cxnLst>
                    <a:cxn ang="0">
                      <a:pos x="123" y="27"/>
                    </a:cxn>
                    <a:cxn ang="0">
                      <a:pos x="0" y="210"/>
                    </a:cxn>
                    <a:cxn ang="0">
                      <a:pos x="21" y="0"/>
                    </a:cxn>
                    <a:cxn ang="0">
                      <a:pos x="123" y="27"/>
                    </a:cxn>
                  </a:cxnLst>
                  <a:rect l="0" t="0" r="r" b="b"/>
                  <a:pathLst>
                    <a:path w="123" h="210">
                      <a:moveTo>
                        <a:pt x="123" y="27"/>
                      </a:moveTo>
                      <a:lnTo>
                        <a:pt x="0" y="210"/>
                      </a:lnTo>
                      <a:lnTo>
                        <a:pt x="21" y="0"/>
                      </a:lnTo>
                      <a:lnTo>
                        <a:pt x="123" y="27"/>
                      </a:lnTo>
                      <a:close/>
                    </a:path>
                  </a:pathLst>
                </a:custGeom>
                <a:grpFill/>
                <a:ln w="9525">
                  <a:noFill/>
                  <a:round/>
                  <a:headEnd/>
                  <a:tailEnd/>
                </a:ln>
              </p:spPr>
              <p:txBody>
                <a:bodyPr/>
                <a:lstStyle>
                  <a:defPPr>
                    <a:defRPr lang="en-GB"/>
                  </a:defPPr>
                  <a:lvl1pPr algn="l" rtl="0" fontAlgn="base" latinLnBrk="1">
                    <a:spcBef>
                      <a:spcPct val="0"/>
                    </a:spcBef>
                    <a:spcAft>
                      <a:spcPct val="0"/>
                    </a:spcAft>
                    <a:defRPr kumimoji="1" kern="1200">
                      <a:solidFill>
                        <a:schemeClr val="tx1"/>
                      </a:solidFill>
                      <a:latin typeface="Arial" charset="0"/>
                      <a:ea typeface="굴림" pitchFamily="50" charset="-127"/>
                      <a:cs typeface="+mn-cs"/>
                    </a:defRPr>
                  </a:lvl1pPr>
                  <a:lvl2pPr marL="457200" algn="l" rtl="0" fontAlgn="base" latinLnBrk="1">
                    <a:spcBef>
                      <a:spcPct val="0"/>
                    </a:spcBef>
                    <a:spcAft>
                      <a:spcPct val="0"/>
                    </a:spcAft>
                    <a:defRPr kumimoji="1" kern="1200">
                      <a:solidFill>
                        <a:schemeClr val="tx1"/>
                      </a:solidFill>
                      <a:latin typeface="Arial" charset="0"/>
                      <a:ea typeface="굴림" pitchFamily="50" charset="-127"/>
                      <a:cs typeface="+mn-cs"/>
                    </a:defRPr>
                  </a:lvl2pPr>
                  <a:lvl3pPr marL="914400" algn="l" rtl="0" fontAlgn="base" latinLnBrk="1">
                    <a:spcBef>
                      <a:spcPct val="0"/>
                    </a:spcBef>
                    <a:spcAft>
                      <a:spcPct val="0"/>
                    </a:spcAft>
                    <a:defRPr kumimoji="1" kern="1200">
                      <a:solidFill>
                        <a:schemeClr val="tx1"/>
                      </a:solidFill>
                      <a:latin typeface="Arial" charset="0"/>
                      <a:ea typeface="굴림" pitchFamily="50" charset="-127"/>
                      <a:cs typeface="+mn-cs"/>
                    </a:defRPr>
                  </a:lvl3pPr>
                  <a:lvl4pPr marL="1371600" algn="l" rtl="0" fontAlgn="base" latinLnBrk="1">
                    <a:spcBef>
                      <a:spcPct val="0"/>
                    </a:spcBef>
                    <a:spcAft>
                      <a:spcPct val="0"/>
                    </a:spcAft>
                    <a:defRPr kumimoji="1" kern="1200">
                      <a:solidFill>
                        <a:schemeClr val="tx1"/>
                      </a:solidFill>
                      <a:latin typeface="Arial" charset="0"/>
                      <a:ea typeface="굴림" pitchFamily="50" charset="-127"/>
                      <a:cs typeface="+mn-cs"/>
                    </a:defRPr>
                  </a:lvl4pPr>
                  <a:lvl5pPr marL="1828800" algn="l" rtl="0" fontAlgn="base" latinLnBrk="1">
                    <a:spcBef>
                      <a:spcPct val="0"/>
                    </a:spcBef>
                    <a:spcAft>
                      <a:spcPct val="0"/>
                    </a:spcAft>
                    <a:defRPr kumimoji="1" kern="1200">
                      <a:solidFill>
                        <a:schemeClr val="tx1"/>
                      </a:solidFill>
                      <a:latin typeface="Arial" charset="0"/>
                      <a:ea typeface="굴림" pitchFamily="50" charset="-127"/>
                      <a:cs typeface="+mn-cs"/>
                    </a:defRPr>
                  </a:lvl5pPr>
                  <a:lvl6pPr marL="2286000" algn="l" defTabSz="914400" rtl="0" eaLnBrk="1" latinLnBrk="1" hangingPunct="1">
                    <a:defRPr kumimoji="1" kern="1200">
                      <a:solidFill>
                        <a:schemeClr val="tx1"/>
                      </a:solidFill>
                      <a:latin typeface="Arial" charset="0"/>
                      <a:ea typeface="굴림" pitchFamily="50" charset="-127"/>
                      <a:cs typeface="+mn-cs"/>
                    </a:defRPr>
                  </a:lvl6pPr>
                  <a:lvl7pPr marL="2743200" algn="l" defTabSz="914400" rtl="0" eaLnBrk="1" latinLnBrk="1" hangingPunct="1">
                    <a:defRPr kumimoji="1" kern="1200">
                      <a:solidFill>
                        <a:schemeClr val="tx1"/>
                      </a:solidFill>
                      <a:latin typeface="Arial" charset="0"/>
                      <a:ea typeface="굴림" pitchFamily="50" charset="-127"/>
                      <a:cs typeface="+mn-cs"/>
                    </a:defRPr>
                  </a:lvl7pPr>
                  <a:lvl8pPr marL="3200400" algn="l" defTabSz="914400" rtl="0" eaLnBrk="1" latinLnBrk="1" hangingPunct="1">
                    <a:defRPr kumimoji="1" kern="1200">
                      <a:solidFill>
                        <a:schemeClr val="tx1"/>
                      </a:solidFill>
                      <a:latin typeface="Arial" charset="0"/>
                      <a:ea typeface="굴림" pitchFamily="50" charset="-127"/>
                      <a:cs typeface="+mn-cs"/>
                    </a:defRPr>
                  </a:lvl8pPr>
                  <a:lvl9pPr marL="3657600" algn="l" defTabSz="914400" rtl="0" eaLnBrk="1" latinLnBrk="1" hangingPunct="1">
                    <a:defRPr kumimoji="1" kern="1200">
                      <a:solidFill>
                        <a:schemeClr val="tx1"/>
                      </a:solidFill>
                      <a:latin typeface="Arial" charset="0"/>
                      <a:ea typeface="굴림" pitchFamily="50" charset="-127"/>
                      <a:cs typeface="+mn-cs"/>
                    </a:defRPr>
                  </a:lvl9pPr>
                </a:lstStyle>
                <a:p>
                  <a:pPr eaLnBrk="1" hangingPunct="1">
                    <a:defRPr/>
                  </a:pPr>
                  <a:endParaRPr lang="ko-KR" altLang="en-US">
                    <a:solidFill>
                      <a:sysClr val="windowText" lastClr="000000"/>
                    </a:solidFill>
                    <a:latin typeface="Arial" pitchFamily="34" charset="0"/>
                  </a:endParaRPr>
                </a:p>
              </p:txBody>
            </p:sp>
            <p:sp>
              <p:nvSpPr>
                <p:cNvPr id="1112" name="Freeform 51">
                  <a:extLst>
                    <a:ext uri="{FF2B5EF4-FFF2-40B4-BE49-F238E27FC236}">
                      <a16:creationId xmlns:a16="http://schemas.microsoft.com/office/drawing/2014/main" id="{753071E9-DEC1-4ECE-8192-AC9B3776018A}"/>
                    </a:ext>
                  </a:extLst>
                </p:cNvPr>
                <p:cNvSpPr>
                  <a:spLocks/>
                </p:cNvSpPr>
                <p:nvPr/>
              </p:nvSpPr>
              <p:spPr bwMode="auto">
                <a:xfrm>
                  <a:off x="8558237" y="4629158"/>
                  <a:ext cx="87313" cy="58738"/>
                </a:xfrm>
                <a:custGeom>
                  <a:avLst/>
                  <a:gdLst/>
                  <a:ahLst/>
                  <a:cxnLst>
                    <a:cxn ang="0">
                      <a:pos x="222" y="81"/>
                    </a:cxn>
                    <a:cxn ang="0">
                      <a:pos x="0" y="150"/>
                    </a:cxn>
                    <a:cxn ang="0">
                      <a:pos x="164" y="0"/>
                    </a:cxn>
                    <a:cxn ang="0">
                      <a:pos x="222" y="81"/>
                    </a:cxn>
                  </a:cxnLst>
                  <a:rect l="0" t="0" r="r" b="b"/>
                  <a:pathLst>
                    <a:path w="222" h="150">
                      <a:moveTo>
                        <a:pt x="222" y="81"/>
                      </a:moveTo>
                      <a:lnTo>
                        <a:pt x="0" y="150"/>
                      </a:lnTo>
                      <a:lnTo>
                        <a:pt x="164" y="0"/>
                      </a:lnTo>
                      <a:lnTo>
                        <a:pt x="222" y="81"/>
                      </a:lnTo>
                      <a:close/>
                    </a:path>
                  </a:pathLst>
                </a:custGeom>
                <a:grpFill/>
                <a:ln w="9525">
                  <a:noFill/>
                  <a:round/>
                  <a:headEnd/>
                  <a:tailEnd/>
                </a:ln>
              </p:spPr>
              <p:txBody>
                <a:bodyPr/>
                <a:lstStyle>
                  <a:defPPr>
                    <a:defRPr lang="en-GB"/>
                  </a:defPPr>
                  <a:lvl1pPr algn="l" rtl="0" fontAlgn="base" latinLnBrk="1">
                    <a:spcBef>
                      <a:spcPct val="0"/>
                    </a:spcBef>
                    <a:spcAft>
                      <a:spcPct val="0"/>
                    </a:spcAft>
                    <a:defRPr kumimoji="1" kern="1200">
                      <a:solidFill>
                        <a:schemeClr val="tx1"/>
                      </a:solidFill>
                      <a:latin typeface="Arial" charset="0"/>
                      <a:ea typeface="굴림" pitchFamily="50" charset="-127"/>
                      <a:cs typeface="+mn-cs"/>
                    </a:defRPr>
                  </a:lvl1pPr>
                  <a:lvl2pPr marL="457200" algn="l" rtl="0" fontAlgn="base" latinLnBrk="1">
                    <a:spcBef>
                      <a:spcPct val="0"/>
                    </a:spcBef>
                    <a:spcAft>
                      <a:spcPct val="0"/>
                    </a:spcAft>
                    <a:defRPr kumimoji="1" kern="1200">
                      <a:solidFill>
                        <a:schemeClr val="tx1"/>
                      </a:solidFill>
                      <a:latin typeface="Arial" charset="0"/>
                      <a:ea typeface="굴림" pitchFamily="50" charset="-127"/>
                      <a:cs typeface="+mn-cs"/>
                    </a:defRPr>
                  </a:lvl2pPr>
                  <a:lvl3pPr marL="914400" algn="l" rtl="0" fontAlgn="base" latinLnBrk="1">
                    <a:spcBef>
                      <a:spcPct val="0"/>
                    </a:spcBef>
                    <a:spcAft>
                      <a:spcPct val="0"/>
                    </a:spcAft>
                    <a:defRPr kumimoji="1" kern="1200">
                      <a:solidFill>
                        <a:schemeClr val="tx1"/>
                      </a:solidFill>
                      <a:latin typeface="Arial" charset="0"/>
                      <a:ea typeface="굴림" pitchFamily="50" charset="-127"/>
                      <a:cs typeface="+mn-cs"/>
                    </a:defRPr>
                  </a:lvl3pPr>
                  <a:lvl4pPr marL="1371600" algn="l" rtl="0" fontAlgn="base" latinLnBrk="1">
                    <a:spcBef>
                      <a:spcPct val="0"/>
                    </a:spcBef>
                    <a:spcAft>
                      <a:spcPct val="0"/>
                    </a:spcAft>
                    <a:defRPr kumimoji="1" kern="1200">
                      <a:solidFill>
                        <a:schemeClr val="tx1"/>
                      </a:solidFill>
                      <a:latin typeface="Arial" charset="0"/>
                      <a:ea typeface="굴림" pitchFamily="50" charset="-127"/>
                      <a:cs typeface="+mn-cs"/>
                    </a:defRPr>
                  </a:lvl4pPr>
                  <a:lvl5pPr marL="1828800" algn="l" rtl="0" fontAlgn="base" latinLnBrk="1">
                    <a:spcBef>
                      <a:spcPct val="0"/>
                    </a:spcBef>
                    <a:spcAft>
                      <a:spcPct val="0"/>
                    </a:spcAft>
                    <a:defRPr kumimoji="1" kern="1200">
                      <a:solidFill>
                        <a:schemeClr val="tx1"/>
                      </a:solidFill>
                      <a:latin typeface="Arial" charset="0"/>
                      <a:ea typeface="굴림" pitchFamily="50" charset="-127"/>
                      <a:cs typeface="+mn-cs"/>
                    </a:defRPr>
                  </a:lvl5pPr>
                  <a:lvl6pPr marL="2286000" algn="l" defTabSz="914400" rtl="0" eaLnBrk="1" latinLnBrk="1" hangingPunct="1">
                    <a:defRPr kumimoji="1" kern="1200">
                      <a:solidFill>
                        <a:schemeClr val="tx1"/>
                      </a:solidFill>
                      <a:latin typeface="Arial" charset="0"/>
                      <a:ea typeface="굴림" pitchFamily="50" charset="-127"/>
                      <a:cs typeface="+mn-cs"/>
                    </a:defRPr>
                  </a:lvl6pPr>
                  <a:lvl7pPr marL="2743200" algn="l" defTabSz="914400" rtl="0" eaLnBrk="1" latinLnBrk="1" hangingPunct="1">
                    <a:defRPr kumimoji="1" kern="1200">
                      <a:solidFill>
                        <a:schemeClr val="tx1"/>
                      </a:solidFill>
                      <a:latin typeface="Arial" charset="0"/>
                      <a:ea typeface="굴림" pitchFamily="50" charset="-127"/>
                      <a:cs typeface="+mn-cs"/>
                    </a:defRPr>
                  </a:lvl7pPr>
                  <a:lvl8pPr marL="3200400" algn="l" defTabSz="914400" rtl="0" eaLnBrk="1" latinLnBrk="1" hangingPunct="1">
                    <a:defRPr kumimoji="1" kern="1200">
                      <a:solidFill>
                        <a:schemeClr val="tx1"/>
                      </a:solidFill>
                      <a:latin typeface="Arial" charset="0"/>
                      <a:ea typeface="굴림" pitchFamily="50" charset="-127"/>
                      <a:cs typeface="+mn-cs"/>
                    </a:defRPr>
                  </a:lvl8pPr>
                  <a:lvl9pPr marL="3657600" algn="l" defTabSz="914400" rtl="0" eaLnBrk="1" latinLnBrk="1" hangingPunct="1">
                    <a:defRPr kumimoji="1" kern="1200">
                      <a:solidFill>
                        <a:schemeClr val="tx1"/>
                      </a:solidFill>
                      <a:latin typeface="Arial" charset="0"/>
                      <a:ea typeface="굴림" pitchFamily="50" charset="-127"/>
                      <a:cs typeface="+mn-cs"/>
                    </a:defRPr>
                  </a:lvl9pPr>
                </a:lstStyle>
                <a:p>
                  <a:pPr eaLnBrk="1" hangingPunct="1">
                    <a:defRPr/>
                  </a:pPr>
                  <a:endParaRPr lang="ko-KR" altLang="en-US">
                    <a:solidFill>
                      <a:sysClr val="windowText" lastClr="000000"/>
                    </a:solidFill>
                    <a:latin typeface="Arial" pitchFamily="34" charset="0"/>
                  </a:endParaRPr>
                </a:p>
              </p:txBody>
            </p:sp>
          </p:grpSp>
        </p:grpSp>
        <p:grpSp>
          <p:nvGrpSpPr>
            <p:cNvPr id="87082" name="그룹 662">
              <a:extLst>
                <a:ext uri="{FF2B5EF4-FFF2-40B4-BE49-F238E27FC236}">
                  <a16:creationId xmlns:a16="http://schemas.microsoft.com/office/drawing/2014/main" id="{080DCC14-7416-4146-A9B3-F744777C8E7B}"/>
                </a:ext>
              </a:extLst>
            </p:cNvPr>
            <p:cNvGrpSpPr>
              <a:grpSpLocks/>
            </p:cNvGrpSpPr>
            <p:nvPr/>
          </p:nvGrpSpPr>
          <p:grpSpPr bwMode="auto">
            <a:xfrm>
              <a:off x="5802313" y="3829036"/>
              <a:ext cx="419100" cy="384175"/>
              <a:chOff x="7453330" y="3714752"/>
              <a:chExt cx="464358" cy="428643"/>
            </a:xfrm>
          </p:grpSpPr>
          <p:grpSp>
            <p:nvGrpSpPr>
              <p:cNvPr id="87475" name="그룹 1060">
                <a:extLst>
                  <a:ext uri="{FF2B5EF4-FFF2-40B4-BE49-F238E27FC236}">
                    <a16:creationId xmlns:a16="http://schemas.microsoft.com/office/drawing/2014/main" id="{872D6BEC-CAC3-445F-B1E6-00D768C48F6F}"/>
                  </a:ext>
                </a:extLst>
              </p:cNvPr>
              <p:cNvGrpSpPr>
                <a:grpSpLocks/>
              </p:cNvGrpSpPr>
              <p:nvPr/>
            </p:nvGrpSpPr>
            <p:grpSpPr bwMode="auto">
              <a:xfrm>
                <a:off x="7453330" y="3714752"/>
                <a:ext cx="464358" cy="428643"/>
                <a:chOff x="4143372" y="3143248"/>
                <a:chExt cx="428628" cy="428628"/>
              </a:xfrm>
            </p:grpSpPr>
            <p:sp>
              <p:nvSpPr>
                <p:cNvPr id="1065" name="타원 1064">
                  <a:extLst>
                    <a:ext uri="{FF2B5EF4-FFF2-40B4-BE49-F238E27FC236}">
                      <a16:creationId xmlns:a16="http://schemas.microsoft.com/office/drawing/2014/main" id="{8C110430-0512-479A-9A34-F19921A78603}"/>
                    </a:ext>
                  </a:extLst>
                </p:cNvPr>
                <p:cNvSpPr/>
                <p:nvPr/>
              </p:nvSpPr>
              <p:spPr>
                <a:xfrm>
                  <a:off x="4143372" y="3143248"/>
                  <a:ext cx="428628" cy="428628"/>
                </a:xfrm>
                <a:prstGeom prst="ellipse">
                  <a:avLst/>
                </a:prstGeom>
                <a:solidFill>
                  <a:srgbClr val="4F81BD"/>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eaLnBrk="1" latinLnBrk="1" hangingPunct="1">
                    <a:defRPr/>
                  </a:pPr>
                  <a:endParaRPr kumimoji="1" lang="ko-KR" altLang="en-US">
                    <a:solidFill>
                      <a:srgbClr val="FFFFFF"/>
                    </a:solidFill>
                    <a:latin typeface="Arial" charset="0"/>
                    <a:ea typeface="Gulim" pitchFamily="34" charset="-127"/>
                    <a:cs typeface="Gulim" pitchFamily="34" charset="-127"/>
                  </a:endParaRPr>
                </a:p>
              </p:txBody>
            </p:sp>
            <p:grpSp>
              <p:nvGrpSpPr>
                <p:cNvPr id="87482" name="그룹 1065">
                  <a:extLst>
                    <a:ext uri="{FF2B5EF4-FFF2-40B4-BE49-F238E27FC236}">
                      <a16:creationId xmlns:a16="http://schemas.microsoft.com/office/drawing/2014/main" id="{358E7F98-315A-43F5-8D28-37E901830FDC}"/>
                    </a:ext>
                  </a:extLst>
                </p:cNvPr>
                <p:cNvGrpSpPr>
                  <a:grpSpLocks/>
                </p:cNvGrpSpPr>
                <p:nvPr/>
              </p:nvGrpSpPr>
              <p:grpSpPr bwMode="auto">
                <a:xfrm>
                  <a:off x="4214748" y="3214759"/>
                  <a:ext cx="269358" cy="253958"/>
                  <a:chOff x="6203950" y="4049082"/>
                  <a:chExt cx="1744663" cy="1637343"/>
                </a:xfrm>
              </p:grpSpPr>
              <p:sp>
                <p:nvSpPr>
                  <p:cNvPr id="87483" name="Freeform 166">
                    <a:extLst>
                      <a:ext uri="{FF2B5EF4-FFF2-40B4-BE49-F238E27FC236}">
                        <a16:creationId xmlns:a16="http://schemas.microsoft.com/office/drawing/2014/main" id="{6894B809-34C0-48B6-9BAA-7B248B1906DB}"/>
                      </a:ext>
                    </a:extLst>
                  </p:cNvPr>
                  <p:cNvSpPr>
                    <a:spLocks/>
                  </p:cNvSpPr>
                  <p:nvPr/>
                </p:nvSpPr>
                <p:spPr bwMode="auto">
                  <a:xfrm>
                    <a:off x="7248525" y="4129088"/>
                    <a:ext cx="34925" cy="34925"/>
                  </a:xfrm>
                  <a:custGeom>
                    <a:avLst/>
                    <a:gdLst>
                      <a:gd name="T0" fmla="*/ 0 w 44"/>
                      <a:gd name="T1" fmla="*/ 2147483646 h 43"/>
                      <a:gd name="T2" fmla="*/ 2147483646 w 44"/>
                      <a:gd name="T3" fmla="*/ 2147483646 h 43"/>
                      <a:gd name="T4" fmla="*/ 2147483646 w 44"/>
                      <a:gd name="T5" fmla="*/ 2147483646 h 43"/>
                      <a:gd name="T6" fmla="*/ 2147483646 w 44"/>
                      <a:gd name="T7" fmla="*/ 2147483646 h 43"/>
                      <a:gd name="T8" fmla="*/ 2147483646 w 44"/>
                      <a:gd name="T9" fmla="*/ 2147483646 h 43"/>
                      <a:gd name="T10" fmla="*/ 2147483646 w 44"/>
                      <a:gd name="T11" fmla="*/ 2147483646 h 43"/>
                      <a:gd name="T12" fmla="*/ 2147483646 w 44"/>
                      <a:gd name="T13" fmla="*/ 2147483646 h 43"/>
                      <a:gd name="T14" fmla="*/ 2147483646 w 44"/>
                      <a:gd name="T15" fmla="*/ 2147483646 h 43"/>
                      <a:gd name="T16" fmla="*/ 2147483646 w 44"/>
                      <a:gd name="T17" fmla="*/ 2147483646 h 43"/>
                      <a:gd name="T18" fmla="*/ 2147483646 w 44"/>
                      <a:gd name="T19" fmla="*/ 2147483646 h 43"/>
                      <a:gd name="T20" fmla="*/ 2147483646 w 44"/>
                      <a:gd name="T21" fmla="*/ 2147483646 h 43"/>
                      <a:gd name="T22" fmla="*/ 2147483646 w 44"/>
                      <a:gd name="T23" fmla="*/ 2147483646 h 43"/>
                      <a:gd name="T24" fmla="*/ 2147483646 w 44"/>
                      <a:gd name="T25" fmla="*/ 0 h 43"/>
                      <a:gd name="T26" fmla="*/ 2147483646 w 44"/>
                      <a:gd name="T27" fmla="*/ 2147483646 h 43"/>
                      <a:gd name="T28" fmla="*/ 2147483646 w 44"/>
                      <a:gd name="T29" fmla="*/ 2147483646 h 43"/>
                      <a:gd name="T30" fmla="*/ 2147483646 w 44"/>
                      <a:gd name="T31" fmla="*/ 2147483646 h 43"/>
                      <a:gd name="T32" fmla="*/ 0 w 44"/>
                      <a:gd name="T33" fmla="*/ 2147483646 h 43"/>
                      <a:gd name="T34" fmla="*/ 0 w 44"/>
                      <a:gd name="T35" fmla="*/ 2147483646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4"/>
                      <a:gd name="T55" fmla="*/ 0 h 43"/>
                      <a:gd name="T56" fmla="*/ 44 w 44"/>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4" h="43">
                        <a:moveTo>
                          <a:pt x="0" y="22"/>
                        </a:moveTo>
                        <a:lnTo>
                          <a:pt x="1" y="31"/>
                        </a:lnTo>
                        <a:lnTo>
                          <a:pt x="6" y="38"/>
                        </a:lnTo>
                        <a:lnTo>
                          <a:pt x="13" y="42"/>
                        </a:lnTo>
                        <a:lnTo>
                          <a:pt x="22" y="43"/>
                        </a:lnTo>
                        <a:lnTo>
                          <a:pt x="31" y="42"/>
                        </a:lnTo>
                        <a:lnTo>
                          <a:pt x="38" y="38"/>
                        </a:lnTo>
                        <a:lnTo>
                          <a:pt x="43" y="31"/>
                        </a:lnTo>
                        <a:lnTo>
                          <a:pt x="44" y="22"/>
                        </a:lnTo>
                        <a:lnTo>
                          <a:pt x="43" y="12"/>
                        </a:lnTo>
                        <a:lnTo>
                          <a:pt x="38" y="5"/>
                        </a:lnTo>
                        <a:lnTo>
                          <a:pt x="31" y="1"/>
                        </a:lnTo>
                        <a:lnTo>
                          <a:pt x="22" y="0"/>
                        </a:lnTo>
                        <a:lnTo>
                          <a:pt x="13" y="1"/>
                        </a:lnTo>
                        <a:lnTo>
                          <a:pt x="6" y="5"/>
                        </a:lnTo>
                        <a:lnTo>
                          <a:pt x="1" y="12"/>
                        </a:lnTo>
                        <a:lnTo>
                          <a:pt x="0" y="22"/>
                        </a:lnTo>
                        <a:close/>
                      </a:path>
                    </a:pathLst>
                  </a:custGeom>
                  <a:solidFill>
                    <a:srgbClr val="44C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84" name="Freeform 168">
                    <a:extLst>
                      <a:ext uri="{FF2B5EF4-FFF2-40B4-BE49-F238E27FC236}">
                        <a16:creationId xmlns:a16="http://schemas.microsoft.com/office/drawing/2014/main" id="{BCF1DDF8-8E3A-41D5-B7A7-D8E363626151}"/>
                      </a:ext>
                    </a:extLst>
                  </p:cNvPr>
                  <p:cNvSpPr>
                    <a:spLocks/>
                  </p:cNvSpPr>
                  <p:nvPr/>
                </p:nvSpPr>
                <p:spPr bwMode="auto">
                  <a:xfrm>
                    <a:off x="7485063" y="4129088"/>
                    <a:ext cx="34925" cy="34925"/>
                  </a:xfrm>
                  <a:custGeom>
                    <a:avLst/>
                    <a:gdLst>
                      <a:gd name="T0" fmla="*/ 0 w 45"/>
                      <a:gd name="T1" fmla="*/ 2147483646 h 43"/>
                      <a:gd name="T2" fmla="*/ 2147483646 w 45"/>
                      <a:gd name="T3" fmla="*/ 2147483646 h 43"/>
                      <a:gd name="T4" fmla="*/ 2147483646 w 45"/>
                      <a:gd name="T5" fmla="*/ 2147483646 h 43"/>
                      <a:gd name="T6" fmla="*/ 2147483646 w 45"/>
                      <a:gd name="T7" fmla="*/ 2147483646 h 43"/>
                      <a:gd name="T8" fmla="*/ 2147483646 w 45"/>
                      <a:gd name="T9" fmla="*/ 2147483646 h 43"/>
                      <a:gd name="T10" fmla="*/ 2147483646 w 45"/>
                      <a:gd name="T11" fmla="*/ 2147483646 h 43"/>
                      <a:gd name="T12" fmla="*/ 2147483646 w 45"/>
                      <a:gd name="T13" fmla="*/ 2147483646 h 43"/>
                      <a:gd name="T14" fmla="*/ 2147483646 w 45"/>
                      <a:gd name="T15" fmla="*/ 2147483646 h 43"/>
                      <a:gd name="T16" fmla="*/ 2147483646 w 45"/>
                      <a:gd name="T17" fmla="*/ 2147483646 h 43"/>
                      <a:gd name="T18" fmla="*/ 2147483646 w 45"/>
                      <a:gd name="T19" fmla="*/ 2147483646 h 43"/>
                      <a:gd name="T20" fmla="*/ 2147483646 w 45"/>
                      <a:gd name="T21" fmla="*/ 2147483646 h 43"/>
                      <a:gd name="T22" fmla="*/ 2147483646 w 45"/>
                      <a:gd name="T23" fmla="*/ 2147483646 h 43"/>
                      <a:gd name="T24" fmla="*/ 2147483646 w 45"/>
                      <a:gd name="T25" fmla="*/ 0 h 43"/>
                      <a:gd name="T26" fmla="*/ 2147483646 w 45"/>
                      <a:gd name="T27" fmla="*/ 2147483646 h 43"/>
                      <a:gd name="T28" fmla="*/ 2147483646 w 45"/>
                      <a:gd name="T29" fmla="*/ 2147483646 h 43"/>
                      <a:gd name="T30" fmla="*/ 2147483646 w 45"/>
                      <a:gd name="T31" fmla="*/ 2147483646 h 43"/>
                      <a:gd name="T32" fmla="*/ 0 w 45"/>
                      <a:gd name="T33" fmla="*/ 2147483646 h 43"/>
                      <a:gd name="T34" fmla="*/ 0 w 45"/>
                      <a:gd name="T35" fmla="*/ 2147483646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5"/>
                      <a:gd name="T55" fmla="*/ 0 h 43"/>
                      <a:gd name="T56" fmla="*/ 45 w 4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5" h="43">
                        <a:moveTo>
                          <a:pt x="0" y="22"/>
                        </a:moveTo>
                        <a:lnTo>
                          <a:pt x="3" y="31"/>
                        </a:lnTo>
                        <a:lnTo>
                          <a:pt x="7" y="38"/>
                        </a:lnTo>
                        <a:lnTo>
                          <a:pt x="14" y="42"/>
                        </a:lnTo>
                        <a:lnTo>
                          <a:pt x="22" y="43"/>
                        </a:lnTo>
                        <a:lnTo>
                          <a:pt x="31" y="42"/>
                        </a:lnTo>
                        <a:lnTo>
                          <a:pt x="38" y="38"/>
                        </a:lnTo>
                        <a:lnTo>
                          <a:pt x="43" y="31"/>
                        </a:lnTo>
                        <a:lnTo>
                          <a:pt x="45" y="22"/>
                        </a:lnTo>
                        <a:lnTo>
                          <a:pt x="43" y="12"/>
                        </a:lnTo>
                        <a:lnTo>
                          <a:pt x="38" y="5"/>
                        </a:lnTo>
                        <a:lnTo>
                          <a:pt x="31" y="1"/>
                        </a:lnTo>
                        <a:lnTo>
                          <a:pt x="22" y="0"/>
                        </a:lnTo>
                        <a:lnTo>
                          <a:pt x="14" y="1"/>
                        </a:lnTo>
                        <a:lnTo>
                          <a:pt x="7" y="5"/>
                        </a:lnTo>
                        <a:lnTo>
                          <a:pt x="3" y="12"/>
                        </a:lnTo>
                        <a:lnTo>
                          <a:pt x="0" y="22"/>
                        </a:lnTo>
                        <a:close/>
                      </a:path>
                    </a:pathLst>
                  </a:custGeom>
                  <a:solidFill>
                    <a:srgbClr val="44C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85" name="Freeform 223">
                    <a:extLst>
                      <a:ext uri="{FF2B5EF4-FFF2-40B4-BE49-F238E27FC236}">
                        <a16:creationId xmlns:a16="http://schemas.microsoft.com/office/drawing/2014/main" id="{D986D7BD-BF6D-4DEA-A91E-35461F5E39B4}"/>
                      </a:ext>
                    </a:extLst>
                  </p:cNvPr>
                  <p:cNvSpPr>
                    <a:spLocks/>
                  </p:cNvSpPr>
                  <p:nvPr/>
                </p:nvSpPr>
                <p:spPr bwMode="auto">
                  <a:xfrm>
                    <a:off x="6529388" y="5140325"/>
                    <a:ext cx="34925" cy="36512"/>
                  </a:xfrm>
                  <a:custGeom>
                    <a:avLst/>
                    <a:gdLst>
                      <a:gd name="T0" fmla="*/ 0 w 44"/>
                      <a:gd name="T1" fmla="*/ 2147483646 h 45"/>
                      <a:gd name="T2" fmla="*/ 2147483646 w 44"/>
                      <a:gd name="T3" fmla="*/ 2147483646 h 45"/>
                      <a:gd name="T4" fmla="*/ 2147483646 w 44"/>
                      <a:gd name="T5" fmla="*/ 2147483646 h 45"/>
                      <a:gd name="T6" fmla="*/ 2147483646 w 44"/>
                      <a:gd name="T7" fmla="*/ 2147483646 h 45"/>
                      <a:gd name="T8" fmla="*/ 2147483646 w 44"/>
                      <a:gd name="T9" fmla="*/ 2147483646 h 45"/>
                      <a:gd name="T10" fmla="*/ 2147483646 w 44"/>
                      <a:gd name="T11" fmla="*/ 2147483646 h 45"/>
                      <a:gd name="T12" fmla="*/ 2147483646 w 44"/>
                      <a:gd name="T13" fmla="*/ 2147483646 h 45"/>
                      <a:gd name="T14" fmla="*/ 2147483646 w 44"/>
                      <a:gd name="T15" fmla="*/ 2147483646 h 45"/>
                      <a:gd name="T16" fmla="*/ 2147483646 w 44"/>
                      <a:gd name="T17" fmla="*/ 2147483646 h 45"/>
                      <a:gd name="T18" fmla="*/ 2147483646 w 44"/>
                      <a:gd name="T19" fmla="*/ 2147483646 h 45"/>
                      <a:gd name="T20" fmla="*/ 2147483646 w 44"/>
                      <a:gd name="T21" fmla="*/ 2147483646 h 45"/>
                      <a:gd name="T22" fmla="*/ 2147483646 w 44"/>
                      <a:gd name="T23" fmla="*/ 2147483646 h 45"/>
                      <a:gd name="T24" fmla="*/ 2147483646 w 44"/>
                      <a:gd name="T25" fmla="*/ 0 h 45"/>
                      <a:gd name="T26" fmla="*/ 2147483646 w 44"/>
                      <a:gd name="T27" fmla="*/ 2147483646 h 45"/>
                      <a:gd name="T28" fmla="*/ 2147483646 w 44"/>
                      <a:gd name="T29" fmla="*/ 2147483646 h 45"/>
                      <a:gd name="T30" fmla="*/ 2147483646 w 44"/>
                      <a:gd name="T31" fmla="*/ 2147483646 h 45"/>
                      <a:gd name="T32" fmla="*/ 0 w 44"/>
                      <a:gd name="T33" fmla="*/ 2147483646 h 45"/>
                      <a:gd name="T34" fmla="*/ 0 w 44"/>
                      <a:gd name="T35" fmla="*/ 2147483646 h 4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4"/>
                      <a:gd name="T55" fmla="*/ 0 h 45"/>
                      <a:gd name="T56" fmla="*/ 44 w 44"/>
                      <a:gd name="T57" fmla="*/ 45 h 4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4" h="45">
                        <a:moveTo>
                          <a:pt x="0" y="23"/>
                        </a:moveTo>
                        <a:lnTo>
                          <a:pt x="1" y="32"/>
                        </a:lnTo>
                        <a:lnTo>
                          <a:pt x="6" y="39"/>
                        </a:lnTo>
                        <a:lnTo>
                          <a:pt x="13" y="44"/>
                        </a:lnTo>
                        <a:lnTo>
                          <a:pt x="22" y="45"/>
                        </a:lnTo>
                        <a:lnTo>
                          <a:pt x="31" y="44"/>
                        </a:lnTo>
                        <a:lnTo>
                          <a:pt x="38" y="39"/>
                        </a:lnTo>
                        <a:lnTo>
                          <a:pt x="43" y="32"/>
                        </a:lnTo>
                        <a:lnTo>
                          <a:pt x="44" y="23"/>
                        </a:lnTo>
                        <a:lnTo>
                          <a:pt x="43" y="14"/>
                        </a:lnTo>
                        <a:lnTo>
                          <a:pt x="38" y="7"/>
                        </a:lnTo>
                        <a:lnTo>
                          <a:pt x="31" y="2"/>
                        </a:lnTo>
                        <a:lnTo>
                          <a:pt x="22" y="0"/>
                        </a:lnTo>
                        <a:lnTo>
                          <a:pt x="13" y="2"/>
                        </a:lnTo>
                        <a:lnTo>
                          <a:pt x="6" y="7"/>
                        </a:lnTo>
                        <a:lnTo>
                          <a:pt x="1" y="14"/>
                        </a:lnTo>
                        <a:lnTo>
                          <a:pt x="0" y="23"/>
                        </a:lnTo>
                        <a:close/>
                      </a:path>
                    </a:pathLst>
                  </a:custGeom>
                  <a:solidFill>
                    <a:srgbClr val="44C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86" name="Freeform 251">
                    <a:extLst>
                      <a:ext uri="{FF2B5EF4-FFF2-40B4-BE49-F238E27FC236}">
                        <a16:creationId xmlns:a16="http://schemas.microsoft.com/office/drawing/2014/main" id="{8248F433-0383-482C-9A39-FCD93F3E80A8}"/>
                      </a:ext>
                    </a:extLst>
                  </p:cNvPr>
                  <p:cNvSpPr>
                    <a:spLocks/>
                  </p:cNvSpPr>
                  <p:nvPr/>
                </p:nvSpPr>
                <p:spPr bwMode="auto">
                  <a:xfrm>
                    <a:off x="6485586" y="4049082"/>
                    <a:ext cx="1462088" cy="1598612"/>
                  </a:xfrm>
                  <a:custGeom>
                    <a:avLst/>
                    <a:gdLst>
                      <a:gd name="T0" fmla="*/ 2147483646 w 1841"/>
                      <a:gd name="T1" fmla="*/ 2147483646 h 2014"/>
                      <a:gd name="T2" fmla="*/ 2147483646 w 1841"/>
                      <a:gd name="T3" fmla="*/ 2147483646 h 2014"/>
                      <a:gd name="T4" fmla="*/ 2147483646 w 1841"/>
                      <a:gd name="T5" fmla="*/ 2147483646 h 2014"/>
                      <a:gd name="T6" fmla="*/ 2147483646 w 1841"/>
                      <a:gd name="T7" fmla="*/ 0 h 2014"/>
                      <a:gd name="T8" fmla="*/ 2147483646 w 1841"/>
                      <a:gd name="T9" fmla="*/ 0 h 2014"/>
                      <a:gd name="T10" fmla="*/ 0 w 1841"/>
                      <a:gd name="T11" fmla="*/ 2147483646 h 2014"/>
                      <a:gd name="T12" fmla="*/ 2147483646 w 1841"/>
                      <a:gd name="T13" fmla="*/ 2147483646 h 2014"/>
                      <a:gd name="T14" fmla="*/ 0 60000 65536"/>
                      <a:gd name="T15" fmla="*/ 0 60000 65536"/>
                      <a:gd name="T16" fmla="*/ 0 60000 65536"/>
                      <a:gd name="T17" fmla="*/ 0 60000 65536"/>
                      <a:gd name="T18" fmla="*/ 0 60000 65536"/>
                      <a:gd name="T19" fmla="*/ 0 60000 65536"/>
                      <a:gd name="T20" fmla="*/ 0 60000 65536"/>
                      <a:gd name="T21" fmla="*/ 0 w 1841"/>
                      <a:gd name="T22" fmla="*/ 0 h 2014"/>
                      <a:gd name="T23" fmla="*/ 1841 w 1841"/>
                      <a:gd name="T24" fmla="*/ 2014 h 20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41" h="2014">
                        <a:moveTo>
                          <a:pt x="661" y="2014"/>
                        </a:moveTo>
                        <a:lnTo>
                          <a:pt x="1841" y="2014"/>
                        </a:lnTo>
                        <a:lnTo>
                          <a:pt x="1841" y="34"/>
                        </a:lnTo>
                        <a:lnTo>
                          <a:pt x="1828" y="0"/>
                        </a:lnTo>
                        <a:lnTo>
                          <a:pt x="1047" y="0"/>
                        </a:lnTo>
                        <a:lnTo>
                          <a:pt x="0" y="438"/>
                        </a:lnTo>
                        <a:lnTo>
                          <a:pt x="661" y="2014"/>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87" name="Freeform 252">
                    <a:extLst>
                      <a:ext uri="{FF2B5EF4-FFF2-40B4-BE49-F238E27FC236}">
                        <a16:creationId xmlns:a16="http://schemas.microsoft.com/office/drawing/2014/main" id="{8EA6C649-FC06-46F7-8014-FE728FC544FF}"/>
                      </a:ext>
                    </a:extLst>
                  </p:cNvPr>
                  <p:cNvSpPr>
                    <a:spLocks/>
                  </p:cNvSpPr>
                  <p:nvPr/>
                </p:nvSpPr>
                <p:spPr bwMode="auto">
                  <a:xfrm>
                    <a:off x="6654800" y="4051300"/>
                    <a:ext cx="1023938" cy="422275"/>
                  </a:xfrm>
                  <a:custGeom>
                    <a:avLst/>
                    <a:gdLst>
                      <a:gd name="T0" fmla="*/ 2147483646 w 1289"/>
                      <a:gd name="T1" fmla="*/ 2147483646 h 533"/>
                      <a:gd name="T2" fmla="*/ 2147483646 w 1289"/>
                      <a:gd name="T3" fmla="*/ 0 h 533"/>
                      <a:gd name="T4" fmla="*/ 2147483646 w 1289"/>
                      <a:gd name="T5" fmla="*/ 0 h 533"/>
                      <a:gd name="T6" fmla="*/ 0 w 1289"/>
                      <a:gd name="T7" fmla="*/ 2147483646 h 533"/>
                      <a:gd name="T8" fmla="*/ 2147483646 w 1289"/>
                      <a:gd name="T9" fmla="*/ 2147483646 h 533"/>
                      <a:gd name="T10" fmla="*/ 0 60000 65536"/>
                      <a:gd name="T11" fmla="*/ 0 60000 65536"/>
                      <a:gd name="T12" fmla="*/ 0 60000 65536"/>
                      <a:gd name="T13" fmla="*/ 0 60000 65536"/>
                      <a:gd name="T14" fmla="*/ 0 60000 65536"/>
                      <a:gd name="T15" fmla="*/ 0 w 1289"/>
                      <a:gd name="T16" fmla="*/ 0 h 533"/>
                      <a:gd name="T17" fmla="*/ 1289 w 1289"/>
                      <a:gd name="T18" fmla="*/ 533 h 533"/>
                    </a:gdLst>
                    <a:ahLst/>
                    <a:cxnLst>
                      <a:cxn ang="T10">
                        <a:pos x="T0" y="T1"/>
                      </a:cxn>
                      <a:cxn ang="T11">
                        <a:pos x="T2" y="T3"/>
                      </a:cxn>
                      <a:cxn ang="T12">
                        <a:pos x="T4" y="T5"/>
                      </a:cxn>
                      <a:cxn ang="T13">
                        <a:pos x="T6" y="T7"/>
                      </a:cxn>
                      <a:cxn ang="T14">
                        <a:pos x="T8" y="T9"/>
                      </a:cxn>
                    </a:cxnLst>
                    <a:rect l="T15" t="T16" r="T17" b="T18"/>
                    <a:pathLst>
                      <a:path w="1289" h="533">
                        <a:moveTo>
                          <a:pt x="18" y="533"/>
                        </a:moveTo>
                        <a:lnTo>
                          <a:pt x="1289" y="0"/>
                        </a:lnTo>
                        <a:lnTo>
                          <a:pt x="1165" y="0"/>
                        </a:lnTo>
                        <a:lnTo>
                          <a:pt x="0" y="489"/>
                        </a:lnTo>
                        <a:lnTo>
                          <a:pt x="18" y="533"/>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88" name="Freeform 253">
                    <a:extLst>
                      <a:ext uri="{FF2B5EF4-FFF2-40B4-BE49-F238E27FC236}">
                        <a16:creationId xmlns:a16="http://schemas.microsoft.com/office/drawing/2014/main" id="{70C6236B-7C95-4E3F-B387-7691D215EFAA}"/>
                      </a:ext>
                    </a:extLst>
                  </p:cNvPr>
                  <p:cNvSpPr>
                    <a:spLocks/>
                  </p:cNvSpPr>
                  <p:nvPr/>
                </p:nvSpPr>
                <p:spPr bwMode="auto">
                  <a:xfrm>
                    <a:off x="6702425" y="4124325"/>
                    <a:ext cx="1033463" cy="463550"/>
                  </a:xfrm>
                  <a:custGeom>
                    <a:avLst/>
                    <a:gdLst>
                      <a:gd name="T0" fmla="*/ 2147483646 w 1301"/>
                      <a:gd name="T1" fmla="*/ 0 h 583"/>
                      <a:gd name="T2" fmla="*/ 0 w 1301"/>
                      <a:gd name="T3" fmla="*/ 2147483646 h 583"/>
                      <a:gd name="T4" fmla="*/ 2147483646 w 1301"/>
                      <a:gd name="T5" fmla="*/ 2147483646 h 583"/>
                      <a:gd name="T6" fmla="*/ 2147483646 w 1301"/>
                      <a:gd name="T7" fmla="*/ 2147483646 h 583"/>
                      <a:gd name="T8" fmla="*/ 2147483646 w 1301"/>
                      <a:gd name="T9" fmla="*/ 0 h 583"/>
                      <a:gd name="T10" fmla="*/ 0 60000 65536"/>
                      <a:gd name="T11" fmla="*/ 0 60000 65536"/>
                      <a:gd name="T12" fmla="*/ 0 60000 65536"/>
                      <a:gd name="T13" fmla="*/ 0 60000 65536"/>
                      <a:gd name="T14" fmla="*/ 0 60000 65536"/>
                      <a:gd name="T15" fmla="*/ 0 w 1301"/>
                      <a:gd name="T16" fmla="*/ 0 h 583"/>
                      <a:gd name="T17" fmla="*/ 1301 w 1301"/>
                      <a:gd name="T18" fmla="*/ 583 h 583"/>
                    </a:gdLst>
                    <a:ahLst/>
                    <a:cxnLst>
                      <a:cxn ang="T10">
                        <a:pos x="T0" y="T1"/>
                      </a:cxn>
                      <a:cxn ang="T11">
                        <a:pos x="T2" y="T3"/>
                      </a:cxn>
                      <a:cxn ang="T12">
                        <a:pos x="T4" y="T5"/>
                      </a:cxn>
                      <a:cxn ang="T13">
                        <a:pos x="T6" y="T7"/>
                      </a:cxn>
                      <a:cxn ang="T14">
                        <a:pos x="T8" y="T9"/>
                      </a:cxn>
                    </a:cxnLst>
                    <a:rect l="T15" t="T16" r="T17" b="T18"/>
                    <a:pathLst>
                      <a:path w="1301" h="583">
                        <a:moveTo>
                          <a:pt x="1283" y="0"/>
                        </a:moveTo>
                        <a:lnTo>
                          <a:pt x="0" y="539"/>
                        </a:lnTo>
                        <a:lnTo>
                          <a:pt x="18" y="583"/>
                        </a:lnTo>
                        <a:lnTo>
                          <a:pt x="1301" y="45"/>
                        </a:lnTo>
                        <a:lnTo>
                          <a:pt x="128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89" name="Freeform 254">
                    <a:extLst>
                      <a:ext uri="{FF2B5EF4-FFF2-40B4-BE49-F238E27FC236}">
                        <a16:creationId xmlns:a16="http://schemas.microsoft.com/office/drawing/2014/main" id="{53715181-EA45-4452-B28E-CA7541DF84F9}"/>
                      </a:ext>
                    </a:extLst>
                  </p:cNvPr>
                  <p:cNvSpPr>
                    <a:spLocks/>
                  </p:cNvSpPr>
                  <p:nvPr/>
                </p:nvSpPr>
                <p:spPr bwMode="auto">
                  <a:xfrm>
                    <a:off x="6750050" y="4202113"/>
                    <a:ext cx="1120775" cy="498475"/>
                  </a:xfrm>
                  <a:custGeom>
                    <a:avLst/>
                    <a:gdLst>
                      <a:gd name="T0" fmla="*/ 2147483646 w 1413"/>
                      <a:gd name="T1" fmla="*/ 0 h 629"/>
                      <a:gd name="T2" fmla="*/ 0 w 1413"/>
                      <a:gd name="T3" fmla="*/ 2147483646 h 629"/>
                      <a:gd name="T4" fmla="*/ 2147483646 w 1413"/>
                      <a:gd name="T5" fmla="*/ 2147483646 h 629"/>
                      <a:gd name="T6" fmla="*/ 2147483646 w 1413"/>
                      <a:gd name="T7" fmla="*/ 2147483646 h 629"/>
                      <a:gd name="T8" fmla="*/ 2147483646 w 1413"/>
                      <a:gd name="T9" fmla="*/ 0 h 629"/>
                      <a:gd name="T10" fmla="*/ 0 60000 65536"/>
                      <a:gd name="T11" fmla="*/ 0 60000 65536"/>
                      <a:gd name="T12" fmla="*/ 0 60000 65536"/>
                      <a:gd name="T13" fmla="*/ 0 60000 65536"/>
                      <a:gd name="T14" fmla="*/ 0 60000 65536"/>
                      <a:gd name="T15" fmla="*/ 0 w 1413"/>
                      <a:gd name="T16" fmla="*/ 0 h 629"/>
                      <a:gd name="T17" fmla="*/ 1413 w 1413"/>
                      <a:gd name="T18" fmla="*/ 629 h 629"/>
                    </a:gdLst>
                    <a:ahLst/>
                    <a:cxnLst>
                      <a:cxn ang="T10">
                        <a:pos x="T0" y="T1"/>
                      </a:cxn>
                      <a:cxn ang="T11">
                        <a:pos x="T2" y="T3"/>
                      </a:cxn>
                      <a:cxn ang="T12">
                        <a:pos x="T4" y="T5"/>
                      </a:cxn>
                      <a:cxn ang="T13">
                        <a:pos x="T6" y="T7"/>
                      </a:cxn>
                      <a:cxn ang="T14">
                        <a:pos x="T8" y="T9"/>
                      </a:cxn>
                    </a:cxnLst>
                    <a:rect l="T15" t="T16" r="T17" b="T18"/>
                    <a:pathLst>
                      <a:path w="1413" h="629">
                        <a:moveTo>
                          <a:pt x="1394" y="0"/>
                        </a:moveTo>
                        <a:lnTo>
                          <a:pt x="0" y="585"/>
                        </a:lnTo>
                        <a:lnTo>
                          <a:pt x="19" y="629"/>
                        </a:lnTo>
                        <a:lnTo>
                          <a:pt x="1413" y="45"/>
                        </a:lnTo>
                        <a:lnTo>
                          <a:pt x="139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90" name="Freeform 255">
                    <a:extLst>
                      <a:ext uri="{FF2B5EF4-FFF2-40B4-BE49-F238E27FC236}">
                        <a16:creationId xmlns:a16="http://schemas.microsoft.com/office/drawing/2014/main" id="{81353241-5F5E-4409-A129-1C4EABBF9F38}"/>
                      </a:ext>
                    </a:extLst>
                  </p:cNvPr>
                  <p:cNvSpPr>
                    <a:spLocks/>
                  </p:cNvSpPr>
                  <p:nvPr/>
                </p:nvSpPr>
                <p:spPr bwMode="auto">
                  <a:xfrm>
                    <a:off x="6797675" y="4368800"/>
                    <a:ext cx="992188" cy="446087"/>
                  </a:xfrm>
                  <a:custGeom>
                    <a:avLst/>
                    <a:gdLst>
                      <a:gd name="T0" fmla="*/ 2147483646 w 1250"/>
                      <a:gd name="T1" fmla="*/ 0 h 561"/>
                      <a:gd name="T2" fmla="*/ 0 w 1250"/>
                      <a:gd name="T3" fmla="*/ 2147483646 h 561"/>
                      <a:gd name="T4" fmla="*/ 2147483646 w 1250"/>
                      <a:gd name="T5" fmla="*/ 2147483646 h 561"/>
                      <a:gd name="T6" fmla="*/ 2147483646 w 1250"/>
                      <a:gd name="T7" fmla="*/ 2147483646 h 561"/>
                      <a:gd name="T8" fmla="*/ 2147483646 w 1250"/>
                      <a:gd name="T9" fmla="*/ 0 h 561"/>
                      <a:gd name="T10" fmla="*/ 0 60000 65536"/>
                      <a:gd name="T11" fmla="*/ 0 60000 65536"/>
                      <a:gd name="T12" fmla="*/ 0 60000 65536"/>
                      <a:gd name="T13" fmla="*/ 0 60000 65536"/>
                      <a:gd name="T14" fmla="*/ 0 60000 65536"/>
                      <a:gd name="T15" fmla="*/ 0 w 1250"/>
                      <a:gd name="T16" fmla="*/ 0 h 561"/>
                      <a:gd name="T17" fmla="*/ 1250 w 1250"/>
                      <a:gd name="T18" fmla="*/ 561 h 561"/>
                    </a:gdLst>
                    <a:ahLst/>
                    <a:cxnLst>
                      <a:cxn ang="T10">
                        <a:pos x="T0" y="T1"/>
                      </a:cxn>
                      <a:cxn ang="T11">
                        <a:pos x="T2" y="T3"/>
                      </a:cxn>
                      <a:cxn ang="T12">
                        <a:pos x="T4" y="T5"/>
                      </a:cxn>
                      <a:cxn ang="T13">
                        <a:pos x="T6" y="T7"/>
                      </a:cxn>
                      <a:cxn ang="T14">
                        <a:pos x="T8" y="T9"/>
                      </a:cxn>
                    </a:cxnLst>
                    <a:rect l="T15" t="T16" r="T17" b="T18"/>
                    <a:pathLst>
                      <a:path w="1250" h="561">
                        <a:moveTo>
                          <a:pt x="1232" y="0"/>
                        </a:moveTo>
                        <a:lnTo>
                          <a:pt x="0" y="518"/>
                        </a:lnTo>
                        <a:lnTo>
                          <a:pt x="19" y="561"/>
                        </a:lnTo>
                        <a:lnTo>
                          <a:pt x="1250" y="45"/>
                        </a:lnTo>
                        <a:lnTo>
                          <a:pt x="1232"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91" name="Freeform 256">
                    <a:extLst>
                      <a:ext uri="{FF2B5EF4-FFF2-40B4-BE49-F238E27FC236}">
                        <a16:creationId xmlns:a16="http://schemas.microsoft.com/office/drawing/2014/main" id="{A9FDDDE4-8C5B-4234-AD14-5E0D6972B320}"/>
                      </a:ext>
                    </a:extLst>
                  </p:cNvPr>
                  <p:cNvSpPr>
                    <a:spLocks/>
                  </p:cNvSpPr>
                  <p:nvPr/>
                </p:nvSpPr>
                <p:spPr bwMode="auto">
                  <a:xfrm>
                    <a:off x="6845300" y="4429125"/>
                    <a:ext cx="1103313" cy="498475"/>
                  </a:xfrm>
                  <a:custGeom>
                    <a:avLst/>
                    <a:gdLst>
                      <a:gd name="T0" fmla="*/ 2147483646 w 1390"/>
                      <a:gd name="T1" fmla="*/ 2147483646 h 628"/>
                      <a:gd name="T2" fmla="*/ 2147483646 w 1390"/>
                      <a:gd name="T3" fmla="*/ 2147483646 h 628"/>
                      <a:gd name="T4" fmla="*/ 2147483646 w 1390"/>
                      <a:gd name="T5" fmla="*/ 0 h 628"/>
                      <a:gd name="T6" fmla="*/ 0 w 1390"/>
                      <a:gd name="T7" fmla="*/ 2147483646 h 628"/>
                      <a:gd name="T8" fmla="*/ 2147483646 w 1390"/>
                      <a:gd name="T9" fmla="*/ 2147483646 h 628"/>
                      <a:gd name="T10" fmla="*/ 0 60000 65536"/>
                      <a:gd name="T11" fmla="*/ 0 60000 65536"/>
                      <a:gd name="T12" fmla="*/ 0 60000 65536"/>
                      <a:gd name="T13" fmla="*/ 0 60000 65536"/>
                      <a:gd name="T14" fmla="*/ 0 60000 65536"/>
                      <a:gd name="T15" fmla="*/ 0 w 1390"/>
                      <a:gd name="T16" fmla="*/ 0 h 628"/>
                      <a:gd name="T17" fmla="*/ 1390 w 1390"/>
                      <a:gd name="T18" fmla="*/ 628 h 628"/>
                    </a:gdLst>
                    <a:ahLst/>
                    <a:cxnLst>
                      <a:cxn ang="T10">
                        <a:pos x="T0" y="T1"/>
                      </a:cxn>
                      <a:cxn ang="T11">
                        <a:pos x="T2" y="T3"/>
                      </a:cxn>
                      <a:cxn ang="T12">
                        <a:pos x="T4" y="T5"/>
                      </a:cxn>
                      <a:cxn ang="T13">
                        <a:pos x="T6" y="T7"/>
                      </a:cxn>
                      <a:cxn ang="T14">
                        <a:pos x="T8" y="T9"/>
                      </a:cxn>
                    </a:cxnLst>
                    <a:rect l="T15" t="T16" r="T17" b="T18"/>
                    <a:pathLst>
                      <a:path w="1390" h="628">
                        <a:moveTo>
                          <a:pt x="19" y="628"/>
                        </a:moveTo>
                        <a:lnTo>
                          <a:pt x="1390" y="52"/>
                        </a:lnTo>
                        <a:lnTo>
                          <a:pt x="1390" y="0"/>
                        </a:lnTo>
                        <a:lnTo>
                          <a:pt x="0" y="583"/>
                        </a:lnTo>
                        <a:lnTo>
                          <a:pt x="19" y="62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92" name="Freeform 257">
                    <a:extLst>
                      <a:ext uri="{FF2B5EF4-FFF2-40B4-BE49-F238E27FC236}">
                        <a16:creationId xmlns:a16="http://schemas.microsoft.com/office/drawing/2014/main" id="{B74037FB-534E-48C3-8067-23401594C72B}"/>
                      </a:ext>
                    </a:extLst>
                  </p:cNvPr>
                  <p:cNvSpPr>
                    <a:spLocks/>
                  </p:cNvSpPr>
                  <p:nvPr/>
                </p:nvSpPr>
                <p:spPr bwMode="auto">
                  <a:xfrm>
                    <a:off x="6892925" y="4564063"/>
                    <a:ext cx="1055688" cy="477837"/>
                  </a:xfrm>
                  <a:custGeom>
                    <a:avLst/>
                    <a:gdLst>
                      <a:gd name="T0" fmla="*/ 0 w 1330"/>
                      <a:gd name="T1" fmla="*/ 2147483646 h 601"/>
                      <a:gd name="T2" fmla="*/ 2147483646 w 1330"/>
                      <a:gd name="T3" fmla="*/ 2147483646 h 601"/>
                      <a:gd name="T4" fmla="*/ 2147483646 w 1330"/>
                      <a:gd name="T5" fmla="*/ 2147483646 h 601"/>
                      <a:gd name="T6" fmla="*/ 2147483646 w 1330"/>
                      <a:gd name="T7" fmla="*/ 2147483646 h 601"/>
                      <a:gd name="T8" fmla="*/ 2147483646 w 1330"/>
                      <a:gd name="T9" fmla="*/ 0 h 601"/>
                      <a:gd name="T10" fmla="*/ 0 w 1330"/>
                      <a:gd name="T11" fmla="*/ 2147483646 h 601"/>
                      <a:gd name="T12" fmla="*/ 0 60000 65536"/>
                      <a:gd name="T13" fmla="*/ 0 60000 65536"/>
                      <a:gd name="T14" fmla="*/ 0 60000 65536"/>
                      <a:gd name="T15" fmla="*/ 0 60000 65536"/>
                      <a:gd name="T16" fmla="*/ 0 60000 65536"/>
                      <a:gd name="T17" fmla="*/ 0 60000 65536"/>
                      <a:gd name="T18" fmla="*/ 0 w 1330"/>
                      <a:gd name="T19" fmla="*/ 0 h 601"/>
                      <a:gd name="T20" fmla="*/ 1330 w 1330"/>
                      <a:gd name="T21" fmla="*/ 601 h 601"/>
                    </a:gdLst>
                    <a:ahLst/>
                    <a:cxnLst>
                      <a:cxn ang="T12">
                        <a:pos x="T0" y="T1"/>
                      </a:cxn>
                      <a:cxn ang="T13">
                        <a:pos x="T2" y="T3"/>
                      </a:cxn>
                      <a:cxn ang="T14">
                        <a:pos x="T4" y="T5"/>
                      </a:cxn>
                      <a:cxn ang="T15">
                        <a:pos x="T6" y="T7"/>
                      </a:cxn>
                      <a:cxn ang="T16">
                        <a:pos x="T8" y="T9"/>
                      </a:cxn>
                      <a:cxn ang="T17">
                        <a:pos x="T10" y="T11"/>
                      </a:cxn>
                    </a:cxnLst>
                    <a:rect l="T18" t="T19" r="T20" b="T21"/>
                    <a:pathLst>
                      <a:path w="1330" h="601">
                        <a:moveTo>
                          <a:pt x="0" y="556"/>
                        </a:moveTo>
                        <a:lnTo>
                          <a:pt x="19" y="601"/>
                        </a:lnTo>
                        <a:lnTo>
                          <a:pt x="1330" y="51"/>
                        </a:lnTo>
                        <a:lnTo>
                          <a:pt x="1330" y="9"/>
                        </a:lnTo>
                        <a:lnTo>
                          <a:pt x="1327" y="0"/>
                        </a:lnTo>
                        <a:lnTo>
                          <a:pt x="0" y="556"/>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93" name="Freeform 258">
                    <a:extLst>
                      <a:ext uri="{FF2B5EF4-FFF2-40B4-BE49-F238E27FC236}">
                        <a16:creationId xmlns:a16="http://schemas.microsoft.com/office/drawing/2014/main" id="{04557891-57B1-4D27-9D0B-6048546D1AA1}"/>
                      </a:ext>
                    </a:extLst>
                  </p:cNvPr>
                  <p:cNvSpPr>
                    <a:spLocks/>
                  </p:cNvSpPr>
                  <p:nvPr/>
                </p:nvSpPr>
                <p:spPr bwMode="auto">
                  <a:xfrm>
                    <a:off x="6940550" y="4695825"/>
                    <a:ext cx="1008063" cy="458787"/>
                  </a:xfrm>
                  <a:custGeom>
                    <a:avLst/>
                    <a:gdLst>
                      <a:gd name="T0" fmla="*/ 2147483646 w 1270"/>
                      <a:gd name="T1" fmla="*/ 2147483646 h 577"/>
                      <a:gd name="T2" fmla="*/ 2147483646 w 1270"/>
                      <a:gd name="T3" fmla="*/ 2147483646 h 577"/>
                      <a:gd name="T4" fmla="*/ 2147483646 w 1270"/>
                      <a:gd name="T5" fmla="*/ 0 h 577"/>
                      <a:gd name="T6" fmla="*/ 0 w 1270"/>
                      <a:gd name="T7" fmla="*/ 2147483646 h 577"/>
                      <a:gd name="T8" fmla="*/ 2147483646 w 1270"/>
                      <a:gd name="T9" fmla="*/ 2147483646 h 577"/>
                      <a:gd name="T10" fmla="*/ 0 60000 65536"/>
                      <a:gd name="T11" fmla="*/ 0 60000 65536"/>
                      <a:gd name="T12" fmla="*/ 0 60000 65536"/>
                      <a:gd name="T13" fmla="*/ 0 60000 65536"/>
                      <a:gd name="T14" fmla="*/ 0 60000 65536"/>
                      <a:gd name="T15" fmla="*/ 0 w 1270"/>
                      <a:gd name="T16" fmla="*/ 0 h 577"/>
                      <a:gd name="T17" fmla="*/ 1270 w 1270"/>
                      <a:gd name="T18" fmla="*/ 577 h 577"/>
                    </a:gdLst>
                    <a:ahLst/>
                    <a:cxnLst>
                      <a:cxn ang="T10">
                        <a:pos x="T0" y="T1"/>
                      </a:cxn>
                      <a:cxn ang="T11">
                        <a:pos x="T2" y="T3"/>
                      </a:cxn>
                      <a:cxn ang="T12">
                        <a:pos x="T4" y="T5"/>
                      </a:cxn>
                      <a:cxn ang="T13">
                        <a:pos x="T6" y="T7"/>
                      </a:cxn>
                      <a:cxn ang="T14">
                        <a:pos x="T8" y="T9"/>
                      </a:cxn>
                    </a:cxnLst>
                    <a:rect l="T15" t="T16" r="T17" b="T18"/>
                    <a:pathLst>
                      <a:path w="1270" h="577">
                        <a:moveTo>
                          <a:pt x="18" y="577"/>
                        </a:moveTo>
                        <a:lnTo>
                          <a:pt x="1270" y="52"/>
                        </a:lnTo>
                        <a:lnTo>
                          <a:pt x="1270" y="0"/>
                        </a:lnTo>
                        <a:lnTo>
                          <a:pt x="0" y="532"/>
                        </a:lnTo>
                        <a:lnTo>
                          <a:pt x="18" y="577"/>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94" name="Freeform 259">
                    <a:extLst>
                      <a:ext uri="{FF2B5EF4-FFF2-40B4-BE49-F238E27FC236}">
                        <a16:creationId xmlns:a16="http://schemas.microsoft.com/office/drawing/2014/main" id="{A8AF363C-4C1B-432E-A8E3-4B04AAED587C}"/>
                      </a:ext>
                    </a:extLst>
                  </p:cNvPr>
                  <p:cNvSpPr>
                    <a:spLocks/>
                  </p:cNvSpPr>
                  <p:nvPr/>
                </p:nvSpPr>
                <p:spPr bwMode="auto">
                  <a:xfrm>
                    <a:off x="6988175" y="4829175"/>
                    <a:ext cx="960438" cy="438150"/>
                  </a:xfrm>
                  <a:custGeom>
                    <a:avLst/>
                    <a:gdLst>
                      <a:gd name="T0" fmla="*/ 2147483646 w 1210"/>
                      <a:gd name="T1" fmla="*/ 2147483646 h 553"/>
                      <a:gd name="T2" fmla="*/ 2147483646 w 1210"/>
                      <a:gd name="T3" fmla="*/ 2147483646 h 553"/>
                      <a:gd name="T4" fmla="*/ 2147483646 w 1210"/>
                      <a:gd name="T5" fmla="*/ 0 h 553"/>
                      <a:gd name="T6" fmla="*/ 0 w 1210"/>
                      <a:gd name="T7" fmla="*/ 2147483646 h 553"/>
                      <a:gd name="T8" fmla="*/ 2147483646 w 1210"/>
                      <a:gd name="T9" fmla="*/ 2147483646 h 553"/>
                      <a:gd name="T10" fmla="*/ 0 60000 65536"/>
                      <a:gd name="T11" fmla="*/ 0 60000 65536"/>
                      <a:gd name="T12" fmla="*/ 0 60000 65536"/>
                      <a:gd name="T13" fmla="*/ 0 60000 65536"/>
                      <a:gd name="T14" fmla="*/ 0 60000 65536"/>
                      <a:gd name="T15" fmla="*/ 0 w 1210"/>
                      <a:gd name="T16" fmla="*/ 0 h 553"/>
                      <a:gd name="T17" fmla="*/ 1210 w 1210"/>
                      <a:gd name="T18" fmla="*/ 553 h 553"/>
                    </a:gdLst>
                    <a:ahLst/>
                    <a:cxnLst>
                      <a:cxn ang="T10">
                        <a:pos x="T0" y="T1"/>
                      </a:cxn>
                      <a:cxn ang="T11">
                        <a:pos x="T2" y="T3"/>
                      </a:cxn>
                      <a:cxn ang="T12">
                        <a:pos x="T4" y="T5"/>
                      </a:cxn>
                      <a:cxn ang="T13">
                        <a:pos x="T6" y="T7"/>
                      </a:cxn>
                      <a:cxn ang="T14">
                        <a:pos x="T8" y="T9"/>
                      </a:cxn>
                    </a:cxnLst>
                    <a:rect l="T15" t="T16" r="T17" b="T18"/>
                    <a:pathLst>
                      <a:path w="1210" h="553">
                        <a:moveTo>
                          <a:pt x="18" y="553"/>
                        </a:moveTo>
                        <a:lnTo>
                          <a:pt x="1210" y="53"/>
                        </a:lnTo>
                        <a:lnTo>
                          <a:pt x="1210" y="0"/>
                        </a:lnTo>
                        <a:lnTo>
                          <a:pt x="0" y="508"/>
                        </a:lnTo>
                        <a:lnTo>
                          <a:pt x="18" y="553"/>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95" name="Freeform 260">
                    <a:extLst>
                      <a:ext uri="{FF2B5EF4-FFF2-40B4-BE49-F238E27FC236}">
                        <a16:creationId xmlns:a16="http://schemas.microsoft.com/office/drawing/2014/main" id="{EB9A90D4-42AF-4A64-8B52-8DE5EFDC8D67}"/>
                      </a:ext>
                    </a:extLst>
                  </p:cNvPr>
                  <p:cNvSpPr>
                    <a:spLocks/>
                  </p:cNvSpPr>
                  <p:nvPr/>
                </p:nvSpPr>
                <p:spPr bwMode="auto">
                  <a:xfrm>
                    <a:off x="7035800" y="4962525"/>
                    <a:ext cx="912813" cy="419100"/>
                  </a:xfrm>
                  <a:custGeom>
                    <a:avLst/>
                    <a:gdLst>
                      <a:gd name="T0" fmla="*/ 2147483646 w 1150"/>
                      <a:gd name="T1" fmla="*/ 2147483646 h 528"/>
                      <a:gd name="T2" fmla="*/ 2147483646 w 1150"/>
                      <a:gd name="T3" fmla="*/ 2147483646 h 528"/>
                      <a:gd name="T4" fmla="*/ 2147483646 w 1150"/>
                      <a:gd name="T5" fmla="*/ 0 h 528"/>
                      <a:gd name="T6" fmla="*/ 0 w 1150"/>
                      <a:gd name="T7" fmla="*/ 2147483646 h 528"/>
                      <a:gd name="T8" fmla="*/ 2147483646 w 1150"/>
                      <a:gd name="T9" fmla="*/ 2147483646 h 528"/>
                      <a:gd name="T10" fmla="*/ 0 60000 65536"/>
                      <a:gd name="T11" fmla="*/ 0 60000 65536"/>
                      <a:gd name="T12" fmla="*/ 0 60000 65536"/>
                      <a:gd name="T13" fmla="*/ 0 60000 65536"/>
                      <a:gd name="T14" fmla="*/ 0 60000 65536"/>
                      <a:gd name="T15" fmla="*/ 0 w 1150"/>
                      <a:gd name="T16" fmla="*/ 0 h 528"/>
                      <a:gd name="T17" fmla="*/ 1150 w 1150"/>
                      <a:gd name="T18" fmla="*/ 528 h 528"/>
                    </a:gdLst>
                    <a:ahLst/>
                    <a:cxnLst>
                      <a:cxn ang="T10">
                        <a:pos x="T0" y="T1"/>
                      </a:cxn>
                      <a:cxn ang="T11">
                        <a:pos x="T2" y="T3"/>
                      </a:cxn>
                      <a:cxn ang="T12">
                        <a:pos x="T4" y="T5"/>
                      </a:cxn>
                      <a:cxn ang="T13">
                        <a:pos x="T6" y="T7"/>
                      </a:cxn>
                      <a:cxn ang="T14">
                        <a:pos x="T8" y="T9"/>
                      </a:cxn>
                    </a:cxnLst>
                    <a:rect l="T15" t="T16" r="T17" b="T18"/>
                    <a:pathLst>
                      <a:path w="1150" h="528">
                        <a:moveTo>
                          <a:pt x="18" y="528"/>
                        </a:moveTo>
                        <a:lnTo>
                          <a:pt x="1150" y="52"/>
                        </a:lnTo>
                        <a:lnTo>
                          <a:pt x="1150" y="0"/>
                        </a:lnTo>
                        <a:lnTo>
                          <a:pt x="0" y="483"/>
                        </a:lnTo>
                        <a:lnTo>
                          <a:pt x="18" y="52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96" name="Freeform 261">
                    <a:extLst>
                      <a:ext uri="{FF2B5EF4-FFF2-40B4-BE49-F238E27FC236}">
                        <a16:creationId xmlns:a16="http://schemas.microsoft.com/office/drawing/2014/main" id="{00E5CE9A-3F22-41BC-B4AF-E125E8705B3C}"/>
                      </a:ext>
                    </a:extLst>
                  </p:cNvPr>
                  <p:cNvSpPr>
                    <a:spLocks/>
                  </p:cNvSpPr>
                  <p:nvPr/>
                </p:nvSpPr>
                <p:spPr bwMode="auto">
                  <a:xfrm>
                    <a:off x="7083425" y="5095875"/>
                    <a:ext cx="865188" cy="398462"/>
                  </a:xfrm>
                  <a:custGeom>
                    <a:avLst/>
                    <a:gdLst>
                      <a:gd name="T0" fmla="*/ 2147483646 w 1090"/>
                      <a:gd name="T1" fmla="*/ 2147483646 h 503"/>
                      <a:gd name="T2" fmla="*/ 2147483646 w 1090"/>
                      <a:gd name="T3" fmla="*/ 2147483646 h 503"/>
                      <a:gd name="T4" fmla="*/ 2147483646 w 1090"/>
                      <a:gd name="T5" fmla="*/ 0 h 503"/>
                      <a:gd name="T6" fmla="*/ 0 w 1090"/>
                      <a:gd name="T7" fmla="*/ 2147483646 h 503"/>
                      <a:gd name="T8" fmla="*/ 2147483646 w 1090"/>
                      <a:gd name="T9" fmla="*/ 2147483646 h 503"/>
                      <a:gd name="T10" fmla="*/ 0 60000 65536"/>
                      <a:gd name="T11" fmla="*/ 0 60000 65536"/>
                      <a:gd name="T12" fmla="*/ 0 60000 65536"/>
                      <a:gd name="T13" fmla="*/ 0 60000 65536"/>
                      <a:gd name="T14" fmla="*/ 0 60000 65536"/>
                      <a:gd name="T15" fmla="*/ 0 w 1090"/>
                      <a:gd name="T16" fmla="*/ 0 h 503"/>
                      <a:gd name="T17" fmla="*/ 1090 w 1090"/>
                      <a:gd name="T18" fmla="*/ 503 h 503"/>
                    </a:gdLst>
                    <a:ahLst/>
                    <a:cxnLst>
                      <a:cxn ang="T10">
                        <a:pos x="T0" y="T1"/>
                      </a:cxn>
                      <a:cxn ang="T11">
                        <a:pos x="T2" y="T3"/>
                      </a:cxn>
                      <a:cxn ang="T12">
                        <a:pos x="T4" y="T5"/>
                      </a:cxn>
                      <a:cxn ang="T13">
                        <a:pos x="T6" y="T7"/>
                      </a:cxn>
                      <a:cxn ang="T14">
                        <a:pos x="T8" y="T9"/>
                      </a:cxn>
                    </a:cxnLst>
                    <a:rect l="T15" t="T16" r="T17" b="T18"/>
                    <a:pathLst>
                      <a:path w="1090" h="503">
                        <a:moveTo>
                          <a:pt x="18" y="503"/>
                        </a:moveTo>
                        <a:lnTo>
                          <a:pt x="1090" y="52"/>
                        </a:lnTo>
                        <a:lnTo>
                          <a:pt x="1090" y="0"/>
                        </a:lnTo>
                        <a:lnTo>
                          <a:pt x="0" y="458"/>
                        </a:lnTo>
                        <a:lnTo>
                          <a:pt x="18" y="503"/>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97" name="Freeform 262">
                    <a:extLst>
                      <a:ext uri="{FF2B5EF4-FFF2-40B4-BE49-F238E27FC236}">
                        <a16:creationId xmlns:a16="http://schemas.microsoft.com/office/drawing/2014/main" id="{3996D2B3-BF1C-43D8-AECB-3E7FFB0914CA}"/>
                      </a:ext>
                    </a:extLst>
                  </p:cNvPr>
                  <p:cNvSpPr>
                    <a:spLocks/>
                  </p:cNvSpPr>
                  <p:nvPr/>
                </p:nvSpPr>
                <p:spPr bwMode="auto">
                  <a:xfrm>
                    <a:off x="7131050" y="5229225"/>
                    <a:ext cx="817563" cy="379412"/>
                  </a:xfrm>
                  <a:custGeom>
                    <a:avLst/>
                    <a:gdLst>
                      <a:gd name="T0" fmla="*/ 2147483646 w 1030"/>
                      <a:gd name="T1" fmla="*/ 2147483646 h 476"/>
                      <a:gd name="T2" fmla="*/ 2147483646 w 1030"/>
                      <a:gd name="T3" fmla="*/ 2147483646 h 476"/>
                      <a:gd name="T4" fmla="*/ 2147483646 w 1030"/>
                      <a:gd name="T5" fmla="*/ 0 h 476"/>
                      <a:gd name="T6" fmla="*/ 0 w 1030"/>
                      <a:gd name="T7" fmla="*/ 2147483646 h 476"/>
                      <a:gd name="T8" fmla="*/ 2147483646 w 1030"/>
                      <a:gd name="T9" fmla="*/ 2147483646 h 476"/>
                      <a:gd name="T10" fmla="*/ 0 60000 65536"/>
                      <a:gd name="T11" fmla="*/ 0 60000 65536"/>
                      <a:gd name="T12" fmla="*/ 0 60000 65536"/>
                      <a:gd name="T13" fmla="*/ 0 60000 65536"/>
                      <a:gd name="T14" fmla="*/ 0 60000 65536"/>
                      <a:gd name="T15" fmla="*/ 0 w 1030"/>
                      <a:gd name="T16" fmla="*/ 0 h 476"/>
                      <a:gd name="T17" fmla="*/ 1030 w 1030"/>
                      <a:gd name="T18" fmla="*/ 476 h 476"/>
                    </a:gdLst>
                    <a:ahLst/>
                    <a:cxnLst>
                      <a:cxn ang="T10">
                        <a:pos x="T0" y="T1"/>
                      </a:cxn>
                      <a:cxn ang="T11">
                        <a:pos x="T2" y="T3"/>
                      </a:cxn>
                      <a:cxn ang="T12">
                        <a:pos x="T4" y="T5"/>
                      </a:cxn>
                      <a:cxn ang="T13">
                        <a:pos x="T6" y="T7"/>
                      </a:cxn>
                      <a:cxn ang="T14">
                        <a:pos x="T8" y="T9"/>
                      </a:cxn>
                    </a:cxnLst>
                    <a:rect l="T15" t="T16" r="T17" b="T18"/>
                    <a:pathLst>
                      <a:path w="1030" h="476">
                        <a:moveTo>
                          <a:pt x="18" y="476"/>
                        </a:moveTo>
                        <a:lnTo>
                          <a:pt x="1030" y="51"/>
                        </a:lnTo>
                        <a:lnTo>
                          <a:pt x="1030" y="0"/>
                        </a:lnTo>
                        <a:lnTo>
                          <a:pt x="0" y="432"/>
                        </a:lnTo>
                        <a:lnTo>
                          <a:pt x="18" y="476"/>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98" name="Freeform 263">
                    <a:extLst>
                      <a:ext uri="{FF2B5EF4-FFF2-40B4-BE49-F238E27FC236}">
                        <a16:creationId xmlns:a16="http://schemas.microsoft.com/office/drawing/2014/main" id="{559B1E36-76B7-49BB-8659-DDED7BE7936E}"/>
                      </a:ext>
                    </a:extLst>
                  </p:cNvPr>
                  <p:cNvSpPr>
                    <a:spLocks/>
                  </p:cNvSpPr>
                  <p:nvPr/>
                </p:nvSpPr>
                <p:spPr bwMode="auto">
                  <a:xfrm>
                    <a:off x="7264400" y="5362575"/>
                    <a:ext cx="684213" cy="287337"/>
                  </a:xfrm>
                  <a:custGeom>
                    <a:avLst/>
                    <a:gdLst>
                      <a:gd name="T0" fmla="*/ 2147483646 w 862"/>
                      <a:gd name="T1" fmla="*/ 2147483646 h 362"/>
                      <a:gd name="T2" fmla="*/ 2147483646 w 862"/>
                      <a:gd name="T3" fmla="*/ 2147483646 h 362"/>
                      <a:gd name="T4" fmla="*/ 2147483646 w 862"/>
                      <a:gd name="T5" fmla="*/ 0 h 362"/>
                      <a:gd name="T6" fmla="*/ 0 w 862"/>
                      <a:gd name="T7" fmla="*/ 2147483646 h 362"/>
                      <a:gd name="T8" fmla="*/ 2147483646 w 862"/>
                      <a:gd name="T9" fmla="*/ 2147483646 h 362"/>
                      <a:gd name="T10" fmla="*/ 0 60000 65536"/>
                      <a:gd name="T11" fmla="*/ 0 60000 65536"/>
                      <a:gd name="T12" fmla="*/ 0 60000 65536"/>
                      <a:gd name="T13" fmla="*/ 0 60000 65536"/>
                      <a:gd name="T14" fmla="*/ 0 60000 65536"/>
                      <a:gd name="T15" fmla="*/ 0 w 862"/>
                      <a:gd name="T16" fmla="*/ 0 h 362"/>
                      <a:gd name="T17" fmla="*/ 862 w 862"/>
                      <a:gd name="T18" fmla="*/ 362 h 362"/>
                    </a:gdLst>
                    <a:ahLst/>
                    <a:cxnLst>
                      <a:cxn ang="T10">
                        <a:pos x="T0" y="T1"/>
                      </a:cxn>
                      <a:cxn ang="T11">
                        <a:pos x="T2" y="T3"/>
                      </a:cxn>
                      <a:cxn ang="T12">
                        <a:pos x="T4" y="T5"/>
                      </a:cxn>
                      <a:cxn ang="T13">
                        <a:pos x="T6" y="T7"/>
                      </a:cxn>
                      <a:cxn ang="T14">
                        <a:pos x="T8" y="T9"/>
                      </a:cxn>
                    </a:cxnLst>
                    <a:rect l="T15" t="T16" r="T17" b="T18"/>
                    <a:pathLst>
                      <a:path w="862" h="362">
                        <a:moveTo>
                          <a:pt x="123" y="362"/>
                        </a:moveTo>
                        <a:lnTo>
                          <a:pt x="862" y="53"/>
                        </a:lnTo>
                        <a:lnTo>
                          <a:pt x="862" y="0"/>
                        </a:lnTo>
                        <a:lnTo>
                          <a:pt x="0" y="362"/>
                        </a:lnTo>
                        <a:lnTo>
                          <a:pt x="123" y="362"/>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99" name="Freeform 267">
                    <a:extLst>
                      <a:ext uri="{FF2B5EF4-FFF2-40B4-BE49-F238E27FC236}">
                        <a16:creationId xmlns:a16="http://schemas.microsoft.com/office/drawing/2014/main" id="{BE42BF19-769B-481A-839F-2C6C1647E108}"/>
                      </a:ext>
                    </a:extLst>
                  </p:cNvPr>
                  <p:cNvSpPr>
                    <a:spLocks/>
                  </p:cNvSpPr>
                  <p:nvPr/>
                </p:nvSpPr>
                <p:spPr bwMode="auto">
                  <a:xfrm>
                    <a:off x="6215063" y="5237163"/>
                    <a:ext cx="450850" cy="412750"/>
                  </a:xfrm>
                  <a:custGeom>
                    <a:avLst/>
                    <a:gdLst>
                      <a:gd name="T0" fmla="*/ 2147483646 w 569"/>
                      <a:gd name="T1" fmla="*/ 2147483646 h 519"/>
                      <a:gd name="T2" fmla="*/ 2147483646 w 569"/>
                      <a:gd name="T3" fmla="*/ 2147483646 h 519"/>
                      <a:gd name="T4" fmla="*/ 2147483646 w 569"/>
                      <a:gd name="T5" fmla="*/ 0 h 519"/>
                      <a:gd name="T6" fmla="*/ 2147483646 w 569"/>
                      <a:gd name="T7" fmla="*/ 2147483646 h 519"/>
                      <a:gd name="T8" fmla="*/ 2147483646 w 569"/>
                      <a:gd name="T9" fmla="*/ 2147483646 h 519"/>
                      <a:gd name="T10" fmla="*/ 0 w 569"/>
                      <a:gd name="T11" fmla="*/ 2147483646 h 519"/>
                      <a:gd name="T12" fmla="*/ 0 w 569"/>
                      <a:gd name="T13" fmla="*/ 2147483646 h 519"/>
                      <a:gd name="T14" fmla="*/ 2147483646 w 569"/>
                      <a:gd name="T15" fmla="*/ 2147483646 h 519"/>
                      <a:gd name="T16" fmla="*/ 2147483646 w 569"/>
                      <a:gd name="T17" fmla="*/ 2147483646 h 519"/>
                      <a:gd name="T18" fmla="*/ 2147483646 w 569"/>
                      <a:gd name="T19" fmla="*/ 2147483646 h 5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9"/>
                      <a:gd name="T31" fmla="*/ 0 h 519"/>
                      <a:gd name="T32" fmla="*/ 569 w 569"/>
                      <a:gd name="T33" fmla="*/ 519 h 5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9" h="519">
                        <a:moveTo>
                          <a:pt x="297" y="369"/>
                        </a:moveTo>
                        <a:lnTo>
                          <a:pt x="569" y="152"/>
                        </a:lnTo>
                        <a:lnTo>
                          <a:pt x="441" y="0"/>
                        </a:lnTo>
                        <a:lnTo>
                          <a:pt x="172" y="190"/>
                        </a:lnTo>
                        <a:lnTo>
                          <a:pt x="134" y="140"/>
                        </a:lnTo>
                        <a:lnTo>
                          <a:pt x="0" y="229"/>
                        </a:lnTo>
                        <a:lnTo>
                          <a:pt x="0" y="519"/>
                        </a:lnTo>
                        <a:lnTo>
                          <a:pt x="239" y="519"/>
                        </a:lnTo>
                        <a:lnTo>
                          <a:pt x="344" y="432"/>
                        </a:lnTo>
                        <a:lnTo>
                          <a:pt x="297" y="369"/>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00" name="Freeform 268">
                    <a:extLst>
                      <a:ext uri="{FF2B5EF4-FFF2-40B4-BE49-F238E27FC236}">
                        <a16:creationId xmlns:a16="http://schemas.microsoft.com/office/drawing/2014/main" id="{BD4E6F53-3278-4EF0-9DDF-D49986FED4B5}"/>
                      </a:ext>
                    </a:extLst>
                  </p:cNvPr>
                  <p:cNvSpPr>
                    <a:spLocks/>
                  </p:cNvSpPr>
                  <p:nvPr/>
                </p:nvSpPr>
                <p:spPr bwMode="auto">
                  <a:xfrm>
                    <a:off x="6469063" y="4278313"/>
                    <a:ext cx="1282700" cy="1282700"/>
                  </a:xfrm>
                  <a:custGeom>
                    <a:avLst/>
                    <a:gdLst>
                      <a:gd name="T0" fmla="*/ 2147483646 w 1616"/>
                      <a:gd name="T1" fmla="*/ 2147483646 h 1618"/>
                      <a:gd name="T2" fmla="*/ 2147483646 w 1616"/>
                      <a:gd name="T3" fmla="*/ 2147483646 h 1618"/>
                      <a:gd name="T4" fmla="*/ 2147483646 w 1616"/>
                      <a:gd name="T5" fmla="*/ 2147483646 h 1618"/>
                      <a:gd name="T6" fmla="*/ 2147483646 w 1616"/>
                      <a:gd name="T7" fmla="*/ 2147483646 h 1618"/>
                      <a:gd name="T8" fmla="*/ 2147483646 w 1616"/>
                      <a:gd name="T9" fmla="*/ 2147483646 h 1618"/>
                      <a:gd name="T10" fmla="*/ 2147483646 w 1616"/>
                      <a:gd name="T11" fmla="*/ 2147483646 h 1618"/>
                      <a:gd name="T12" fmla="*/ 2147483646 w 1616"/>
                      <a:gd name="T13" fmla="*/ 2147483646 h 1618"/>
                      <a:gd name="T14" fmla="*/ 2147483646 w 1616"/>
                      <a:gd name="T15" fmla="*/ 2147483646 h 1618"/>
                      <a:gd name="T16" fmla="*/ 2147483646 w 1616"/>
                      <a:gd name="T17" fmla="*/ 2147483646 h 1618"/>
                      <a:gd name="T18" fmla="*/ 2147483646 w 1616"/>
                      <a:gd name="T19" fmla="*/ 2147483646 h 1618"/>
                      <a:gd name="T20" fmla="*/ 2147483646 w 1616"/>
                      <a:gd name="T21" fmla="*/ 2147483646 h 1618"/>
                      <a:gd name="T22" fmla="*/ 2147483646 w 1616"/>
                      <a:gd name="T23" fmla="*/ 2147483646 h 1618"/>
                      <a:gd name="T24" fmla="*/ 2147483646 w 1616"/>
                      <a:gd name="T25" fmla="*/ 2147483646 h 1618"/>
                      <a:gd name="T26" fmla="*/ 2147483646 w 1616"/>
                      <a:gd name="T27" fmla="*/ 2147483646 h 1618"/>
                      <a:gd name="T28" fmla="*/ 2147483646 w 1616"/>
                      <a:gd name="T29" fmla="*/ 2147483646 h 1618"/>
                      <a:gd name="T30" fmla="*/ 2147483646 w 1616"/>
                      <a:gd name="T31" fmla="*/ 2147483646 h 1618"/>
                      <a:gd name="T32" fmla="*/ 2147483646 w 1616"/>
                      <a:gd name="T33" fmla="*/ 2147483646 h 1618"/>
                      <a:gd name="T34" fmla="*/ 2147483646 w 1616"/>
                      <a:gd name="T35" fmla="*/ 2147483646 h 1618"/>
                      <a:gd name="T36" fmla="*/ 2147483646 w 1616"/>
                      <a:gd name="T37" fmla="*/ 2147483646 h 1618"/>
                      <a:gd name="T38" fmla="*/ 2147483646 w 1616"/>
                      <a:gd name="T39" fmla="*/ 2147483646 h 1618"/>
                      <a:gd name="T40" fmla="*/ 2147483646 w 1616"/>
                      <a:gd name="T41" fmla="*/ 2147483646 h 1618"/>
                      <a:gd name="T42" fmla="*/ 2147483646 w 1616"/>
                      <a:gd name="T43" fmla="*/ 2147483646 h 1618"/>
                      <a:gd name="T44" fmla="*/ 2147483646 w 1616"/>
                      <a:gd name="T45" fmla="*/ 2147483646 h 1618"/>
                      <a:gd name="T46" fmla="*/ 2147483646 w 1616"/>
                      <a:gd name="T47" fmla="*/ 2147483646 h 1618"/>
                      <a:gd name="T48" fmla="*/ 2147483646 w 1616"/>
                      <a:gd name="T49" fmla="*/ 2147483646 h 1618"/>
                      <a:gd name="T50" fmla="*/ 2147483646 w 1616"/>
                      <a:gd name="T51" fmla="*/ 2147483646 h 1618"/>
                      <a:gd name="T52" fmla="*/ 2147483646 w 1616"/>
                      <a:gd name="T53" fmla="*/ 2147483646 h 1618"/>
                      <a:gd name="T54" fmla="*/ 2147483646 w 1616"/>
                      <a:gd name="T55" fmla="*/ 2147483646 h 1618"/>
                      <a:gd name="T56" fmla="*/ 2147483646 w 1616"/>
                      <a:gd name="T57" fmla="*/ 2147483646 h 1618"/>
                      <a:gd name="T58" fmla="*/ 2147483646 w 1616"/>
                      <a:gd name="T59" fmla="*/ 2147483646 h 1618"/>
                      <a:gd name="T60" fmla="*/ 2147483646 w 1616"/>
                      <a:gd name="T61" fmla="*/ 2147483646 h 1618"/>
                      <a:gd name="T62" fmla="*/ 2147483646 w 1616"/>
                      <a:gd name="T63" fmla="*/ 2147483646 h 1618"/>
                      <a:gd name="T64" fmla="*/ 2147483646 w 1616"/>
                      <a:gd name="T65" fmla="*/ 2147483646 h 1618"/>
                      <a:gd name="T66" fmla="*/ 2147483646 w 1616"/>
                      <a:gd name="T67" fmla="*/ 0 h 1618"/>
                      <a:gd name="T68" fmla="*/ 2147483646 w 1616"/>
                      <a:gd name="T69" fmla="*/ 2147483646 h 1618"/>
                      <a:gd name="T70" fmla="*/ 2147483646 w 1616"/>
                      <a:gd name="T71" fmla="*/ 2147483646 h 1618"/>
                      <a:gd name="T72" fmla="*/ 2147483646 w 1616"/>
                      <a:gd name="T73" fmla="*/ 2147483646 h 1618"/>
                      <a:gd name="T74" fmla="*/ 2147483646 w 1616"/>
                      <a:gd name="T75" fmla="*/ 2147483646 h 1618"/>
                      <a:gd name="T76" fmla="*/ 2147483646 w 1616"/>
                      <a:gd name="T77" fmla="*/ 2147483646 h 1618"/>
                      <a:gd name="T78" fmla="*/ 2147483646 w 1616"/>
                      <a:gd name="T79" fmla="*/ 2147483646 h 1618"/>
                      <a:gd name="T80" fmla="*/ 2147483646 w 1616"/>
                      <a:gd name="T81" fmla="*/ 2147483646 h 1618"/>
                      <a:gd name="T82" fmla="*/ 2147483646 w 1616"/>
                      <a:gd name="T83" fmla="*/ 2147483646 h 1618"/>
                      <a:gd name="T84" fmla="*/ 2147483646 w 1616"/>
                      <a:gd name="T85" fmla="*/ 2147483646 h 1618"/>
                      <a:gd name="T86" fmla="*/ 2147483646 w 1616"/>
                      <a:gd name="T87" fmla="*/ 2147483646 h 1618"/>
                      <a:gd name="T88" fmla="*/ 0 w 1616"/>
                      <a:gd name="T89" fmla="*/ 2147483646 h 1618"/>
                      <a:gd name="T90" fmla="*/ 2147483646 w 1616"/>
                      <a:gd name="T91" fmla="*/ 2147483646 h 1618"/>
                      <a:gd name="T92" fmla="*/ 2147483646 w 1616"/>
                      <a:gd name="T93" fmla="*/ 2147483646 h 1618"/>
                      <a:gd name="T94" fmla="*/ 2147483646 w 1616"/>
                      <a:gd name="T95" fmla="*/ 2147483646 h 161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616"/>
                      <a:gd name="T145" fmla="*/ 0 h 1618"/>
                      <a:gd name="T146" fmla="*/ 1616 w 1616"/>
                      <a:gd name="T147" fmla="*/ 1618 h 161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616" h="1618">
                        <a:moveTo>
                          <a:pt x="170" y="1307"/>
                        </a:moveTo>
                        <a:lnTo>
                          <a:pt x="197" y="1339"/>
                        </a:lnTo>
                        <a:lnTo>
                          <a:pt x="224" y="1369"/>
                        </a:lnTo>
                        <a:lnTo>
                          <a:pt x="253" y="1398"/>
                        </a:lnTo>
                        <a:lnTo>
                          <a:pt x="283" y="1425"/>
                        </a:lnTo>
                        <a:lnTo>
                          <a:pt x="314" y="1450"/>
                        </a:lnTo>
                        <a:lnTo>
                          <a:pt x="347" y="1474"/>
                        </a:lnTo>
                        <a:lnTo>
                          <a:pt x="380" y="1496"/>
                        </a:lnTo>
                        <a:lnTo>
                          <a:pt x="413" y="1515"/>
                        </a:lnTo>
                        <a:lnTo>
                          <a:pt x="449" y="1534"/>
                        </a:lnTo>
                        <a:lnTo>
                          <a:pt x="484" y="1550"/>
                        </a:lnTo>
                        <a:lnTo>
                          <a:pt x="520" y="1565"/>
                        </a:lnTo>
                        <a:lnTo>
                          <a:pt x="557" y="1577"/>
                        </a:lnTo>
                        <a:lnTo>
                          <a:pt x="594" y="1589"/>
                        </a:lnTo>
                        <a:lnTo>
                          <a:pt x="632" y="1598"/>
                        </a:lnTo>
                        <a:lnTo>
                          <a:pt x="670" y="1606"/>
                        </a:lnTo>
                        <a:lnTo>
                          <a:pt x="708" y="1612"/>
                        </a:lnTo>
                        <a:lnTo>
                          <a:pt x="747" y="1615"/>
                        </a:lnTo>
                        <a:lnTo>
                          <a:pt x="787" y="1618"/>
                        </a:lnTo>
                        <a:lnTo>
                          <a:pt x="825" y="1618"/>
                        </a:lnTo>
                        <a:lnTo>
                          <a:pt x="864" y="1615"/>
                        </a:lnTo>
                        <a:lnTo>
                          <a:pt x="903" y="1612"/>
                        </a:lnTo>
                        <a:lnTo>
                          <a:pt x="941" y="1607"/>
                        </a:lnTo>
                        <a:lnTo>
                          <a:pt x="980" y="1599"/>
                        </a:lnTo>
                        <a:lnTo>
                          <a:pt x="1018" y="1590"/>
                        </a:lnTo>
                        <a:lnTo>
                          <a:pt x="1056" y="1580"/>
                        </a:lnTo>
                        <a:lnTo>
                          <a:pt x="1093" y="1566"/>
                        </a:lnTo>
                        <a:lnTo>
                          <a:pt x="1130" y="1551"/>
                        </a:lnTo>
                        <a:lnTo>
                          <a:pt x="1167" y="1535"/>
                        </a:lnTo>
                        <a:lnTo>
                          <a:pt x="1202" y="1515"/>
                        </a:lnTo>
                        <a:lnTo>
                          <a:pt x="1237" y="1494"/>
                        </a:lnTo>
                        <a:lnTo>
                          <a:pt x="1271" y="1471"/>
                        </a:lnTo>
                        <a:lnTo>
                          <a:pt x="1305" y="1447"/>
                        </a:lnTo>
                        <a:lnTo>
                          <a:pt x="1367" y="1393"/>
                        </a:lnTo>
                        <a:lnTo>
                          <a:pt x="1423" y="1334"/>
                        </a:lnTo>
                        <a:lnTo>
                          <a:pt x="1472" y="1271"/>
                        </a:lnTo>
                        <a:lnTo>
                          <a:pt x="1513" y="1204"/>
                        </a:lnTo>
                        <a:lnTo>
                          <a:pt x="1548" y="1133"/>
                        </a:lnTo>
                        <a:lnTo>
                          <a:pt x="1576" y="1060"/>
                        </a:lnTo>
                        <a:lnTo>
                          <a:pt x="1596" y="985"/>
                        </a:lnTo>
                        <a:lnTo>
                          <a:pt x="1610" y="908"/>
                        </a:lnTo>
                        <a:lnTo>
                          <a:pt x="1616" y="831"/>
                        </a:lnTo>
                        <a:lnTo>
                          <a:pt x="1614" y="754"/>
                        </a:lnTo>
                        <a:lnTo>
                          <a:pt x="1605" y="675"/>
                        </a:lnTo>
                        <a:lnTo>
                          <a:pt x="1588" y="599"/>
                        </a:lnTo>
                        <a:lnTo>
                          <a:pt x="1564" y="523"/>
                        </a:lnTo>
                        <a:lnTo>
                          <a:pt x="1533" y="450"/>
                        </a:lnTo>
                        <a:lnTo>
                          <a:pt x="1493" y="379"/>
                        </a:lnTo>
                        <a:lnTo>
                          <a:pt x="1445" y="311"/>
                        </a:lnTo>
                        <a:lnTo>
                          <a:pt x="1419" y="279"/>
                        </a:lnTo>
                        <a:lnTo>
                          <a:pt x="1391" y="249"/>
                        </a:lnTo>
                        <a:lnTo>
                          <a:pt x="1362" y="220"/>
                        </a:lnTo>
                        <a:lnTo>
                          <a:pt x="1332" y="193"/>
                        </a:lnTo>
                        <a:lnTo>
                          <a:pt x="1301" y="168"/>
                        </a:lnTo>
                        <a:lnTo>
                          <a:pt x="1269" y="144"/>
                        </a:lnTo>
                        <a:lnTo>
                          <a:pt x="1236" y="122"/>
                        </a:lnTo>
                        <a:lnTo>
                          <a:pt x="1202" y="103"/>
                        </a:lnTo>
                        <a:lnTo>
                          <a:pt x="1168" y="84"/>
                        </a:lnTo>
                        <a:lnTo>
                          <a:pt x="1132" y="68"/>
                        </a:lnTo>
                        <a:lnTo>
                          <a:pt x="1095" y="53"/>
                        </a:lnTo>
                        <a:lnTo>
                          <a:pt x="1058" y="41"/>
                        </a:lnTo>
                        <a:lnTo>
                          <a:pt x="1022" y="29"/>
                        </a:lnTo>
                        <a:lnTo>
                          <a:pt x="984" y="20"/>
                        </a:lnTo>
                        <a:lnTo>
                          <a:pt x="945" y="12"/>
                        </a:lnTo>
                        <a:lnTo>
                          <a:pt x="907" y="6"/>
                        </a:lnTo>
                        <a:lnTo>
                          <a:pt x="868" y="3"/>
                        </a:lnTo>
                        <a:lnTo>
                          <a:pt x="830" y="0"/>
                        </a:lnTo>
                        <a:lnTo>
                          <a:pt x="791" y="0"/>
                        </a:lnTo>
                        <a:lnTo>
                          <a:pt x="752" y="3"/>
                        </a:lnTo>
                        <a:lnTo>
                          <a:pt x="714" y="6"/>
                        </a:lnTo>
                        <a:lnTo>
                          <a:pt x="675" y="11"/>
                        </a:lnTo>
                        <a:lnTo>
                          <a:pt x="637" y="19"/>
                        </a:lnTo>
                        <a:lnTo>
                          <a:pt x="599" y="28"/>
                        </a:lnTo>
                        <a:lnTo>
                          <a:pt x="561" y="38"/>
                        </a:lnTo>
                        <a:lnTo>
                          <a:pt x="523" y="52"/>
                        </a:lnTo>
                        <a:lnTo>
                          <a:pt x="486" y="67"/>
                        </a:lnTo>
                        <a:lnTo>
                          <a:pt x="449" y="83"/>
                        </a:lnTo>
                        <a:lnTo>
                          <a:pt x="413" y="103"/>
                        </a:lnTo>
                        <a:lnTo>
                          <a:pt x="379" y="124"/>
                        </a:lnTo>
                        <a:lnTo>
                          <a:pt x="344" y="147"/>
                        </a:lnTo>
                        <a:lnTo>
                          <a:pt x="311" y="171"/>
                        </a:lnTo>
                        <a:lnTo>
                          <a:pt x="249" y="225"/>
                        </a:lnTo>
                        <a:lnTo>
                          <a:pt x="192" y="284"/>
                        </a:lnTo>
                        <a:lnTo>
                          <a:pt x="144" y="347"/>
                        </a:lnTo>
                        <a:lnTo>
                          <a:pt x="102" y="414"/>
                        </a:lnTo>
                        <a:lnTo>
                          <a:pt x="68" y="485"/>
                        </a:lnTo>
                        <a:lnTo>
                          <a:pt x="40" y="558"/>
                        </a:lnTo>
                        <a:lnTo>
                          <a:pt x="19" y="633"/>
                        </a:lnTo>
                        <a:lnTo>
                          <a:pt x="6" y="709"/>
                        </a:lnTo>
                        <a:lnTo>
                          <a:pt x="0" y="787"/>
                        </a:lnTo>
                        <a:lnTo>
                          <a:pt x="2" y="864"/>
                        </a:lnTo>
                        <a:lnTo>
                          <a:pt x="10" y="943"/>
                        </a:lnTo>
                        <a:lnTo>
                          <a:pt x="28" y="1019"/>
                        </a:lnTo>
                        <a:lnTo>
                          <a:pt x="52" y="1095"/>
                        </a:lnTo>
                        <a:lnTo>
                          <a:pt x="83" y="1168"/>
                        </a:lnTo>
                        <a:lnTo>
                          <a:pt x="123" y="1239"/>
                        </a:lnTo>
                        <a:lnTo>
                          <a:pt x="170" y="13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01" name="Freeform 269">
                    <a:extLst>
                      <a:ext uri="{FF2B5EF4-FFF2-40B4-BE49-F238E27FC236}">
                        <a16:creationId xmlns:a16="http://schemas.microsoft.com/office/drawing/2014/main" id="{25A12AB8-1750-42ED-A230-10440A0842E4}"/>
                      </a:ext>
                    </a:extLst>
                  </p:cNvPr>
                  <p:cNvSpPr>
                    <a:spLocks/>
                  </p:cNvSpPr>
                  <p:nvPr/>
                </p:nvSpPr>
                <p:spPr bwMode="auto">
                  <a:xfrm>
                    <a:off x="6508747" y="4316415"/>
                    <a:ext cx="1204914" cy="1206501"/>
                  </a:xfrm>
                  <a:custGeom>
                    <a:avLst/>
                    <a:gdLst>
                      <a:gd name="T0" fmla="*/ 2147483646 w 1519"/>
                      <a:gd name="T1" fmla="*/ 2147483646 h 1520"/>
                      <a:gd name="T2" fmla="*/ 2147483646 w 1519"/>
                      <a:gd name="T3" fmla="*/ 2147483646 h 1520"/>
                      <a:gd name="T4" fmla="*/ 2147483646 w 1519"/>
                      <a:gd name="T5" fmla="*/ 2147483646 h 1520"/>
                      <a:gd name="T6" fmla="*/ 2147483646 w 1519"/>
                      <a:gd name="T7" fmla="*/ 2147483646 h 1520"/>
                      <a:gd name="T8" fmla="*/ 2147483646 w 1519"/>
                      <a:gd name="T9" fmla="*/ 2147483646 h 1520"/>
                      <a:gd name="T10" fmla="*/ 2147483646 w 1519"/>
                      <a:gd name="T11" fmla="*/ 2147483646 h 1520"/>
                      <a:gd name="T12" fmla="*/ 2147483646 w 1519"/>
                      <a:gd name="T13" fmla="*/ 0 h 1520"/>
                      <a:gd name="T14" fmla="*/ 2147483646 w 1519"/>
                      <a:gd name="T15" fmla="*/ 2147483646 h 1520"/>
                      <a:gd name="T16" fmla="*/ 2147483646 w 1519"/>
                      <a:gd name="T17" fmla="*/ 2147483646 h 1520"/>
                      <a:gd name="T18" fmla="*/ 2147483646 w 1519"/>
                      <a:gd name="T19" fmla="*/ 2147483646 h 1520"/>
                      <a:gd name="T20" fmla="*/ 2147483646 w 1519"/>
                      <a:gd name="T21" fmla="*/ 2147483646 h 1520"/>
                      <a:gd name="T22" fmla="*/ 2147483646 w 1519"/>
                      <a:gd name="T23" fmla="*/ 2147483646 h 1520"/>
                      <a:gd name="T24" fmla="*/ 2147483646 w 1519"/>
                      <a:gd name="T25" fmla="*/ 2147483646 h 1520"/>
                      <a:gd name="T26" fmla="*/ 2147483646 w 1519"/>
                      <a:gd name="T27" fmla="*/ 2147483646 h 1520"/>
                      <a:gd name="T28" fmla="*/ 2147483646 w 1519"/>
                      <a:gd name="T29" fmla="*/ 2147483646 h 1520"/>
                      <a:gd name="T30" fmla="*/ 2147483646 w 1519"/>
                      <a:gd name="T31" fmla="*/ 2147483646 h 1520"/>
                      <a:gd name="T32" fmla="*/ 2147483646 w 1519"/>
                      <a:gd name="T33" fmla="*/ 2147483646 h 1520"/>
                      <a:gd name="T34" fmla="*/ 2147483646 w 1519"/>
                      <a:gd name="T35" fmla="*/ 2147483646 h 1520"/>
                      <a:gd name="T36" fmla="*/ 2147483646 w 1519"/>
                      <a:gd name="T37" fmla="*/ 2147483646 h 1520"/>
                      <a:gd name="T38" fmla="*/ 2147483646 w 1519"/>
                      <a:gd name="T39" fmla="*/ 2147483646 h 1520"/>
                      <a:gd name="T40" fmla="*/ 2147483646 w 1519"/>
                      <a:gd name="T41" fmla="*/ 2147483646 h 1520"/>
                      <a:gd name="T42" fmla="*/ 2147483646 w 1519"/>
                      <a:gd name="T43" fmla="*/ 2147483646 h 1520"/>
                      <a:gd name="T44" fmla="*/ 2147483646 w 1519"/>
                      <a:gd name="T45" fmla="*/ 2147483646 h 1520"/>
                      <a:gd name="T46" fmla="*/ 2147483646 w 1519"/>
                      <a:gd name="T47" fmla="*/ 2147483646 h 1520"/>
                      <a:gd name="T48" fmla="*/ 2147483646 w 1519"/>
                      <a:gd name="T49" fmla="*/ 2147483646 h 1520"/>
                      <a:gd name="T50" fmla="*/ 2147483646 w 1519"/>
                      <a:gd name="T51" fmla="*/ 2147483646 h 1520"/>
                      <a:gd name="T52" fmla="*/ 2147483646 w 1519"/>
                      <a:gd name="T53" fmla="*/ 2147483646 h 1520"/>
                      <a:gd name="T54" fmla="*/ 2147483646 w 1519"/>
                      <a:gd name="T55" fmla="*/ 2147483646 h 1520"/>
                      <a:gd name="T56" fmla="*/ 2147483646 w 1519"/>
                      <a:gd name="T57" fmla="*/ 2147483646 h 1520"/>
                      <a:gd name="T58" fmla="*/ 2147483646 w 1519"/>
                      <a:gd name="T59" fmla="*/ 2147483646 h 1520"/>
                      <a:gd name="T60" fmla="*/ 2147483646 w 1519"/>
                      <a:gd name="T61" fmla="*/ 2147483646 h 1520"/>
                      <a:gd name="T62" fmla="*/ 2147483646 w 1519"/>
                      <a:gd name="T63" fmla="*/ 2147483646 h 1520"/>
                      <a:gd name="T64" fmla="*/ 2147483646 w 1519"/>
                      <a:gd name="T65" fmla="*/ 2147483646 h 1520"/>
                      <a:gd name="T66" fmla="*/ 2147483646 w 1519"/>
                      <a:gd name="T67" fmla="*/ 2147483646 h 1520"/>
                      <a:gd name="T68" fmla="*/ 2147483646 w 1519"/>
                      <a:gd name="T69" fmla="*/ 2147483646 h 1520"/>
                      <a:gd name="T70" fmla="*/ 2147483646 w 1519"/>
                      <a:gd name="T71" fmla="*/ 2147483646 h 1520"/>
                      <a:gd name="T72" fmla="*/ 2147483646 w 1519"/>
                      <a:gd name="T73" fmla="*/ 2147483646 h 1520"/>
                      <a:gd name="T74" fmla="*/ 2147483646 w 1519"/>
                      <a:gd name="T75" fmla="*/ 2147483646 h 1520"/>
                      <a:gd name="T76" fmla="*/ 2147483646 w 1519"/>
                      <a:gd name="T77" fmla="*/ 2147483646 h 1520"/>
                      <a:gd name="T78" fmla="*/ 2147483646 w 1519"/>
                      <a:gd name="T79" fmla="*/ 2147483646 h 1520"/>
                      <a:gd name="T80" fmla="*/ 2147483646 w 1519"/>
                      <a:gd name="T81" fmla="*/ 2147483646 h 1520"/>
                      <a:gd name="T82" fmla="*/ 2147483646 w 1519"/>
                      <a:gd name="T83" fmla="*/ 2147483646 h 1520"/>
                      <a:gd name="T84" fmla="*/ 2147483646 w 1519"/>
                      <a:gd name="T85" fmla="*/ 2147483646 h 1520"/>
                      <a:gd name="T86" fmla="*/ 0 w 1519"/>
                      <a:gd name="T87" fmla="*/ 2147483646 h 1520"/>
                      <a:gd name="T88" fmla="*/ 2147483646 w 1519"/>
                      <a:gd name="T89" fmla="*/ 2147483646 h 1520"/>
                      <a:gd name="T90" fmla="*/ 2147483646 w 1519"/>
                      <a:gd name="T91" fmla="*/ 2147483646 h 1520"/>
                      <a:gd name="T92" fmla="*/ 2147483646 w 1519"/>
                      <a:gd name="T93" fmla="*/ 2147483646 h 1520"/>
                      <a:gd name="T94" fmla="*/ 2147483646 w 1519"/>
                      <a:gd name="T95" fmla="*/ 2147483646 h 152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19"/>
                      <a:gd name="T145" fmla="*/ 0 h 1520"/>
                      <a:gd name="T146" fmla="*/ 1519 w 1519"/>
                      <a:gd name="T147" fmla="*/ 1520 h 152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19" h="1520">
                        <a:moveTo>
                          <a:pt x="293" y="160"/>
                        </a:moveTo>
                        <a:lnTo>
                          <a:pt x="324" y="137"/>
                        </a:lnTo>
                        <a:lnTo>
                          <a:pt x="356" y="115"/>
                        </a:lnTo>
                        <a:lnTo>
                          <a:pt x="390" y="95"/>
                        </a:lnTo>
                        <a:lnTo>
                          <a:pt x="423" y="78"/>
                        </a:lnTo>
                        <a:lnTo>
                          <a:pt x="458" y="62"/>
                        </a:lnTo>
                        <a:lnTo>
                          <a:pt x="492" y="48"/>
                        </a:lnTo>
                        <a:lnTo>
                          <a:pt x="527" y="35"/>
                        </a:lnTo>
                        <a:lnTo>
                          <a:pt x="562" y="25"/>
                        </a:lnTo>
                        <a:lnTo>
                          <a:pt x="598" y="17"/>
                        </a:lnTo>
                        <a:lnTo>
                          <a:pt x="635" y="10"/>
                        </a:lnTo>
                        <a:lnTo>
                          <a:pt x="671" y="4"/>
                        </a:lnTo>
                        <a:lnTo>
                          <a:pt x="707" y="1"/>
                        </a:lnTo>
                        <a:lnTo>
                          <a:pt x="744" y="0"/>
                        </a:lnTo>
                        <a:lnTo>
                          <a:pt x="780" y="0"/>
                        </a:lnTo>
                        <a:lnTo>
                          <a:pt x="817" y="2"/>
                        </a:lnTo>
                        <a:lnTo>
                          <a:pt x="854" y="5"/>
                        </a:lnTo>
                        <a:lnTo>
                          <a:pt x="889" y="11"/>
                        </a:lnTo>
                        <a:lnTo>
                          <a:pt x="925" y="18"/>
                        </a:lnTo>
                        <a:lnTo>
                          <a:pt x="961" y="26"/>
                        </a:lnTo>
                        <a:lnTo>
                          <a:pt x="995" y="36"/>
                        </a:lnTo>
                        <a:lnTo>
                          <a:pt x="1030" y="49"/>
                        </a:lnTo>
                        <a:lnTo>
                          <a:pt x="1065" y="63"/>
                        </a:lnTo>
                        <a:lnTo>
                          <a:pt x="1098" y="79"/>
                        </a:lnTo>
                        <a:lnTo>
                          <a:pt x="1130" y="95"/>
                        </a:lnTo>
                        <a:lnTo>
                          <a:pt x="1162" y="115"/>
                        </a:lnTo>
                        <a:lnTo>
                          <a:pt x="1194" y="136"/>
                        </a:lnTo>
                        <a:lnTo>
                          <a:pt x="1223" y="157"/>
                        </a:lnTo>
                        <a:lnTo>
                          <a:pt x="1253" y="181"/>
                        </a:lnTo>
                        <a:lnTo>
                          <a:pt x="1281" y="207"/>
                        </a:lnTo>
                        <a:lnTo>
                          <a:pt x="1309" y="233"/>
                        </a:lnTo>
                        <a:lnTo>
                          <a:pt x="1334" y="262"/>
                        </a:lnTo>
                        <a:lnTo>
                          <a:pt x="1359" y="292"/>
                        </a:lnTo>
                        <a:lnTo>
                          <a:pt x="1404" y="356"/>
                        </a:lnTo>
                        <a:lnTo>
                          <a:pt x="1441" y="422"/>
                        </a:lnTo>
                        <a:lnTo>
                          <a:pt x="1471" y="492"/>
                        </a:lnTo>
                        <a:lnTo>
                          <a:pt x="1494" y="562"/>
                        </a:lnTo>
                        <a:lnTo>
                          <a:pt x="1509" y="634"/>
                        </a:lnTo>
                        <a:lnTo>
                          <a:pt x="1518" y="707"/>
                        </a:lnTo>
                        <a:lnTo>
                          <a:pt x="1519" y="781"/>
                        </a:lnTo>
                        <a:lnTo>
                          <a:pt x="1514" y="853"/>
                        </a:lnTo>
                        <a:lnTo>
                          <a:pt x="1501" y="926"/>
                        </a:lnTo>
                        <a:lnTo>
                          <a:pt x="1483" y="996"/>
                        </a:lnTo>
                        <a:lnTo>
                          <a:pt x="1456" y="1065"/>
                        </a:lnTo>
                        <a:lnTo>
                          <a:pt x="1424" y="1131"/>
                        </a:lnTo>
                        <a:lnTo>
                          <a:pt x="1384" y="1194"/>
                        </a:lnTo>
                        <a:lnTo>
                          <a:pt x="1339" y="1254"/>
                        </a:lnTo>
                        <a:lnTo>
                          <a:pt x="1286" y="1310"/>
                        </a:lnTo>
                        <a:lnTo>
                          <a:pt x="1227" y="1360"/>
                        </a:lnTo>
                        <a:lnTo>
                          <a:pt x="1196" y="1383"/>
                        </a:lnTo>
                        <a:lnTo>
                          <a:pt x="1164" y="1405"/>
                        </a:lnTo>
                        <a:lnTo>
                          <a:pt x="1130" y="1425"/>
                        </a:lnTo>
                        <a:lnTo>
                          <a:pt x="1097" y="1442"/>
                        </a:lnTo>
                        <a:lnTo>
                          <a:pt x="1063" y="1458"/>
                        </a:lnTo>
                        <a:lnTo>
                          <a:pt x="1029" y="1472"/>
                        </a:lnTo>
                        <a:lnTo>
                          <a:pt x="993" y="1485"/>
                        </a:lnTo>
                        <a:lnTo>
                          <a:pt x="957" y="1495"/>
                        </a:lnTo>
                        <a:lnTo>
                          <a:pt x="922" y="1503"/>
                        </a:lnTo>
                        <a:lnTo>
                          <a:pt x="886" y="1510"/>
                        </a:lnTo>
                        <a:lnTo>
                          <a:pt x="849" y="1516"/>
                        </a:lnTo>
                        <a:lnTo>
                          <a:pt x="812" y="1519"/>
                        </a:lnTo>
                        <a:lnTo>
                          <a:pt x="777" y="1520"/>
                        </a:lnTo>
                        <a:lnTo>
                          <a:pt x="740" y="1520"/>
                        </a:lnTo>
                        <a:lnTo>
                          <a:pt x="703" y="1518"/>
                        </a:lnTo>
                        <a:lnTo>
                          <a:pt x="667" y="1515"/>
                        </a:lnTo>
                        <a:lnTo>
                          <a:pt x="630" y="1509"/>
                        </a:lnTo>
                        <a:lnTo>
                          <a:pt x="595" y="1502"/>
                        </a:lnTo>
                        <a:lnTo>
                          <a:pt x="559" y="1494"/>
                        </a:lnTo>
                        <a:lnTo>
                          <a:pt x="524" y="1483"/>
                        </a:lnTo>
                        <a:lnTo>
                          <a:pt x="490" y="1471"/>
                        </a:lnTo>
                        <a:lnTo>
                          <a:pt x="455" y="1457"/>
                        </a:lnTo>
                        <a:lnTo>
                          <a:pt x="422" y="1441"/>
                        </a:lnTo>
                        <a:lnTo>
                          <a:pt x="390" y="1425"/>
                        </a:lnTo>
                        <a:lnTo>
                          <a:pt x="357" y="1405"/>
                        </a:lnTo>
                        <a:lnTo>
                          <a:pt x="326" y="1384"/>
                        </a:lnTo>
                        <a:lnTo>
                          <a:pt x="296" y="1362"/>
                        </a:lnTo>
                        <a:lnTo>
                          <a:pt x="266" y="1339"/>
                        </a:lnTo>
                        <a:lnTo>
                          <a:pt x="239" y="1313"/>
                        </a:lnTo>
                        <a:lnTo>
                          <a:pt x="211" y="1286"/>
                        </a:lnTo>
                        <a:lnTo>
                          <a:pt x="186" y="1258"/>
                        </a:lnTo>
                        <a:lnTo>
                          <a:pt x="160" y="1228"/>
                        </a:lnTo>
                        <a:lnTo>
                          <a:pt x="115" y="1164"/>
                        </a:lnTo>
                        <a:lnTo>
                          <a:pt x="79" y="1098"/>
                        </a:lnTo>
                        <a:lnTo>
                          <a:pt x="49" y="1028"/>
                        </a:lnTo>
                        <a:lnTo>
                          <a:pt x="26" y="958"/>
                        </a:lnTo>
                        <a:lnTo>
                          <a:pt x="11" y="886"/>
                        </a:lnTo>
                        <a:lnTo>
                          <a:pt x="1" y="813"/>
                        </a:lnTo>
                        <a:lnTo>
                          <a:pt x="0" y="739"/>
                        </a:lnTo>
                        <a:lnTo>
                          <a:pt x="6" y="667"/>
                        </a:lnTo>
                        <a:lnTo>
                          <a:pt x="19" y="594"/>
                        </a:lnTo>
                        <a:lnTo>
                          <a:pt x="37" y="524"/>
                        </a:lnTo>
                        <a:lnTo>
                          <a:pt x="64" y="455"/>
                        </a:lnTo>
                        <a:lnTo>
                          <a:pt x="96" y="389"/>
                        </a:lnTo>
                        <a:lnTo>
                          <a:pt x="136" y="326"/>
                        </a:lnTo>
                        <a:lnTo>
                          <a:pt x="181" y="266"/>
                        </a:lnTo>
                        <a:lnTo>
                          <a:pt x="234" y="210"/>
                        </a:lnTo>
                        <a:lnTo>
                          <a:pt x="293" y="16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02" name="Freeform 270">
                    <a:extLst>
                      <a:ext uri="{FF2B5EF4-FFF2-40B4-BE49-F238E27FC236}">
                        <a16:creationId xmlns:a16="http://schemas.microsoft.com/office/drawing/2014/main" id="{F1FC0279-115F-4FF7-B010-C849E3566AB9}"/>
                      </a:ext>
                    </a:extLst>
                  </p:cNvPr>
                  <p:cNvSpPr>
                    <a:spLocks/>
                  </p:cNvSpPr>
                  <p:nvPr/>
                </p:nvSpPr>
                <p:spPr bwMode="auto">
                  <a:xfrm>
                    <a:off x="6588125" y="4397375"/>
                    <a:ext cx="1046163" cy="1044575"/>
                  </a:xfrm>
                  <a:custGeom>
                    <a:avLst/>
                    <a:gdLst>
                      <a:gd name="T0" fmla="*/ 2147483646 w 1316"/>
                      <a:gd name="T1" fmla="*/ 2147483646 h 1318"/>
                      <a:gd name="T2" fmla="*/ 2147483646 w 1316"/>
                      <a:gd name="T3" fmla="*/ 2147483646 h 1318"/>
                      <a:gd name="T4" fmla="*/ 2147483646 w 1316"/>
                      <a:gd name="T5" fmla="*/ 2147483646 h 1318"/>
                      <a:gd name="T6" fmla="*/ 2147483646 w 1316"/>
                      <a:gd name="T7" fmla="*/ 2147483646 h 1318"/>
                      <a:gd name="T8" fmla="*/ 2147483646 w 1316"/>
                      <a:gd name="T9" fmla="*/ 2147483646 h 1318"/>
                      <a:gd name="T10" fmla="*/ 2147483646 w 1316"/>
                      <a:gd name="T11" fmla="*/ 2147483646 h 1318"/>
                      <a:gd name="T12" fmla="*/ 2147483646 w 1316"/>
                      <a:gd name="T13" fmla="*/ 2147483646 h 1318"/>
                      <a:gd name="T14" fmla="*/ 2147483646 w 1316"/>
                      <a:gd name="T15" fmla="*/ 2147483646 h 1318"/>
                      <a:gd name="T16" fmla="*/ 2147483646 w 1316"/>
                      <a:gd name="T17" fmla="*/ 2147483646 h 1318"/>
                      <a:gd name="T18" fmla="*/ 2147483646 w 1316"/>
                      <a:gd name="T19" fmla="*/ 2147483646 h 1318"/>
                      <a:gd name="T20" fmla="*/ 2147483646 w 1316"/>
                      <a:gd name="T21" fmla="*/ 2147483646 h 1318"/>
                      <a:gd name="T22" fmla="*/ 2147483646 w 1316"/>
                      <a:gd name="T23" fmla="*/ 2147483646 h 1318"/>
                      <a:gd name="T24" fmla="*/ 2147483646 w 1316"/>
                      <a:gd name="T25" fmla="*/ 2147483646 h 1318"/>
                      <a:gd name="T26" fmla="*/ 2147483646 w 1316"/>
                      <a:gd name="T27" fmla="*/ 2147483646 h 1318"/>
                      <a:gd name="T28" fmla="*/ 2147483646 w 1316"/>
                      <a:gd name="T29" fmla="*/ 2147483646 h 1318"/>
                      <a:gd name="T30" fmla="*/ 2147483646 w 1316"/>
                      <a:gd name="T31" fmla="*/ 2147483646 h 1318"/>
                      <a:gd name="T32" fmla="*/ 2147483646 w 1316"/>
                      <a:gd name="T33" fmla="*/ 2147483646 h 1318"/>
                      <a:gd name="T34" fmla="*/ 2147483646 w 1316"/>
                      <a:gd name="T35" fmla="*/ 2147483646 h 1318"/>
                      <a:gd name="T36" fmla="*/ 2147483646 w 1316"/>
                      <a:gd name="T37" fmla="*/ 2147483646 h 1318"/>
                      <a:gd name="T38" fmla="*/ 2147483646 w 1316"/>
                      <a:gd name="T39" fmla="*/ 2147483646 h 1318"/>
                      <a:gd name="T40" fmla="*/ 2147483646 w 1316"/>
                      <a:gd name="T41" fmla="*/ 2147483646 h 1318"/>
                      <a:gd name="T42" fmla="*/ 2147483646 w 1316"/>
                      <a:gd name="T43" fmla="*/ 2147483646 h 1318"/>
                      <a:gd name="T44" fmla="*/ 2147483646 w 1316"/>
                      <a:gd name="T45" fmla="*/ 2147483646 h 1318"/>
                      <a:gd name="T46" fmla="*/ 2147483646 w 1316"/>
                      <a:gd name="T47" fmla="*/ 2147483646 h 1318"/>
                      <a:gd name="T48" fmla="*/ 2147483646 w 1316"/>
                      <a:gd name="T49" fmla="*/ 2147483646 h 1318"/>
                      <a:gd name="T50" fmla="*/ 2147483646 w 1316"/>
                      <a:gd name="T51" fmla="*/ 2147483646 h 1318"/>
                      <a:gd name="T52" fmla="*/ 2147483646 w 1316"/>
                      <a:gd name="T53" fmla="*/ 2147483646 h 1318"/>
                      <a:gd name="T54" fmla="*/ 2147483646 w 1316"/>
                      <a:gd name="T55" fmla="*/ 2147483646 h 1318"/>
                      <a:gd name="T56" fmla="*/ 2147483646 w 1316"/>
                      <a:gd name="T57" fmla="*/ 2147483646 h 1318"/>
                      <a:gd name="T58" fmla="*/ 2147483646 w 1316"/>
                      <a:gd name="T59" fmla="*/ 2147483646 h 1318"/>
                      <a:gd name="T60" fmla="*/ 2147483646 w 1316"/>
                      <a:gd name="T61" fmla="*/ 2147483646 h 1318"/>
                      <a:gd name="T62" fmla="*/ 2147483646 w 1316"/>
                      <a:gd name="T63" fmla="*/ 2147483646 h 1318"/>
                      <a:gd name="T64" fmla="*/ 2147483646 w 1316"/>
                      <a:gd name="T65" fmla="*/ 2147483646 h 1318"/>
                      <a:gd name="T66" fmla="*/ 2147483646 w 1316"/>
                      <a:gd name="T67" fmla="*/ 0 h 1318"/>
                      <a:gd name="T68" fmla="*/ 2147483646 w 1316"/>
                      <a:gd name="T69" fmla="*/ 2147483646 h 1318"/>
                      <a:gd name="T70" fmla="*/ 2147483646 w 1316"/>
                      <a:gd name="T71" fmla="*/ 2147483646 h 1318"/>
                      <a:gd name="T72" fmla="*/ 2147483646 w 1316"/>
                      <a:gd name="T73" fmla="*/ 2147483646 h 1318"/>
                      <a:gd name="T74" fmla="*/ 2147483646 w 1316"/>
                      <a:gd name="T75" fmla="*/ 2147483646 h 1318"/>
                      <a:gd name="T76" fmla="*/ 2147483646 w 1316"/>
                      <a:gd name="T77" fmla="*/ 2147483646 h 1318"/>
                      <a:gd name="T78" fmla="*/ 2147483646 w 1316"/>
                      <a:gd name="T79" fmla="*/ 2147483646 h 1318"/>
                      <a:gd name="T80" fmla="*/ 2147483646 w 1316"/>
                      <a:gd name="T81" fmla="*/ 2147483646 h 1318"/>
                      <a:gd name="T82" fmla="*/ 2147483646 w 1316"/>
                      <a:gd name="T83" fmla="*/ 2147483646 h 1318"/>
                      <a:gd name="T84" fmla="*/ 2147483646 w 1316"/>
                      <a:gd name="T85" fmla="*/ 2147483646 h 1318"/>
                      <a:gd name="T86" fmla="*/ 2147483646 w 1316"/>
                      <a:gd name="T87" fmla="*/ 2147483646 h 1318"/>
                      <a:gd name="T88" fmla="*/ 2147483646 w 1316"/>
                      <a:gd name="T89" fmla="*/ 2147483646 h 1318"/>
                      <a:gd name="T90" fmla="*/ 2147483646 w 1316"/>
                      <a:gd name="T91" fmla="*/ 2147483646 h 1318"/>
                      <a:gd name="T92" fmla="*/ 2147483646 w 1316"/>
                      <a:gd name="T93" fmla="*/ 2147483646 h 1318"/>
                      <a:gd name="T94" fmla="*/ 2147483646 w 1316"/>
                      <a:gd name="T95" fmla="*/ 2147483646 h 1318"/>
                      <a:gd name="T96" fmla="*/ 0 w 1316"/>
                      <a:gd name="T97" fmla="*/ 2147483646 h 1318"/>
                      <a:gd name="T98" fmla="*/ 2147483646 w 1316"/>
                      <a:gd name="T99" fmla="*/ 2147483646 h 1318"/>
                      <a:gd name="T100" fmla="*/ 2147483646 w 1316"/>
                      <a:gd name="T101" fmla="*/ 2147483646 h 1318"/>
                      <a:gd name="T102" fmla="*/ 2147483646 w 1316"/>
                      <a:gd name="T103" fmla="*/ 2147483646 h 131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16"/>
                      <a:gd name="T157" fmla="*/ 0 h 1318"/>
                      <a:gd name="T158" fmla="*/ 1316 w 1316"/>
                      <a:gd name="T159" fmla="*/ 1318 h 131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16" h="1318">
                        <a:moveTo>
                          <a:pt x="138" y="1064"/>
                        </a:moveTo>
                        <a:lnTo>
                          <a:pt x="159" y="1090"/>
                        </a:lnTo>
                        <a:lnTo>
                          <a:pt x="180" y="1114"/>
                        </a:lnTo>
                        <a:lnTo>
                          <a:pt x="203" y="1137"/>
                        </a:lnTo>
                        <a:lnTo>
                          <a:pt x="228" y="1159"/>
                        </a:lnTo>
                        <a:lnTo>
                          <a:pt x="253" y="1180"/>
                        </a:lnTo>
                        <a:lnTo>
                          <a:pt x="278" y="1199"/>
                        </a:lnTo>
                        <a:lnTo>
                          <a:pt x="305" y="1217"/>
                        </a:lnTo>
                        <a:lnTo>
                          <a:pt x="332" y="1234"/>
                        </a:lnTo>
                        <a:lnTo>
                          <a:pt x="361" y="1249"/>
                        </a:lnTo>
                        <a:lnTo>
                          <a:pt x="390" y="1263"/>
                        </a:lnTo>
                        <a:lnTo>
                          <a:pt x="420" y="1274"/>
                        </a:lnTo>
                        <a:lnTo>
                          <a:pt x="450" y="1286"/>
                        </a:lnTo>
                        <a:lnTo>
                          <a:pt x="481" y="1295"/>
                        </a:lnTo>
                        <a:lnTo>
                          <a:pt x="512" y="1303"/>
                        </a:lnTo>
                        <a:lnTo>
                          <a:pt x="544" y="1309"/>
                        </a:lnTo>
                        <a:lnTo>
                          <a:pt x="577" y="1313"/>
                        </a:lnTo>
                        <a:lnTo>
                          <a:pt x="609" y="1317"/>
                        </a:lnTo>
                        <a:lnTo>
                          <a:pt x="642" y="1318"/>
                        </a:lnTo>
                        <a:lnTo>
                          <a:pt x="675" y="1318"/>
                        </a:lnTo>
                        <a:lnTo>
                          <a:pt x="707" y="1317"/>
                        </a:lnTo>
                        <a:lnTo>
                          <a:pt x="739" y="1313"/>
                        </a:lnTo>
                        <a:lnTo>
                          <a:pt x="771" y="1309"/>
                        </a:lnTo>
                        <a:lnTo>
                          <a:pt x="802" y="1303"/>
                        </a:lnTo>
                        <a:lnTo>
                          <a:pt x="834" y="1295"/>
                        </a:lnTo>
                        <a:lnTo>
                          <a:pt x="865" y="1286"/>
                        </a:lnTo>
                        <a:lnTo>
                          <a:pt x="895" y="1275"/>
                        </a:lnTo>
                        <a:lnTo>
                          <a:pt x="924" y="1263"/>
                        </a:lnTo>
                        <a:lnTo>
                          <a:pt x="953" y="1249"/>
                        </a:lnTo>
                        <a:lnTo>
                          <a:pt x="982" y="1234"/>
                        </a:lnTo>
                        <a:lnTo>
                          <a:pt x="1010" y="1218"/>
                        </a:lnTo>
                        <a:lnTo>
                          <a:pt x="1036" y="1199"/>
                        </a:lnTo>
                        <a:lnTo>
                          <a:pt x="1063" y="1180"/>
                        </a:lnTo>
                        <a:lnTo>
                          <a:pt x="1113" y="1136"/>
                        </a:lnTo>
                        <a:lnTo>
                          <a:pt x="1159" y="1088"/>
                        </a:lnTo>
                        <a:lnTo>
                          <a:pt x="1199" y="1036"/>
                        </a:lnTo>
                        <a:lnTo>
                          <a:pt x="1233" y="982"/>
                        </a:lnTo>
                        <a:lnTo>
                          <a:pt x="1262" y="924"/>
                        </a:lnTo>
                        <a:lnTo>
                          <a:pt x="1284" y="864"/>
                        </a:lnTo>
                        <a:lnTo>
                          <a:pt x="1301" y="803"/>
                        </a:lnTo>
                        <a:lnTo>
                          <a:pt x="1311" y="741"/>
                        </a:lnTo>
                        <a:lnTo>
                          <a:pt x="1316" y="677"/>
                        </a:lnTo>
                        <a:lnTo>
                          <a:pt x="1315" y="614"/>
                        </a:lnTo>
                        <a:lnTo>
                          <a:pt x="1308" y="551"/>
                        </a:lnTo>
                        <a:lnTo>
                          <a:pt x="1294" y="487"/>
                        </a:lnTo>
                        <a:lnTo>
                          <a:pt x="1275" y="426"/>
                        </a:lnTo>
                        <a:lnTo>
                          <a:pt x="1249" y="366"/>
                        </a:lnTo>
                        <a:lnTo>
                          <a:pt x="1217" y="309"/>
                        </a:lnTo>
                        <a:lnTo>
                          <a:pt x="1178" y="253"/>
                        </a:lnTo>
                        <a:lnTo>
                          <a:pt x="1157" y="228"/>
                        </a:lnTo>
                        <a:lnTo>
                          <a:pt x="1135" y="204"/>
                        </a:lnTo>
                        <a:lnTo>
                          <a:pt x="1112" y="181"/>
                        </a:lnTo>
                        <a:lnTo>
                          <a:pt x="1088" y="159"/>
                        </a:lnTo>
                        <a:lnTo>
                          <a:pt x="1064" y="138"/>
                        </a:lnTo>
                        <a:lnTo>
                          <a:pt x="1037" y="119"/>
                        </a:lnTo>
                        <a:lnTo>
                          <a:pt x="1011" y="101"/>
                        </a:lnTo>
                        <a:lnTo>
                          <a:pt x="983" y="85"/>
                        </a:lnTo>
                        <a:lnTo>
                          <a:pt x="956" y="70"/>
                        </a:lnTo>
                        <a:lnTo>
                          <a:pt x="927" y="56"/>
                        </a:lnTo>
                        <a:lnTo>
                          <a:pt x="897" y="44"/>
                        </a:lnTo>
                        <a:lnTo>
                          <a:pt x="866" y="33"/>
                        </a:lnTo>
                        <a:lnTo>
                          <a:pt x="836" y="24"/>
                        </a:lnTo>
                        <a:lnTo>
                          <a:pt x="804" y="16"/>
                        </a:lnTo>
                        <a:lnTo>
                          <a:pt x="771" y="9"/>
                        </a:lnTo>
                        <a:lnTo>
                          <a:pt x="739" y="5"/>
                        </a:lnTo>
                        <a:lnTo>
                          <a:pt x="707" y="1"/>
                        </a:lnTo>
                        <a:lnTo>
                          <a:pt x="673" y="0"/>
                        </a:lnTo>
                        <a:lnTo>
                          <a:pt x="641" y="0"/>
                        </a:lnTo>
                        <a:lnTo>
                          <a:pt x="609" y="1"/>
                        </a:lnTo>
                        <a:lnTo>
                          <a:pt x="578" y="5"/>
                        </a:lnTo>
                        <a:lnTo>
                          <a:pt x="546" y="9"/>
                        </a:lnTo>
                        <a:lnTo>
                          <a:pt x="514" y="15"/>
                        </a:lnTo>
                        <a:lnTo>
                          <a:pt x="483" y="23"/>
                        </a:lnTo>
                        <a:lnTo>
                          <a:pt x="452" y="32"/>
                        </a:lnTo>
                        <a:lnTo>
                          <a:pt x="422" y="43"/>
                        </a:lnTo>
                        <a:lnTo>
                          <a:pt x="392" y="55"/>
                        </a:lnTo>
                        <a:lnTo>
                          <a:pt x="364" y="69"/>
                        </a:lnTo>
                        <a:lnTo>
                          <a:pt x="335" y="84"/>
                        </a:lnTo>
                        <a:lnTo>
                          <a:pt x="307" y="100"/>
                        </a:lnTo>
                        <a:lnTo>
                          <a:pt x="279" y="119"/>
                        </a:lnTo>
                        <a:lnTo>
                          <a:pt x="253" y="138"/>
                        </a:lnTo>
                        <a:lnTo>
                          <a:pt x="228" y="159"/>
                        </a:lnTo>
                        <a:lnTo>
                          <a:pt x="203" y="181"/>
                        </a:lnTo>
                        <a:lnTo>
                          <a:pt x="180" y="204"/>
                        </a:lnTo>
                        <a:lnTo>
                          <a:pt x="159" y="228"/>
                        </a:lnTo>
                        <a:lnTo>
                          <a:pt x="138" y="253"/>
                        </a:lnTo>
                        <a:lnTo>
                          <a:pt x="118" y="279"/>
                        </a:lnTo>
                        <a:lnTo>
                          <a:pt x="101" y="305"/>
                        </a:lnTo>
                        <a:lnTo>
                          <a:pt x="84" y="333"/>
                        </a:lnTo>
                        <a:lnTo>
                          <a:pt x="69" y="362"/>
                        </a:lnTo>
                        <a:lnTo>
                          <a:pt x="55" y="391"/>
                        </a:lnTo>
                        <a:lnTo>
                          <a:pt x="43" y="421"/>
                        </a:lnTo>
                        <a:lnTo>
                          <a:pt x="32" y="450"/>
                        </a:lnTo>
                        <a:lnTo>
                          <a:pt x="23" y="482"/>
                        </a:lnTo>
                        <a:lnTo>
                          <a:pt x="15" y="514"/>
                        </a:lnTo>
                        <a:lnTo>
                          <a:pt x="9" y="546"/>
                        </a:lnTo>
                        <a:lnTo>
                          <a:pt x="4" y="578"/>
                        </a:lnTo>
                        <a:lnTo>
                          <a:pt x="0" y="644"/>
                        </a:lnTo>
                        <a:lnTo>
                          <a:pt x="1" y="709"/>
                        </a:lnTo>
                        <a:lnTo>
                          <a:pt x="9" y="772"/>
                        </a:lnTo>
                        <a:lnTo>
                          <a:pt x="23" y="834"/>
                        </a:lnTo>
                        <a:lnTo>
                          <a:pt x="42" y="895"/>
                        </a:lnTo>
                        <a:lnTo>
                          <a:pt x="69" y="954"/>
                        </a:lnTo>
                        <a:lnTo>
                          <a:pt x="100" y="1010"/>
                        </a:lnTo>
                        <a:lnTo>
                          <a:pt x="138" y="10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03" name="Freeform 271">
                    <a:extLst>
                      <a:ext uri="{FF2B5EF4-FFF2-40B4-BE49-F238E27FC236}">
                        <a16:creationId xmlns:a16="http://schemas.microsoft.com/office/drawing/2014/main" id="{82236754-5213-4C0D-86CA-62C0175C9439}"/>
                      </a:ext>
                    </a:extLst>
                  </p:cNvPr>
                  <p:cNvSpPr>
                    <a:spLocks/>
                  </p:cNvSpPr>
                  <p:nvPr/>
                </p:nvSpPr>
                <p:spPr bwMode="auto">
                  <a:xfrm>
                    <a:off x="6626225" y="4433888"/>
                    <a:ext cx="969963" cy="971550"/>
                  </a:xfrm>
                  <a:custGeom>
                    <a:avLst/>
                    <a:gdLst>
                      <a:gd name="T0" fmla="*/ 2147483646 w 1222"/>
                      <a:gd name="T1" fmla="*/ 2147483646 h 1224"/>
                      <a:gd name="T2" fmla="*/ 2147483646 w 1222"/>
                      <a:gd name="T3" fmla="*/ 2147483646 h 1224"/>
                      <a:gd name="T4" fmla="*/ 2147483646 w 1222"/>
                      <a:gd name="T5" fmla="*/ 2147483646 h 1224"/>
                      <a:gd name="T6" fmla="*/ 2147483646 w 1222"/>
                      <a:gd name="T7" fmla="*/ 2147483646 h 1224"/>
                      <a:gd name="T8" fmla="*/ 2147483646 w 1222"/>
                      <a:gd name="T9" fmla="*/ 2147483646 h 1224"/>
                      <a:gd name="T10" fmla="*/ 2147483646 w 1222"/>
                      <a:gd name="T11" fmla="*/ 2147483646 h 1224"/>
                      <a:gd name="T12" fmla="*/ 2147483646 w 1222"/>
                      <a:gd name="T13" fmla="*/ 0 h 1224"/>
                      <a:gd name="T14" fmla="*/ 2147483646 w 1222"/>
                      <a:gd name="T15" fmla="*/ 2147483646 h 1224"/>
                      <a:gd name="T16" fmla="*/ 2147483646 w 1222"/>
                      <a:gd name="T17" fmla="*/ 2147483646 h 1224"/>
                      <a:gd name="T18" fmla="*/ 2147483646 w 1222"/>
                      <a:gd name="T19" fmla="*/ 2147483646 h 1224"/>
                      <a:gd name="T20" fmla="*/ 2147483646 w 1222"/>
                      <a:gd name="T21" fmla="*/ 2147483646 h 1224"/>
                      <a:gd name="T22" fmla="*/ 2147483646 w 1222"/>
                      <a:gd name="T23" fmla="*/ 2147483646 h 1224"/>
                      <a:gd name="T24" fmla="*/ 2147483646 w 1222"/>
                      <a:gd name="T25" fmla="*/ 2147483646 h 1224"/>
                      <a:gd name="T26" fmla="*/ 2147483646 w 1222"/>
                      <a:gd name="T27" fmla="*/ 2147483646 h 1224"/>
                      <a:gd name="T28" fmla="*/ 2147483646 w 1222"/>
                      <a:gd name="T29" fmla="*/ 2147483646 h 1224"/>
                      <a:gd name="T30" fmla="*/ 2147483646 w 1222"/>
                      <a:gd name="T31" fmla="*/ 2147483646 h 1224"/>
                      <a:gd name="T32" fmla="*/ 2147483646 w 1222"/>
                      <a:gd name="T33" fmla="*/ 2147483646 h 1224"/>
                      <a:gd name="T34" fmla="*/ 2147483646 w 1222"/>
                      <a:gd name="T35" fmla="*/ 2147483646 h 1224"/>
                      <a:gd name="T36" fmla="*/ 2147483646 w 1222"/>
                      <a:gd name="T37" fmla="*/ 2147483646 h 1224"/>
                      <a:gd name="T38" fmla="*/ 2147483646 w 1222"/>
                      <a:gd name="T39" fmla="*/ 2147483646 h 1224"/>
                      <a:gd name="T40" fmla="*/ 2147483646 w 1222"/>
                      <a:gd name="T41" fmla="*/ 2147483646 h 1224"/>
                      <a:gd name="T42" fmla="*/ 2147483646 w 1222"/>
                      <a:gd name="T43" fmla="*/ 2147483646 h 1224"/>
                      <a:gd name="T44" fmla="*/ 2147483646 w 1222"/>
                      <a:gd name="T45" fmla="*/ 2147483646 h 1224"/>
                      <a:gd name="T46" fmla="*/ 2147483646 w 1222"/>
                      <a:gd name="T47" fmla="*/ 2147483646 h 1224"/>
                      <a:gd name="T48" fmla="*/ 2147483646 w 1222"/>
                      <a:gd name="T49" fmla="*/ 2147483646 h 1224"/>
                      <a:gd name="T50" fmla="*/ 2147483646 w 1222"/>
                      <a:gd name="T51" fmla="*/ 2147483646 h 1224"/>
                      <a:gd name="T52" fmla="*/ 2147483646 w 1222"/>
                      <a:gd name="T53" fmla="*/ 2147483646 h 1224"/>
                      <a:gd name="T54" fmla="*/ 2147483646 w 1222"/>
                      <a:gd name="T55" fmla="*/ 2147483646 h 1224"/>
                      <a:gd name="T56" fmla="*/ 2147483646 w 1222"/>
                      <a:gd name="T57" fmla="*/ 2147483646 h 1224"/>
                      <a:gd name="T58" fmla="*/ 2147483646 w 1222"/>
                      <a:gd name="T59" fmla="*/ 2147483646 h 1224"/>
                      <a:gd name="T60" fmla="*/ 2147483646 w 1222"/>
                      <a:gd name="T61" fmla="*/ 2147483646 h 1224"/>
                      <a:gd name="T62" fmla="*/ 2147483646 w 1222"/>
                      <a:gd name="T63" fmla="*/ 2147483646 h 1224"/>
                      <a:gd name="T64" fmla="*/ 2147483646 w 1222"/>
                      <a:gd name="T65" fmla="*/ 2147483646 h 1224"/>
                      <a:gd name="T66" fmla="*/ 2147483646 w 1222"/>
                      <a:gd name="T67" fmla="*/ 2147483646 h 1224"/>
                      <a:gd name="T68" fmla="*/ 2147483646 w 1222"/>
                      <a:gd name="T69" fmla="*/ 2147483646 h 1224"/>
                      <a:gd name="T70" fmla="*/ 2147483646 w 1222"/>
                      <a:gd name="T71" fmla="*/ 2147483646 h 1224"/>
                      <a:gd name="T72" fmla="*/ 2147483646 w 1222"/>
                      <a:gd name="T73" fmla="*/ 2147483646 h 1224"/>
                      <a:gd name="T74" fmla="*/ 2147483646 w 1222"/>
                      <a:gd name="T75" fmla="*/ 2147483646 h 1224"/>
                      <a:gd name="T76" fmla="*/ 2147483646 w 1222"/>
                      <a:gd name="T77" fmla="*/ 2147483646 h 1224"/>
                      <a:gd name="T78" fmla="*/ 2147483646 w 1222"/>
                      <a:gd name="T79" fmla="*/ 2147483646 h 1224"/>
                      <a:gd name="T80" fmla="*/ 2147483646 w 1222"/>
                      <a:gd name="T81" fmla="*/ 2147483646 h 1224"/>
                      <a:gd name="T82" fmla="*/ 2147483646 w 1222"/>
                      <a:gd name="T83" fmla="*/ 2147483646 h 1224"/>
                      <a:gd name="T84" fmla="*/ 2147483646 w 1222"/>
                      <a:gd name="T85" fmla="*/ 2147483646 h 1224"/>
                      <a:gd name="T86" fmla="*/ 0 w 1222"/>
                      <a:gd name="T87" fmla="*/ 2147483646 h 1224"/>
                      <a:gd name="T88" fmla="*/ 2147483646 w 1222"/>
                      <a:gd name="T89" fmla="*/ 2147483646 h 1224"/>
                      <a:gd name="T90" fmla="*/ 2147483646 w 1222"/>
                      <a:gd name="T91" fmla="*/ 2147483646 h 1224"/>
                      <a:gd name="T92" fmla="*/ 2147483646 w 1222"/>
                      <a:gd name="T93" fmla="*/ 2147483646 h 1224"/>
                      <a:gd name="T94" fmla="*/ 2147483646 w 1222"/>
                      <a:gd name="T95" fmla="*/ 2147483646 h 1224"/>
                      <a:gd name="T96" fmla="*/ 2147483646 w 1222"/>
                      <a:gd name="T97" fmla="*/ 2147483646 h 1224"/>
                      <a:gd name="T98" fmla="*/ 2147483646 w 1222"/>
                      <a:gd name="T99" fmla="*/ 2147483646 h 1224"/>
                      <a:gd name="T100" fmla="*/ 2147483646 w 1222"/>
                      <a:gd name="T101" fmla="*/ 2147483646 h 1224"/>
                      <a:gd name="T102" fmla="*/ 2147483646 w 1222"/>
                      <a:gd name="T103" fmla="*/ 2147483646 h 12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22"/>
                      <a:gd name="T157" fmla="*/ 0 h 1224"/>
                      <a:gd name="T158" fmla="*/ 1222 w 1222"/>
                      <a:gd name="T159" fmla="*/ 1224 h 12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22" h="1224">
                        <a:moveTo>
                          <a:pt x="236" y="129"/>
                        </a:moveTo>
                        <a:lnTo>
                          <a:pt x="260" y="111"/>
                        </a:lnTo>
                        <a:lnTo>
                          <a:pt x="285" y="95"/>
                        </a:lnTo>
                        <a:lnTo>
                          <a:pt x="311" y="79"/>
                        </a:lnTo>
                        <a:lnTo>
                          <a:pt x="337" y="65"/>
                        </a:lnTo>
                        <a:lnTo>
                          <a:pt x="365" y="52"/>
                        </a:lnTo>
                        <a:lnTo>
                          <a:pt x="393" y="41"/>
                        </a:lnTo>
                        <a:lnTo>
                          <a:pt x="420" y="30"/>
                        </a:lnTo>
                        <a:lnTo>
                          <a:pt x="449" y="22"/>
                        </a:lnTo>
                        <a:lnTo>
                          <a:pt x="478" y="15"/>
                        </a:lnTo>
                        <a:lnTo>
                          <a:pt x="507" y="9"/>
                        </a:lnTo>
                        <a:lnTo>
                          <a:pt x="537" y="5"/>
                        </a:lnTo>
                        <a:lnTo>
                          <a:pt x="565" y="1"/>
                        </a:lnTo>
                        <a:lnTo>
                          <a:pt x="595" y="0"/>
                        </a:lnTo>
                        <a:lnTo>
                          <a:pt x="626" y="0"/>
                        </a:lnTo>
                        <a:lnTo>
                          <a:pt x="656" y="1"/>
                        </a:lnTo>
                        <a:lnTo>
                          <a:pt x="686" y="5"/>
                        </a:lnTo>
                        <a:lnTo>
                          <a:pt x="716" y="9"/>
                        </a:lnTo>
                        <a:lnTo>
                          <a:pt x="746" y="15"/>
                        </a:lnTo>
                        <a:lnTo>
                          <a:pt x="775" y="23"/>
                        </a:lnTo>
                        <a:lnTo>
                          <a:pt x="804" y="31"/>
                        </a:lnTo>
                        <a:lnTo>
                          <a:pt x="833" y="42"/>
                        </a:lnTo>
                        <a:lnTo>
                          <a:pt x="860" y="53"/>
                        </a:lnTo>
                        <a:lnTo>
                          <a:pt x="887" y="66"/>
                        </a:lnTo>
                        <a:lnTo>
                          <a:pt x="913" y="80"/>
                        </a:lnTo>
                        <a:lnTo>
                          <a:pt x="939" y="96"/>
                        </a:lnTo>
                        <a:lnTo>
                          <a:pt x="963" y="112"/>
                        </a:lnTo>
                        <a:lnTo>
                          <a:pt x="987" y="129"/>
                        </a:lnTo>
                        <a:lnTo>
                          <a:pt x="1010" y="149"/>
                        </a:lnTo>
                        <a:lnTo>
                          <a:pt x="1032" y="168"/>
                        </a:lnTo>
                        <a:lnTo>
                          <a:pt x="1054" y="190"/>
                        </a:lnTo>
                        <a:lnTo>
                          <a:pt x="1073" y="212"/>
                        </a:lnTo>
                        <a:lnTo>
                          <a:pt x="1093" y="236"/>
                        </a:lnTo>
                        <a:lnTo>
                          <a:pt x="1129" y="287"/>
                        </a:lnTo>
                        <a:lnTo>
                          <a:pt x="1159" y="341"/>
                        </a:lnTo>
                        <a:lnTo>
                          <a:pt x="1183" y="397"/>
                        </a:lnTo>
                        <a:lnTo>
                          <a:pt x="1201" y="454"/>
                        </a:lnTo>
                        <a:lnTo>
                          <a:pt x="1214" y="512"/>
                        </a:lnTo>
                        <a:lnTo>
                          <a:pt x="1221" y="571"/>
                        </a:lnTo>
                        <a:lnTo>
                          <a:pt x="1222" y="629"/>
                        </a:lnTo>
                        <a:lnTo>
                          <a:pt x="1217" y="688"/>
                        </a:lnTo>
                        <a:lnTo>
                          <a:pt x="1207" y="746"/>
                        </a:lnTo>
                        <a:lnTo>
                          <a:pt x="1191" y="802"/>
                        </a:lnTo>
                        <a:lnTo>
                          <a:pt x="1170" y="857"/>
                        </a:lnTo>
                        <a:lnTo>
                          <a:pt x="1144" y="910"/>
                        </a:lnTo>
                        <a:lnTo>
                          <a:pt x="1112" y="961"/>
                        </a:lnTo>
                        <a:lnTo>
                          <a:pt x="1076" y="1009"/>
                        </a:lnTo>
                        <a:lnTo>
                          <a:pt x="1033" y="1054"/>
                        </a:lnTo>
                        <a:lnTo>
                          <a:pt x="986" y="1095"/>
                        </a:lnTo>
                        <a:lnTo>
                          <a:pt x="962" y="1113"/>
                        </a:lnTo>
                        <a:lnTo>
                          <a:pt x="936" y="1129"/>
                        </a:lnTo>
                        <a:lnTo>
                          <a:pt x="911" y="1145"/>
                        </a:lnTo>
                        <a:lnTo>
                          <a:pt x="884" y="1159"/>
                        </a:lnTo>
                        <a:lnTo>
                          <a:pt x="858" y="1172"/>
                        </a:lnTo>
                        <a:lnTo>
                          <a:pt x="830" y="1183"/>
                        </a:lnTo>
                        <a:lnTo>
                          <a:pt x="801" y="1194"/>
                        </a:lnTo>
                        <a:lnTo>
                          <a:pt x="774" y="1202"/>
                        </a:lnTo>
                        <a:lnTo>
                          <a:pt x="745" y="1209"/>
                        </a:lnTo>
                        <a:lnTo>
                          <a:pt x="716" y="1214"/>
                        </a:lnTo>
                        <a:lnTo>
                          <a:pt x="686" y="1219"/>
                        </a:lnTo>
                        <a:lnTo>
                          <a:pt x="656" y="1223"/>
                        </a:lnTo>
                        <a:lnTo>
                          <a:pt x="626" y="1224"/>
                        </a:lnTo>
                        <a:lnTo>
                          <a:pt x="596" y="1224"/>
                        </a:lnTo>
                        <a:lnTo>
                          <a:pt x="567" y="1223"/>
                        </a:lnTo>
                        <a:lnTo>
                          <a:pt x="537" y="1219"/>
                        </a:lnTo>
                        <a:lnTo>
                          <a:pt x="507" y="1214"/>
                        </a:lnTo>
                        <a:lnTo>
                          <a:pt x="477" y="1209"/>
                        </a:lnTo>
                        <a:lnTo>
                          <a:pt x="447" y="1202"/>
                        </a:lnTo>
                        <a:lnTo>
                          <a:pt x="418" y="1193"/>
                        </a:lnTo>
                        <a:lnTo>
                          <a:pt x="390" y="1182"/>
                        </a:lnTo>
                        <a:lnTo>
                          <a:pt x="363" y="1171"/>
                        </a:lnTo>
                        <a:lnTo>
                          <a:pt x="336" y="1158"/>
                        </a:lnTo>
                        <a:lnTo>
                          <a:pt x="310" y="1144"/>
                        </a:lnTo>
                        <a:lnTo>
                          <a:pt x="284" y="1129"/>
                        </a:lnTo>
                        <a:lnTo>
                          <a:pt x="259" y="1112"/>
                        </a:lnTo>
                        <a:lnTo>
                          <a:pt x="235" y="1095"/>
                        </a:lnTo>
                        <a:lnTo>
                          <a:pt x="212" y="1075"/>
                        </a:lnTo>
                        <a:lnTo>
                          <a:pt x="190" y="1056"/>
                        </a:lnTo>
                        <a:lnTo>
                          <a:pt x="168" y="1034"/>
                        </a:lnTo>
                        <a:lnTo>
                          <a:pt x="148" y="1012"/>
                        </a:lnTo>
                        <a:lnTo>
                          <a:pt x="129" y="988"/>
                        </a:lnTo>
                        <a:lnTo>
                          <a:pt x="94" y="938"/>
                        </a:lnTo>
                        <a:lnTo>
                          <a:pt x="64" y="886"/>
                        </a:lnTo>
                        <a:lnTo>
                          <a:pt x="40" y="831"/>
                        </a:lnTo>
                        <a:lnTo>
                          <a:pt x="22" y="774"/>
                        </a:lnTo>
                        <a:lnTo>
                          <a:pt x="9" y="717"/>
                        </a:lnTo>
                        <a:lnTo>
                          <a:pt x="1" y="658"/>
                        </a:lnTo>
                        <a:lnTo>
                          <a:pt x="0" y="597"/>
                        </a:lnTo>
                        <a:lnTo>
                          <a:pt x="4" y="537"/>
                        </a:lnTo>
                        <a:lnTo>
                          <a:pt x="9" y="507"/>
                        </a:lnTo>
                        <a:lnTo>
                          <a:pt x="15" y="477"/>
                        </a:lnTo>
                        <a:lnTo>
                          <a:pt x="22" y="447"/>
                        </a:lnTo>
                        <a:lnTo>
                          <a:pt x="31" y="418"/>
                        </a:lnTo>
                        <a:lnTo>
                          <a:pt x="41" y="391"/>
                        </a:lnTo>
                        <a:lnTo>
                          <a:pt x="53" y="363"/>
                        </a:lnTo>
                        <a:lnTo>
                          <a:pt x="65" y="337"/>
                        </a:lnTo>
                        <a:lnTo>
                          <a:pt x="79" y="310"/>
                        </a:lnTo>
                        <a:lnTo>
                          <a:pt x="94" y="285"/>
                        </a:lnTo>
                        <a:lnTo>
                          <a:pt x="112" y="259"/>
                        </a:lnTo>
                        <a:lnTo>
                          <a:pt x="129" y="235"/>
                        </a:lnTo>
                        <a:lnTo>
                          <a:pt x="148" y="212"/>
                        </a:lnTo>
                        <a:lnTo>
                          <a:pt x="168" y="190"/>
                        </a:lnTo>
                        <a:lnTo>
                          <a:pt x="190" y="168"/>
                        </a:lnTo>
                        <a:lnTo>
                          <a:pt x="212" y="149"/>
                        </a:lnTo>
                        <a:lnTo>
                          <a:pt x="236" y="1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04" name="Freeform 272">
                    <a:extLst>
                      <a:ext uri="{FF2B5EF4-FFF2-40B4-BE49-F238E27FC236}">
                        <a16:creationId xmlns:a16="http://schemas.microsoft.com/office/drawing/2014/main" id="{3D5DEE68-37A0-433F-9FE8-1AD374D268B9}"/>
                      </a:ext>
                    </a:extLst>
                  </p:cNvPr>
                  <p:cNvSpPr>
                    <a:spLocks/>
                  </p:cNvSpPr>
                  <p:nvPr/>
                </p:nvSpPr>
                <p:spPr bwMode="auto">
                  <a:xfrm>
                    <a:off x="6203950" y="5229225"/>
                    <a:ext cx="474663" cy="457200"/>
                  </a:xfrm>
                  <a:custGeom>
                    <a:avLst/>
                    <a:gdLst>
                      <a:gd name="T0" fmla="*/ 2147483646 w 597"/>
                      <a:gd name="T1" fmla="*/ 2147483646 h 576"/>
                      <a:gd name="T2" fmla="*/ 2147483646 w 597"/>
                      <a:gd name="T3" fmla="*/ 2147483646 h 576"/>
                      <a:gd name="T4" fmla="*/ 2147483646 w 597"/>
                      <a:gd name="T5" fmla="*/ 2147483646 h 576"/>
                      <a:gd name="T6" fmla="*/ 2147483646 w 597"/>
                      <a:gd name="T7" fmla="*/ 2147483646 h 576"/>
                      <a:gd name="T8" fmla="*/ 2147483646 w 597"/>
                      <a:gd name="T9" fmla="*/ 2147483646 h 576"/>
                      <a:gd name="T10" fmla="*/ 2147483646 w 597"/>
                      <a:gd name="T11" fmla="*/ 2147483646 h 576"/>
                      <a:gd name="T12" fmla="*/ 2147483646 w 597"/>
                      <a:gd name="T13" fmla="*/ 2147483646 h 576"/>
                      <a:gd name="T14" fmla="*/ 2147483646 w 597"/>
                      <a:gd name="T15" fmla="*/ 0 h 576"/>
                      <a:gd name="T16" fmla="*/ 2147483646 w 597"/>
                      <a:gd name="T17" fmla="*/ 2147483646 h 576"/>
                      <a:gd name="T18" fmla="*/ 2147483646 w 597"/>
                      <a:gd name="T19" fmla="*/ 2147483646 h 576"/>
                      <a:gd name="T20" fmla="*/ 2147483646 w 597"/>
                      <a:gd name="T21" fmla="*/ 2147483646 h 576"/>
                      <a:gd name="T22" fmla="*/ 0 w 597"/>
                      <a:gd name="T23" fmla="*/ 2147483646 h 576"/>
                      <a:gd name="T24" fmla="*/ 0 w 597"/>
                      <a:gd name="T25" fmla="*/ 2147483646 h 576"/>
                      <a:gd name="T26" fmla="*/ 2147483646 w 597"/>
                      <a:gd name="T27" fmla="*/ 2147483646 h 576"/>
                      <a:gd name="T28" fmla="*/ 2147483646 w 597"/>
                      <a:gd name="T29" fmla="*/ 2147483646 h 576"/>
                      <a:gd name="T30" fmla="*/ 2147483646 w 597"/>
                      <a:gd name="T31" fmla="*/ 2147483646 h 576"/>
                      <a:gd name="T32" fmla="*/ 2147483646 w 597"/>
                      <a:gd name="T33" fmla="*/ 2147483646 h 576"/>
                      <a:gd name="T34" fmla="*/ 2147483646 w 597"/>
                      <a:gd name="T35" fmla="*/ 2147483646 h 576"/>
                      <a:gd name="T36" fmla="*/ 2147483646 w 597"/>
                      <a:gd name="T37" fmla="*/ 2147483646 h 576"/>
                      <a:gd name="T38" fmla="*/ 2147483646 w 597"/>
                      <a:gd name="T39" fmla="*/ 2147483646 h 5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7"/>
                      <a:gd name="T61" fmla="*/ 0 h 576"/>
                      <a:gd name="T62" fmla="*/ 597 w 597"/>
                      <a:gd name="T63" fmla="*/ 576 h 57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7" h="576">
                        <a:moveTo>
                          <a:pt x="422" y="440"/>
                        </a:moveTo>
                        <a:lnTo>
                          <a:pt x="367" y="369"/>
                        </a:lnTo>
                        <a:lnTo>
                          <a:pt x="597" y="190"/>
                        </a:lnTo>
                        <a:lnTo>
                          <a:pt x="568" y="152"/>
                        </a:lnTo>
                        <a:lnTo>
                          <a:pt x="337" y="331"/>
                        </a:lnTo>
                        <a:lnTo>
                          <a:pt x="244" y="211"/>
                        </a:lnTo>
                        <a:lnTo>
                          <a:pt x="477" y="38"/>
                        </a:lnTo>
                        <a:lnTo>
                          <a:pt x="447" y="0"/>
                        </a:lnTo>
                        <a:lnTo>
                          <a:pt x="215" y="173"/>
                        </a:lnTo>
                        <a:lnTo>
                          <a:pt x="160" y="103"/>
                        </a:lnTo>
                        <a:lnTo>
                          <a:pt x="141" y="118"/>
                        </a:lnTo>
                        <a:lnTo>
                          <a:pt x="0" y="233"/>
                        </a:lnTo>
                        <a:lnTo>
                          <a:pt x="0" y="293"/>
                        </a:lnTo>
                        <a:lnTo>
                          <a:pt x="152" y="171"/>
                        </a:lnTo>
                        <a:lnTo>
                          <a:pt x="329" y="398"/>
                        </a:lnTo>
                        <a:lnTo>
                          <a:pt x="354" y="432"/>
                        </a:lnTo>
                        <a:lnTo>
                          <a:pt x="170" y="576"/>
                        </a:lnTo>
                        <a:lnTo>
                          <a:pt x="247" y="576"/>
                        </a:lnTo>
                        <a:lnTo>
                          <a:pt x="422" y="4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05" name="Freeform 273">
                    <a:extLst>
                      <a:ext uri="{FF2B5EF4-FFF2-40B4-BE49-F238E27FC236}">
                        <a16:creationId xmlns:a16="http://schemas.microsoft.com/office/drawing/2014/main" id="{DBB8E083-3B24-46AA-8034-73BCF0DF7820}"/>
                      </a:ext>
                    </a:extLst>
                  </p:cNvPr>
                  <p:cNvSpPr>
                    <a:spLocks/>
                  </p:cNvSpPr>
                  <p:nvPr/>
                </p:nvSpPr>
                <p:spPr bwMode="auto">
                  <a:xfrm>
                    <a:off x="6634163" y="4608513"/>
                    <a:ext cx="195263" cy="234950"/>
                  </a:xfrm>
                  <a:custGeom>
                    <a:avLst/>
                    <a:gdLst>
                      <a:gd name="T0" fmla="*/ 2147483646 w 246"/>
                      <a:gd name="T1" fmla="*/ 2147483646 h 296"/>
                      <a:gd name="T2" fmla="*/ 2147483646 w 246"/>
                      <a:gd name="T3" fmla="*/ 2147483646 h 296"/>
                      <a:gd name="T4" fmla="*/ 2147483646 w 246"/>
                      <a:gd name="T5" fmla="*/ 2147483646 h 296"/>
                      <a:gd name="T6" fmla="*/ 2147483646 w 246"/>
                      <a:gd name="T7" fmla="*/ 2147483646 h 296"/>
                      <a:gd name="T8" fmla="*/ 2147483646 w 246"/>
                      <a:gd name="T9" fmla="*/ 2147483646 h 296"/>
                      <a:gd name="T10" fmla="*/ 2147483646 w 246"/>
                      <a:gd name="T11" fmla="*/ 2147483646 h 296"/>
                      <a:gd name="T12" fmla="*/ 2147483646 w 246"/>
                      <a:gd name="T13" fmla="*/ 2147483646 h 296"/>
                      <a:gd name="T14" fmla="*/ 2147483646 w 246"/>
                      <a:gd name="T15" fmla="*/ 2147483646 h 296"/>
                      <a:gd name="T16" fmla="*/ 2147483646 w 246"/>
                      <a:gd name="T17" fmla="*/ 2147483646 h 296"/>
                      <a:gd name="T18" fmla="*/ 2147483646 w 246"/>
                      <a:gd name="T19" fmla="*/ 2147483646 h 296"/>
                      <a:gd name="T20" fmla="*/ 2147483646 w 246"/>
                      <a:gd name="T21" fmla="*/ 2147483646 h 296"/>
                      <a:gd name="T22" fmla="*/ 2147483646 w 246"/>
                      <a:gd name="T23" fmla="*/ 2147483646 h 296"/>
                      <a:gd name="T24" fmla="*/ 2147483646 w 246"/>
                      <a:gd name="T25" fmla="*/ 0 h 296"/>
                      <a:gd name="T26" fmla="*/ 2147483646 w 246"/>
                      <a:gd name="T27" fmla="*/ 2147483646 h 296"/>
                      <a:gd name="T28" fmla="*/ 2147483646 w 246"/>
                      <a:gd name="T29" fmla="*/ 2147483646 h 296"/>
                      <a:gd name="T30" fmla="*/ 2147483646 w 246"/>
                      <a:gd name="T31" fmla="*/ 2147483646 h 296"/>
                      <a:gd name="T32" fmla="*/ 2147483646 w 246"/>
                      <a:gd name="T33" fmla="*/ 2147483646 h 296"/>
                      <a:gd name="T34" fmla="*/ 2147483646 w 246"/>
                      <a:gd name="T35" fmla="*/ 2147483646 h 296"/>
                      <a:gd name="T36" fmla="*/ 2147483646 w 246"/>
                      <a:gd name="T37" fmla="*/ 2147483646 h 296"/>
                      <a:gd name="T38" fmla="*/ 2147483646 w 246"/>
                      <a:gd name="T39" fmla="*/ 2147483646 h 296"/>
                      <a:gd name="T40" fmla="*/ 2147483646 w 246"/>
                      <a:gd name="T41" fmla="*/ 2147483646 h 296"/>
                      <a:gd name="T42" fmla="*/ 2147483646 w 246"/>
                      <a:gd name="T43" fmla="*/ 2147483646 h 296"/>
                      <a:gd name="T44" fmla="*/ 2147483646 w 246"/>
                      <a:gd name="T45" fmla="*/ 2147483646 h 296"/>
                      <a:gd name="T46" fmla="*/ 2147483646 w 246"/>
                      <a:gd name="T47" fmla="*/ 2147483646 h 296"/>
                      <a:gd name="T48" fmla="*/ 2147483646 w 246"/>
                      <a:gd name="T49" fmla="*/ 2147483646 h 296"/>
                      <a:gd name="T50" fmla="*/ 2147483646 w 246"/>
                      <a:gd name="T51" fmla="*/ 2147483646 h 296"/>
                      <a:gd name="T52" fmla="*/ 2147483646 w 246"/>
                      <a:gd name="T53" fmla="*/ 2147483646 h 296"/>
                      <a:gd name="T54" fmla="*/ 2147483646 w 246"/>
                      <a:gd name="T55" fmla="*/ 2147483646 h 296"/>
                      <a:gd name="T56" fmla="*/ 2147483646 w 246"/>
                      <a:gd name="T57" fmla="*/ 2147483646 h 296"/>
                      <a:gd name="T58" fmla="*/ 2147483646 w 246"/>
                      <a:gd name="T59" fmla="*/ 2147483646 h 296"/>
                      <a:gd name="T60" fmla="*/ 2147483646 w 246"/>
                      <a:gd name="T61" fmla="*/ 2147483646 h 296"/>
                      <a:gd name="T62" fmla="*/ 2147483646 w 246"/>
                      <a:gd name="T63" fmla="*/ 2147483646 h 296"/>
                      <a:gd name="T64" fmla="*/ 2147483646 w 246"/>
                      <a:gd name="T65" fmla="*/ 2147483646 h 296"/>
                      <a:gd name="T66" fmla="*/ 2147483646 w 246"/>
                      <a:gd name="T67" fmla="*/ 2147483646 h 296"/>
                      <a:gd name="T68" fmla="*/ 2147483646 w 246"/>
                      <a:gd name="T69" fmla="*/ 2147483646 h 296"/>
                      <a:gd name="T70" fmla="*/ 2147483646 w 246"/>
                      <a:gd name="T71" fmla="*/ 2147483646 h 296"/>
                      <a:gd name="T72" fmla="*/ 2147483646 w 246"/>
                      <a:gd name="T73" fmla="*/ 2147483646 h 296"/>
                      <a:gd name="T74" fmla="*/ 2147483646 w 246"/>
                      <a:gd name="T75" fmla="*/ 2147483646 h 296"/>
                      <a:gd name="T76" fmla="*/ 2147483646 w 246"/>
                      <a:gd name="T77" fmla="*/ 2147483646 h 296"/>
                      <a:gd name="T78" fmla="*/ 2147483646 w 246"/>
                      <a:gd name="T79" fmla="*/ 2147483646 h 296"/>
                      <a:gd name="T80" fmla="*/ 2147483646 w 246"/>
                      <a:gd name="T81" fmla="*/ 2147483646 h 296"/>
                      <a:gd name="T82" fmla="*/ 2147483646 w 246"/>
                      <a:gd name="T83" fmla="*/ 2147483646 h 296"/>
                      <a:gd name="T84" fmla="*/ 2147483646 w 246"/>
                      <a:gd name="T85" fmla="*/ 2147483646 h 296"/>
                      <a:gd name="T86" fmla="*/ 2147483646 w 246"/>
                      <a:gd name="T87" fmla="*/ 2147483646 h 296"/>
                      <a:gd name="T88" fmla="*/ 2147483646 w 246"/>
                      <a:gd name="T89" fmla="*/ 2147483646 h 296"/>
                      <a:gd name="T90" fmla="*/ 2147483646 w 246"/>
                      <a:gd name="T91" fmla="*/ 2147483646 h 296"/>
                      <a:gd name="T92" fmla="*/ 2147483646 w 246"/>
                      <a:gd name="T93" fmla="*/ 2147483646 h 296"/>
                      <a:gd name="T94" fmla="*/ 2147483646 w 246"/>
                      <a:gd name="T95" fmla="*/ 2147483646 h 296"/>
                      <a:gd name="T96" fmla="*/ 2147483646 w 246"/>
                      <a:gd name="T97" fmla="*/ 2147483646 h 296"/>
                      <a:gd name="T98" fmla="*/ 0 w 246"/>
                      <a:gd name="T99" fmla="*/ 2147483646 h 296"/>
                      <a:gd name="T100" fmla="*/ 2147483646 w 246"/>
                      <a:gd name="T101" fmla="*/ 2147483646 h 296"/>
                      <a:gd name="T102" fmla="*/ 2147483646 w 246"/>
                      <a:gd name="T103" fmla="*/ 2147483646 h 296"/>
                      <a:gd name="T104" fmla="*/ 2147483646 w 246"/>
                      <a:gd name="T105" fmla="*/ 2147483646 h 296"/>
                      <a:gd name="T106" fmla="*/ 2147483646 w 246"/>
                      <a:gd name="T107" fmla="*/ 2147483646 h 296"/>
                      <a:gd name="T108" fmla="*/ 2147483646 w 246"/>
                      <a:gd name="T109" fmla="*/ 2147483646 h 296"/>
                      <a:gd name="T110" fmla="*/ 2147483646 w 246"/>
                      <a:gd name="T111" fmla="*/ 2147483646 h 296"/>
                      <a:gd name="T112" fmla="*/ 2147483646 w 246"/>
                      <a:gd name="T113" fmla="*/ 2147483646 h 296"/>
                      <a:gd name="T114" fmla="*/ 2147483646 w 246"/>
                      <a:gd name="T115" fmla="*/ 2147483646 h 29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6"/>
                      <a:gd name="T175" fmla="*/ 0 h 296"/>
                      <a:gd name="T176" fmla="*/ 246 w 246"/>
                      <a:gd name="T177" fmla="*/ 296 h 29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6" h="296">
                        <a:moveTo>
                          <a:pt x="105" y="287"/>
                        </a:moveTo>
                        <a:lnTo>
                          <a:pt x="114" y="283"/>
                        </a:lnTo>
                        <a:lnTo>
                          <a:pt x="123" y="277"/>
                        </a:lnTo>
                        <a:lnTo>
                          <a:pt x="133" y="270"/>
                        </a:lnTo>
                        <a:lnTo>
                          <a:pt x="140" y="263"/>
                        </a:lnTo>
                        <a:lnTo>
                          <a:pt x="146" y="255"/>
                        </a:lnTo>
                        <a:lnTo>
                          <a:pt x="151" y="247"/>
                        </a:lnTo>
                        <a:lnTo>
                          <a:pt x="156" y="238"/>
                        </a:lnTo>
                        <a:lnTo>
                          <a:pt x="158" y="227"/>
                        </a:lnTo>
                        <a:lnTo>
                          <a:pt x="170" y="251"/>
                        </a:lnTo>
                        <a:lnTo>
                          <a:pt x="246" y="218"/>
                        </a:lnTo>
                        <a:lnTo>
                          <a:pt x="152" y="0"/>
                        </a:lnTo>
                        <a:lnTo>
                          <a:pt x="121" y="14"/>
                        </a:lnTo>
                        <a:lnTo>
                          <a:pt x="112" y="26"/>
                        </a:lnTo>
                        <a:lnTo>
                          <a:pt x="103" y="37"/>
                        </a:lnTo>
                        <a:lnTo>
                          <a:pt x="95" y="49"/>
                        </a:lnTo>
                        <a:lnTo>
                          <a:pt x="87" y="61"/>
                        </a:lnTo>
                        <a:lnTo>
                          <a:pt x="79" y="74"/>
                        </a:lnTo>
                        <a:lnTo>
                          <a:pt x="70" y="87"/>
                        </a:lnTo>
                        <a:lnTo>
                          <a:pt x="64" y="99"/>
                        </a:lnTo>
                        <a:lnTo>
                          <a:pt x="57" y="112"/>
                        </a:lnTo>
                        <a:lnTo>
                          <a:pt x="68" y="110"/>
                        </a:lnTo>
                        <a:lnTo>
                          <a:pt x="79" y="109"/>
                        </a:lnTo>
                        <a:lnTo>
                          <a:pt x="88" y="110"/>
                        </a:lnTo>
                        <a:lnTo>
                          <a:pt x="98" y="113"/>
                        </a:lnTo>
                        <a:lnTo>
                          <a:pt x="106" y="118"/>
                        </a:lnTo>
                        <a:lnTo>
                          <a:pt x="113" y="125"/>
                        </a:lnTo>
                        <a:lnTo>
                          <a:pt x="120" y="132"/>
                        </a:lnTo>
                        <a:lnTo>
                          <a:pt x="125" y="141"/>
                        </a:lnTo>
                        <a:lnTo>
                          <a:pt x="128" y="151"/>
                        </a:lnTo>
                        <a:lnTo>
                          <a:pt x="129" y="162"/>
                        </a:lnTo>
                        <a:lnTo>
                          <a:pt x="129" y="172"/>
                        </a:lnTo>
                        <a:lnTo>
                          <a:pt x="126" y="181"/>
                        </a:lnTo>
                        <a:lnTo>
                          <a:pt x="121" y="190"/>
                        </a:lnTo>
                        <a:lnTo>
                          <a:pt x="115" y="198"/>
                        </a:lnTo>
                        <a:lnTo>
                          <a:pt x="106" y="205"/>
                        </a:lnTo>
                        <a:lnTo>
                          <a:pt x="96" y="211"/>
                        </a:lnTo>
                        <a:lnTo>
                          <a:pt x="84" y="215"/>
                        </a:lnTo>
                        <a:lnTo>
                          <a:pt x="74" y="217"/>
                        </a:lnTo>
                        <a:lnTo>
                          <a:pt x="64" y="216"/>
                        </a:lnTo>
                        <a:lnTo>
                          <a:pt x="54" y="213"/>
                        </a:lnTo>
                        <a:lnTo>
                          <a:pt x="45" y="209"/>
                        </a:lnTo>
                        <a:lnTo>
                          <a:pt x="37" y="202"/>
                        </a:lnTo>
                        <a:lnTo>
                          <a:pt x="31" y="194"/>
                        </a:lnTo>
                        <a:lnTo>
                          <a:pt x="26" y="185"/>
                        </a:lnTo>
                        <a:lnTo>
                          <a:pt x="17" y="208"/>
                        </a:lnTo>
                        <a:lnTo>
                          <a:pt x="12" y="232"/>
                        </a:lnTo>
                        <a:lnTo>
                          <a:pt x="5" y="256"/>
                        </a:lnTo>
                        <a:lnTo>
                          <a:pt x="0" y="280"/>
                        </a:lnTo>
                        <a:lnTo>
                          <a:pt x="12" y="286"/>
                        </a:lnTo>
                        <a:lnTo>
                          <a:pt x="24" y="292"/>
                        </a:lnTo>
                        <a:lnTo>
                          <a:pt x="37" y="295"/>
                        </a:lnTo>
                        <a:lnTo>
                          <a:pt x="51" y="296"/>
                        </a:lnTo>
                        <a:lnTo>
                          <a:pt x="65" y="296"/>
                        </a:lnTo>
                        <a:lnTo>
                          <a:pt x="79" y="295"/>
                        </a:lnTo>
                        <a:lnTo>
                          <a:pt x="91" y="292"/>
                        </a:lnTo>
                        <a:lnTo>
                          <a:pt x="105" y="2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06" name="Freeform 274">
                    <a:extLst>
                      <a:ext uri="{FF2B5EF4-FFF2-40B4-BE49-F238E27FC236}">
                        <a16:creationId xmlns:a16="http://schemas.microsoft.com/office/drawing/2014/main" id="{A7C1DBFA-91BB-480E-823D-047C5CB3682F}"/>
                      </a:ext>
                    </a:extLst>
                  </p:cNvPr>
                  <p:cNvSpPr>
                    <a:spLocks/>
                  </p:cNvSpPr>
                  <p:nvPr/>
                </p:nvSpPr>
                <p:spPr bwMode="auto">
                  <a:xfrm>
                    <a:off x="6813550" y="4457700"/>
                    <a:ext cx="247650" cy="285750"/>
                  </a:xfrm>
                  <a:custGeom>
                    <a:avLst/>
                    <a:gdLst>
                      <a:gd name="T0" fmla="*/ 2147483646 w 312"/>
                      <a:gd name="T1" fmla="*/ 2147483646 h 361"/>
                      <a:gd name="T2" fmla="*/ 2147483646 w 312"/>
                      <a:gd name="T3" fmla="*/ 2147483646 h 361"/>
                      <a:gd name="T4" fmla="*/ 2147483646 w 312"/>
                      <a:gd name="T5" fmla="*/ 2147483646 h 361"/>
                      <a:gd name="T6" fmla="*/ 2147483646 w 312"/>
                      <a:gd name="T7" fmla="*/ 2147483646 h 361"/>
                      <a:gd name="T8" fmla="*/ 2147483646 w 312"/>
                      <a:gd name="T9" fmla="*/ 2147483646 h 361"/>
                      <a:gd name="T10" fmla="*/ 2147483646 w 312"/>
                      <a:gd name="T11" fmla="*/ 2147483646 h 361"/>
                      <a:gd name="T12" fmla="*/ 0 w 312"/>
                      <a:gd name="T13" fmla="*/ 2147483646 h 361"/>
                      <a:gd name="T14" fmla="*/ 2147483646 w 312"/>
                      <a:gd name="T15" fmla="*/ 2147483646 h 361"/>
                      <a:gd name="T16" fmla="*/ 2147483646 w 312"/>
                      <a:gd name="T17" fmla="*/ 2147483646 h 361"/>
                      <a:gd name="T18" fmla="*/ 2147483646 w 312"/>
                      <a:gd name="T19" fmla="*/ 2147483646 h 361"/>
                      <a:gd name="T20" fmla="*/ 2147483646 w 312"/>
                      <a:gd name="T21" fmla="*/ 2147483646 h 361"/>
                      <a:gd name="T22" fmla="*/ 2147483646 w 312"/>
                      <a:gd name="T23" fmla="*/ 2147483646 h 361"/>
                      <a:gd name="T24" fmla="*/ 2147483646 w 312"/>
                      <a:gd name="T25" fmla="*/ 2147483646 h 361"/>
                      <a:gd name="T26" fmla="*/ 2147483646 w 312"/>
                      <a:gd name="T27" fmla="*/ 2147483646 h 361"/>
                      <a:gd name="T28" fmla="*/ 2147483646 w 312"/>
                      <a:gd name="T29" fmla="*/ 2147483646 h 361"/>
                      <a:gd name="T30" fmla="*/ 2147483646 w 312"/>
                      <a:gd name="T31" fmla="*/ 2147483646 h 361"/>
                      <a:gd name="T32" fmla="*/ 2147483646 w 312"/>
                      <a:gd name="T33" fmla="*/ 2147483646 h 361"/>
                      <a:gd name="T34" fmla="*/ 2147483646 w 312"/>
                      <a:gd name="T35" fmla="*/ 2147483646 h 361"/>
                      <a:gd name="T36" fmla="*/ 2147483646 w 312"/>
                      <a:gd name="T37" fmla="*/ 2147483646 h 361"/>
                      <a:gd name="T38" fmla="*/ 2147483646 w 312"/>
                      <a:gd name="T39" fmla="*/ 2147483646 h 361"/>
                      <a:gd name="T40" fmla="*/ 2147483646 w 312"/>
                      <a:gd name="T41" fmla="*/ 2147483646 h 361"/>
                      <a:gd name="T42" fmla="*/ 2147483646 w 312"/>
                      <a:gd name="T43" fmla="*/ 2147483646 h 361"/>
                      <a:gd name="T44" fmla="*/ 2147483646 w 312"/>
                      <a:gd name="T45" fmla="*/ 2147483646 h 361"/>
                      <a:gd name="T46" fmla="*/ 2147483646 w 312"/>
                      <a:gd name="T47" fmla="*/ 2147483646 h 361"/>
                      <a:gd name="T48" fmla="*/ 2147483646 w 312"/>
                      <a:gd name="T49" fmla="*/ 2147483646 h 361"/>
                      <a:gd name="T50" fmla="*/ 2147483646 w 312"/>
                      <a:gd name="T51" fmla="*/ 2147483646 h 361"/>
                      <a:gd name="T52" fmla="*/ 2147483646 w 312"/>
                      <a:gd name="T53" fmla="*/ 2147483646 h 361"/>
                      <a:gd name="T54" fmla="*/ 2147483646 w 312"/>
                      <a:gd name="T55" fmla="*/ 2147483646 h 361"/>
                      <a:gd name="T56" fmla="*/ 2147483646 w 312"/>
                      <a:gd name="T57" fmla="*/ 0 h 361"/>
                      <a:gd name="T58" fmla="*/ 2147483646 w 312"/>
                      <a:gd name="T59" fmla="*/ 2147483646 h 361"/>
                      <a:gd name="T60" fmla="*/ 2147483646 w 312"/>
                      <a:gd name="T61" fmla="*/ 2147483646 h 361"/>
                      <a:gd name="T62" fmla="*/ 2147483646 w 312"/>
                      <a:gd name="T63" fmla="*/ 2147483646 h 361"/>
                      <a:gd name="T64" fmla="*/ 2147483646 w 312"/>
                      <a:gd name="T65" fmla="*/ 2147483646 h 361"/>
                      <a:gd name="T66" fmla="*/ 2147483646 w 312"/>
                      <a:gd name="T67" fmla="*/ 2147483646 h 361"/>
                      <a:gd name="T68" fmla="*/ 2147483646 w 312"/>
                      <a:gd name="T69" fmla="*/ 2147483646 h 361"/>
                      <a:gd name="T70" fmla="*/ 2147483646 w 312"/>
                      <a:gd name="T71" fmla="*/ 2147483646 h 361"/>
                      <a:gd name="T72" fmla="*/ 2147483646 w 312"/>
                      <a:gd name="T73" fmla="*/ 2147483646 h 361"/>
                      <a:gd name="T74" fmla="*/ 2147483646 w 312"/>
                      <a:gd name="T75" fmla="*/ 2147483646 h 361"/>
                      <a:gd name="T76" fmla="*/ 2147483646 w 312"/>
                      <a:gd name="T77" fmla="*/ 2147483646 h 361"/>
                      <a:gd name="T78" fmla="*/ 2147483646 w 312"/>
                      <a:gd name="T79" fmla="*/ 2147483646 h 361"/>
                      <a:gd name="T80" fmla="*/ 2147483646 w 312"/>
                      <a:gd name="T81" fmla="*/ 2147483646 h 361"/>
                      <a:gd name="T82" fmla="*/ 2147483646 w 312"/>
                      <a:gd name="T83" fmla="*/ 2147483646 h 361"/>
                      <a:gd name="T84" fmla="*/ 2147483646 w 312"/>
                      <a:gd name="T85" fmla="*/ 2147483646 h 361"/>
                      <a:gd name="T86" fmla="*/ 2147483646 w 312"/>
                      <a:gd name="T87" fmla="*/ 2147483646 h 361"/>
                      <a:gd name="T88" fmla="*/ 2147483646 w 312"/>
                      <a:gd name="T89" fmla="*/ 2147483646 h 361"/>
                      <a:gd name="T90" fmla="*/ 2147483646 w 312"/>
                      <a:gd name="T91" fmla="*/ 2147483646 h 36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12"/>
                      <a:gd name="T139" fmla="*/ 0 h 361"/>
                      <a:gd name="T140" fmla="*/ 312 w 312"/>
                      <a:gd name="T141" fmla="*/ 361 h 36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12" h="361">
                        <a:moveTo>
                          <a:pt x="70" y="120"/>
                        </a:moveTo>
                        <a:lnTo>
                          <a:pt x="48" y="133"/>
                        </a:lnTo>
                        <a:lnTo>
                          <a:pt x="30" y="149"/>
                        </a:lnTo>
                        <a:lnTo>
                          <a:pt x="16" y="167"/>
                        </a:lnTo>
                        <a:lnTo>
                          <a:pt x="7" y="188"/>
                        </a:lnTo>
                        <a:lnTo>
                          <a:pt x="1" y="211"/>
                        </a:lnTo>
                        <a:lnTo>
                          <a:pt x="0" y="235"/>
                        </a:lnTo>
                        <a:lnTo>
                          <a:pt x="3" y="258"/>
                        </a:lnTo>
                        <a:lnTo>
                          <a:pt x="11" y="282"/>
                        </a:lnTo>
                        <a:lnTo>
                          <a:pt x="23" y="304"/>
                        </a:lnTo>
                        <a:lnTo>
                          <a:pt x="39" y="324"/>
                        </a:lnTo>
                        <a:lnTo>
                          <a:pt x="56" y="339"/>
                        </a:lnTo>
                        <a:lnTo>
                          <a:pt x="77" y="351"/>
                        </a:lnTo>
                        <a:lnTo>
                          <a:pt x="99" y="358"/>
                        </a:lnTo>
                        <a:lnTo>
                          <a:pt x="123" y="361"/>
                        </a:lnTo>
                        <a:lnTo>
                          <a:pt x="147" y="359"/>
                        </a:lnTo>
                        <a:lnTo>
                          <a:pt x="172" y="351"/>
                        </a:lnTo>
                        <a:lnTo>
                          <a:pt x="181" y="347"/>
                        </a:lnTo>
                        <a:lnTo>
                          <a:pt x="190" y="341"/>
                        </a:lnTo>
                        <a:lnTo>
                          <a:pt x="198" y="334"/>
                        </a:lnTo>
                        <a:lnTo>
                          <a:pt x="206" y="327"/>
                        </a:lnTo>
                        <a:lnTo>
                          <a:pt x="212" y="319"/>
                        </a:lnTo>
                        <a:lnTo>
                          <a:pt x="218" y="311"/>
                        </a:lnTo>
                        <a:lnTo>
                          <a:pt x="221" y="302"/>
                        </a:lnTo>
                        <a:lnTo>
                          <a:pt x="223" y="292"/>
                        </a:lnTo>
                        <a:lnTo>
                          <a:pt x="225" y="292"/>
                        </a:lnTo>
                        <a:lnTo>
                          <a:pt x="235" y="316"/>
                        </a:lnTo>
                        <a:lnTo>
                          <a:pt x="312" y="282"/>
                        </a:lnTo>
                        <a:lnTo>
                          <a:pt x="190" y="0"/>
                        </a:lnTo>
                        <a:lnTo>
                          <a:pt x="180" y="4"/>
                        </a:lnTo>
                        <a:lnTo>
                          <a:pt x="170" y="7"/>
                        </a:lnTo>
                        <a:lnTo>
                          <a:pt x="160" y="10"/>
                        </a:lnTo>
                        <a:lnTo>
                          <a:pt x="151" y="14"/>
                        </a:lnTo>
                        <a:lnTo>
                          <a:pt x="140" y="17"/>
                        </a:lnTo>
                        <a:lnTo>
                          <a:pt x="131" y="22"/>
                        </a:lnTo>
                        <a:lnTo>
                          <a:pt x="121" y="27"/>
                        </a:lnTo>
                        <a:lnTo>
                          <a:pt x="112" y="31"/>
                        </a:lnTo>
                        <a:lnTo>
                          <a:pt x="150" y="119"/>
                        </a:lnTo>
                        <a:lnTo>
                          <a:pt x="140" y="115"/>
                        </a:lnTo>
                        <a:lnTo>
                          <a:pt x="130" y="113"/>
                        </a:lnTo>
                        <a:lnTo>
                          <a:pt x="121" y="112"/>
                        </a:lnTo>
                        <a:lnTo>
                          <a:pt x="111" y="111"/>
                        </a:lnTo>
                        <a:lnTo>
                          <a:pt x="100" y="112"/>
                        </a:lnTo>
                        <a:lnTo>
                          <a:pt x="90" y="114"/>
                        </a:lnTo>
                        <a:lnTo>
                          <a:pt x="79" y="116"/>
                        </a:lnTo>
                        <a:lnTo>
                          <a:pt x="7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07" name="Freeform 275">
                    <a:extLst>
                      <a:ext uri="{FF2B5EF4-FFF2-40B4-BE49-F238E27FC236}">
                        <a16:creationId xmlns:a16="http://schemas.microsoft.com/office/drawing/2014/main" id="{DB33A055-AF25-4F16-B147-75287BCDFDA6}"/>
                      </a:ext>
                    </a:extLst>
                  </p:cNvPr>
                  <p:cNvSpPr>
                    <a:spLocks/>
                  </p:cNvSpPr>
                  <p:nvPr/>
                </p:nvSpPr>
                <p:spPr bwMode="auto">
                  <a:xfrm>
                    <a:off x="6881813" y="4594225"/>
                    <a:ext cx="87313" cy="85725"/>
                  </a:xfrm>
                  <a:custGeom>
                    <a:avLst/>
                    <a:gdLst>
                      <a:gd name="T0" fmla="*/ 2147483646 w 110"/>
                      <a:gd name="T1" fmla="*/ 2147483646 h 108"/>
                      <a:gd name="T2" fmla="*/ 2147483646 w 110"/>
                      <a:gd name="T3" fmla="*/ 2147483646 h 108"/>
                      <a:gd name="T4" fmla="*/ 2147483646 w 110"/>
                      <a:gd name="T5" fmla="*/ 2147483646 h 108"/>
                      <a:gd name="T6" fmla="*/ 2147483646 w 110"/>
                      <a:gd name="T7" fmla="*/ 2147483646 h 108"/>
                      <a:gd name="T8" fmla="*/ 2147483646 w 110"/>
                      <a:gd name="T9" fmla="*/ 2147483646 h 108"/>
                      <a:gd name="T10" fmla="*/ 2147483646 w 110"/>
                      <a:gd name="T11" fmla="*/ 2147483646 h 108"/>
                      <a:gd name="T12" fmla="*/ 2147483646 w 110"/>
                      <a:gd name="T13" fmla="*/ 2147483646 h 108"/>
                      <a:gd name="T14" fmla="*/ 2147483646 w 110"/>
                      <a:gd name="T15" fmla="*/ 2147483646 h 108"/>
                      <a:gd name="T16" fmla="*/ 2147483646 w 110"/>
                      <a:gd name="T17" fmla="*/ 2147483646 h 108"/>
                      <a:gd name="T18" fmla="*/ 2147483646 w 110"/>
                      <a:gd name="T19" fmla="*/ 2147483646 h 108"/>
                      <a:gd name="T20" fmla="*/ 2147483646 w 110"/>
                      <a:gd name="T21" fmla="*/ 2147483646 h 108"/>
                      <a:gd name="T22" fmla="*/ 2147483646 w 110"/>
                      <a:gd name="T23" fmla="*/ 2147483646 h 108"/>
                      <a:gd name="T24" fmla="*/ 2147483646 w 110"/>
                      <a:gd name="T25" fmla="*/ 2147483646 h 108"/>
                      <a:gd name="T26" fmla="*/ 2147483646 w 110"/>
                      <a:gd name="T27" fmla="*/ 2147483646 h 108"/>
                      <a:gd name="T28" fmla="*/ 2147483646 w 110"/>
                      <a:gd name="T29" fmla="*/ 2147483646 h 108"/>
                      <a:gd name="T30" fmla="*/ 2147483646 w 110"/>
                      <a:gd name="T31" fmla="*/ 2147483646 h 108"/>
                      <a:gd name="T32" fmla="*/ 2147483646 w 110"/>
                      <a:gd name="T33" fmla="*/ 2147483646 h 108"/>
                      <a:gd name="T34" fmla="*/ 2147483646 w 110"/>
                      <a:gd name="T35" fmla="*/ 2147483646 h 108"/>
                      <a:gd name="T36" fmla="*/ 0 w 110"/>
                      <a:gd name="T37" fmla="*/ 2147483646 h 108"/>
                      <a:gd name="T38" fmla="*/ 0 w 110"/>
                      <a:gd name="T39" fmla="*/ 2147483646 h 108"/>
                      <a:gd name="T40" fmla="*/ 2147483646 w 110"/>
                      <a:gd name="T41" fmla="*/ 2147483646 h 108"/>
                      <a:gd name="T42" fmla="*/ 2147483646 w 110"/>
                      <a:gd name="T43" fmla="*/ 2147483646 h 108"/>
                      <a:gd name="T44" fmla="*/ 2147483646 w 110"/>
                      <a:gd name="T45" fmla="*/ 2147483646 h 108"/>
                      <a:gd name="T46" fmla="*/ 2147483646 w 110"/>
                      <a:gd name="T47" fmla="*/ 2147483646 h 108"/>
                      <a:gd name="T48" fmla="*/ 2147483646 w 110"/>
                      <a:gd name="T49" fmla="*/ 2147483646 h 108"/>
                      <a:gd name="T50" fmla="*/ 2147483646 w 110"/>
                      <a:gd name="T51" fmla="*/ 2147483646 h 108"/>
                      <a:gd name="T52" fmla="*/ 2147483646 w 110"/>
                      <a:gd name="T53" fmla="*/ 0 h 108"/>
                      <a:gd name="T54" fmla="*/ 2147483646 w 110"/>
                      <a:gd name="T55" fmla="*/ 2147483646 h 108"/>
                      <a:gd name="T56" fmla="*/ 2147483646 w 110"/>
                      <a:gd name="T57" fmla="*/ 2147483646 h 108"/>
                      <a:gd name="T58" fmla="*/ 2147483646 w 110"/>
                      <a:gd name="T59" fmla="*/ 2147483646 h 108"/>
                      <a:gd name="T60" fmla="*/ 2147483646 w 110"/>
                      <a:gd name="T61" fmla="*/ 2147483646 h 108"/>
                      <a:gd name="T62" fmla="*/ 2147483646 w 110"/>
                      <a:gd name="T63" fmla="*/ 2147483646 h 108"/>
                      <a:gd name="T64" fmla="*/ 2147483646 w 110"/>
                      <a:gd name="T65" fmla="*/ 2147483646 h 1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0"/>
                      <a:gd name="T100" fmla="*/ 0 h 108"/>
                      <a:gd name="T101" fmla="*/ 110 w 110"/>
                      <a:gd name="T102" fmla="*/ 108 h 1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0" h="108">
                        <a:moveTo>
                          <a:pt x="104" y="33"/>
                        </a:moveTo>
                        <a:lnTo>
                          <a:pt x="107" y="44"/>
                        </a:lnTo>
                        <a:lnTo>
                          <a:pt x="110" y="54"/>
                        </a:lnTo>
                        <a:lnTo>
                          <a:pt x="109" y="63"/>
                        </a:lnTo>
                        <a:lnTo>
                          <a:pt x="106" y="72"/>
                        </a:lnTo>
                        <a:lnTo>
                          <a:pt x="102" y="82"/>
                        </a:lnTo>
                        <a:lnTo>
                          <a:pt x="96" y="90"/>
                        </a:lnTo>
                        <a:lnTo>
                          <a:pt x="87" y="97"/>
                        </a:lnTo>
                        <a:lnTo>
                          <a:pt x="76" y="102"/>
                        </a:lnTo>
                        <a:lnTo>
                          <a:pt x="65" y="106"/>
                        </a:lnTo>
                        <a:lnTo>
                          <a:pt x="53" y="108"/>
                        </a:lnTo>
                        <a:lnTo>
                          <a:pt x="43" y="107"/>
                        </a:lnTo>
                        <a:lnTo>
                          <a:pt x="34" y="105"/>
                        </a:lnTo>
                        <a:lnTo>
                          <a:pt x="25" y="100"/>
                        </a:lnTo>
                        <a:lnTo>
                          <a:pt x="16" y="93"/>
                        </a:lnTo>
                        <a:lnTo>
                          <a:pt x="11" y="85"/>
                        </a:lnTo>
                        <a:lnTo>
                          <a:pt x="5" y="76"/>
                        </a:lnTo>
                        <a:lnTo>
                          <a:pt x="1" y="66"/>
                        </a:lnTo>
                        <a:lnTo>
                          <a:pt x="0" y="55"/>
                        </a:lnTo>
                        <a:lnTo>
                          <a:pt x="0" y="45"/>
                        </a:lnTo>
                        <a:lnTo>
                          <a:pt x="4" y="36"/>
                        </a:lnTo>
                        <a:lnTo>
                          <a:pt x="8" y="26"/>
                        </a:lnTo>
                        <a:lnTo>
                          <a:pt x="14" y="18"/>
                        </a:lnTo>
                        <a:lnTo>
                          <a:pt x="23" y="11"/>
                        </a:lnTo>
                        <a:lnTo>
                          <a:pt x="34" y="6"/>
                        </a:lnTo>
                        <a:lnTo>
                          <a:pt x="45" y="2"/>
                        </a:lnTo>
                        <a:lnTo>
                          <a:pt x="57" y="0"/>
                        </a:lnTo>
                        <a:lnTo>
                          <a:pt x="67" y="1"/>
                        </a:lnTo>
                        <a:lnTo>
                          <a:pt x="76" y="3"/>
                        </a:lnTo>
                        <a:lnTo>
                          <a:pt x="84" y="9"/>
                        </a:lnTo>
                        <a:lnTo>
                          <a:pt x="92" y="15"/>
                        </a:lnTo>
                        <a:lnTo>
                          <a:pt x="99" y="24"/>
                        </a:lnTo>
                        <a:lnTo>
                          <a:pt x="104"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08" name="Freeform 276">
                    <a:extLst>
                      <a:ext uri="{FF2B5EF4-FFF2-40B4-BE49-F238E27FC236}">
                        <a16:creationId xmlns:a16="http://schemas.microsoft.com/office/drawing/2014/main" id="{4210EEAF-1E97-44AD-821D-1358214DAB3C}"/>
                      </a:ext>
                    </a:extLst>
                  </p:cNvPr>
                  <p:cNvSpPr>
                    <a:spLocks/>
                  </p:cNvSpPr>
                  <p:nvPr/>
                </p:nvSpPr>
                <p:spPr bwMode="auto">
                  <a:xfrm>
                    <a:off x="7040563" y="4441825"/>
                    <a:ext cx="180975" cy="201612"/>
                  </a:xfrm>
                  <a:custGeom>
                    <a:avLst/>
                    <a:gdLst>
                      <a:gd name="T0" fmla="*/ 2147483646 w 228"/>
                      <a:gd name="T1" fmla="*/ 2147483646 h 255"/>
                      <a:gd name="T2" fmla="*/ 2147483646 w 228"/>
                      <a:gd name="T3" fmla="*/ 2147483646 h 255"/>
                      <a:gd name="T4" fmla="*/ 2147483646 w 228"/>
                      <a:gd name="T5" fmla="*/ 2147483646 h 255"/>
                      <a:gd name="T6" fmla="*/ 2147483646 w 228"/>
                      <a:gd name="T7" fmla="*/ 2147483646 h 255"/>
                      <a:gd name="T8" fmla="*/ 2147483646 w 228"/>
                      <a:gd name="T9" fmla="*/ 2147483646 h 255"/>
                      <a:gd name="T10" fmla="*/ 2147483646 w 228"/>
                      <a:gd name="T11" fmla="*/ 2147483646 h 255"/>
                      <a:gd name="T12" fmla="*/ 2147483646 w 228"/>
                      <a:gd name="T13" fmla="*/ 2147483646 h 255"/>
                      <a:gd name="T14" fmla="*/ 2147483646 w 228"/>
                      <a:gd name="T15" fmla="*/ 2147483646 h 255"/>
                      <a:gd name="T16" fmla="*/ 2147483646 w 228"/>
                      <a:gd name="T17" fmla="*/ 2147483646 h 255"/>
                      <a:gd name="T18" fmla="*/ 2147483646 w 228"/>
                      <a:gd name="T19" fmla="*/ 2147483646 h 255"/>
                      <a:gd name="T20" fmla="*/ 2147483646 w 228"/>
                      <a:gd name="T21" fmla="*/ 2147483646 h 255"/>
                      <a:gd name="T22" fmla="*/ 2147483646 w 228"/>
                      <a:gd name="T23" fmla="*/ 2147483646 h 255"/>
                      <a:gd name="T24" fmla="*/ 2147483646 w 228"/>
                      <a:gd name="T25" fmla="*/ 2147483646 h 255"/>
                      <a:gd name="T26" fmla="*/ 2147483646 w 228"/>
                      <a:gd name="T27" fmla="*/ 2147483646 h 255"/>
                      <a:gd name="T28" fmla="*/ 2147483646 w 228"/>
                      <a:gd name="T29" fmla="*/ 2147483646 h 255"/>
                      <a:gd name="T30" fmla="*/ 2147483646 w 228"/>
                      <a:gd name="T31" fmla="*/ 2147483646 h 255"/>
                      <a:gd name="T32" fmla="*/ 2147483646 w 228"/>
                      <a:gd name="T33" fmla="*/ 2147483646 h 255"/>
                      <a:gd name="T34" fmla="*/ 2147483646 w 228"/>
                      <a:gd name="T35" fmla="*/ 2147483646 h 255"/>
                      <a:gd name="T36" fmla="*/ 2147483646 w 228"/>
                      <a:gd name="T37" fmla="*/ 2147483646 h 255"/>
                      <a:gd name="T38" fmla="*/ 2147483646 w 228"/>
                      <a:gd name="T39" fmla="*/ 2147483646 h 255"/>
                      <a:gd name="T40" fmla="*/ 2147483646 w 228"/>
                      <a:gd name="T41" fmla="*/ 2147483646 h 255"/>
                      <a:gd name="T42" fmla="*/ 2147483646 w 228"/>
                      <a:gd name="T43" fmla="*/ 2147483646 h 255"/>
                      <a:gd name="T44" fmla="*/ 2147483646 w 228"/>
                      <a:gd name="T45" fmla="*/ 2147483646 h 255"/>
                      <a:gd name="T46" fmla="*/ 2147483646 w 228"/>
                      <a:gd name="T47" fmla="*/ 2147483646 h 255"/>
                      <a:gd name="T48" fmla="*/ 2147483646 w 228"/>
                      <a:gd name="T49" fmla="*/ 2147483646 h 255"/>
                      <a:gd name="T50" fmla="*/ 2147483646 w 228"/>
                      <a:gd name="T51" fmla="*/ 2147483646 h 255"/>
                      <a:gd name="T52" fmla="*/ 2147483646 w 228"/>
                      <a:gd name="T53" fmla="*/ 2147483646 h 255"/>
                      <a:gd name="T54" fmla="*/ 2147483646 w 228"/>
                      <a:gd name="T55" fmla="*/ 2147483646 h 255"/>
                      <a:gd name="T56" fmla="*/ 2147483646 w 228"/>
                      <a:gd name="T57" fmla="*/ 2147483646 h 255"/>
                      <a:gd name="T58" fmla="*/ 2147483646 w 228"/>
                      <a:gd name="T59" fmla="*/ 2147483646 h 255"/>
                      <a:gd name="T60" fmla="*/ 2147483646 w 228"/>
                      <a:gd name="T61" fmla="*/ 2147483646 h 255"/>
                      <a:gd name="T62" fmla="*/ 2147483646 w 228"/>
                      <a:gd name="T63" fmla="*/ 2147483646 h 255"/>
                      <a:gd name="T64" fmla="*/ 2147483646 w 228"/>
                      <a:gd name="T65" fmla="*/ 2147483646 h 255"/>
                      <a:gd name="T66" fmla="*/ 2147483646 w 228"/>
                      <a:gd name="T67" fmla="*/ 2147483646 h 255"/>
                      <a:gd name="T68" fmla="*/ 2147483646 w 228"/>
                      <a:gd name="T69" fmla="*/ 2147483646 h 255"/>
                      <a:gd name="T70" fmla="*/ 2147483646 w 228"/>
                      <a:gd name="T71" fmla="*/ 2147483646 h 255"/>
                      <a:gd name="T72" fmla="*/ 2147483646 w 228"/>
                      <a:gd name="T73" fmla="*/ 2147483646 h 255"/>
                      <a:gd name="T74" fmla="*/ 2147483646 w 228"/>
                      <a:gd name="T75" fmla="*/ 2147483646 h 255"/>
                      <a:gd name="T76" fmla="*/ 2147483646 w 228"/>
                      <a:gd name="T77" fmla="*/ 0 h 255"/>
                      <a:gd name="T78" fmla="*/ 2147483646 w 228"/>
                      <a:gd name="T79" fmla="*/ 0 h 255"/>
                      <a:gd name="T80" fmla="*/ 2147483646 w 228"/>
                      <a:gd name="T81" fmla="*/ 0 h 255"/>
                      <a:gd name="T82" fmla="*/ 2147483646 w 228"/>
                      <a:gd name="T83" fmla="*/ 2147483646 h 255"/>
                      <a:gd name="T84" fmla="*/ 2147483646 w 228"/>
                      <a:gd name="T85" fmla="*/ 2147483646 h 255"/>
                      <a:gd name="T86" fmla="*/ 2147483646 w 228"/>
                      <a:gd name="T87" fmla="*/ 2147483646 h 255"/>
                      <a:gd name="T88" fmla="*/ 2147483646 w 228"/>
                      <a:gd name="T89" fmla="*/ 2147483646 h 255"/>
                      <a:gd name="T90" fmla="*/ 2147483646 w 228"/>
                      <a:gd name="T91" fmla="*/ 2147483646 h 255"/>
                      <a:gd name="T92" fmla="*/ 2147483646 w 228"/>
                      <a:gd name="T93" fmla="*/ 2147483646 h 255"/>
                      <a:gd name="T94" fmla="*/ 2147483646 w 228"/>
                      <a:gd name="T95" fmla="*/ 2147483646 h 255"/>
                      <a:gd name="T96" fmla="*/ 2147483646 w 228"/>
                      <a:gd name="T97" fmla="*/ 2147483646 h 255"/>
                      <a:gd name="T98" fmla="*/ 2147483646 w 228"/>
                      <a:gd name="T99" fmla="*/ 2147483646 h 255"/>
                      <a:gd name="T100" fmla="*/ 2147483646 w 228"/>
                      <a:gd name="T101" fmla="*/ 2147483646 h 255"/>
                      <a:gd name="T102" fmla="*/ 2147483646 w 228"/>
                      <a:gd name="T103" fmla="*/ 2147483646 h 255"/>
                      <a:gd name="T104" fmla="*/ 0 w 228"/>
                      <a:gd name="T105" fmla="*/ 2147483646 h 255"/>
                      <a:gd name="T106" fmla="*/ 2147483646 w 228"/>
                      <a:gd name="T107" fmla="*/ 2147483646 h 255"/>
                      <a:gd name="T108" fmla="*/ 2147483646 w 228"/>
                      <a:gd name="T109" fmla="*/ 2147483646 h 255"/>
                      <a:gd name="T110" fmla="*/ 2147483646 w 228"/>
                      <a:gd name="T111" fmla="*/ 2147483646 h 255"/>
                      <a:gd name="T112" fmla="*/ 2147483646 w 228"/>
                      <a:gd name="T113" fmla="*/ 2147483646 h 255"/>
                      <a:gd name="T114" fmla="*/ 2147483646 w 228"/>
                      <a:gd name="T115" fmla="*/ 2147483646 h 255"/>
                      <a:gd name="T116" fmla="*/ 2147483646 w 228"/>
                      <a:gd name="T117" fmla="*/ 2147483646 h 255"/>
                      <a:gd name="T118" fmla="*/ 2147483646 w 228"/>
                      <a:gd name="T119" fmla="*/ 2147483646 h 255"/>
                      <a:gd name="T120" fmla="*/ 2147483646 w 228"/>
                      <a:gd name="T121" fmla="*/ 2147483646 h 255"/>
                      <a:gd name="T122" fmla="*/ 2147483646 w 228"/>
                      <a:gd name="T123" fmla="*/ 2147483646 h 255"/>
                      <a:gd name="T124" fmla="*/ 2147483646 w 228"/>
                      <a:gd name="T125" fmla="*/ 2147483646 h 2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8"/>
                      <a:gd name="T190" fmla="*/ 0 h 255"/>
                      <a:gd name="T191" fmla="*/ 228 w 228"/>
                      <a:gd name="T192" fmla="*/ 255 h 2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8" h="255">
                        <a:moveTo>
                          <a:pt x="179" y="244"/>
                        </a:moveTo>
                        <a:lnTo>
                          <a:pt x="186" y="240"/>
                        </a:lnTo>
                        <a:lnTo>
                          <a:pt x="193" y="237"/>
                        </a:lnTo>
                        <a:lnTo>
                          <a:pt x="199" y="233"/>
                        </a:lnTo>
                        <a:lnTo>
                          <a:pt x="206" y="229"/>
                        </a:lnTo>
                        <a:lnTo>
                          <a:pt x="212" y="224"/>
                        </a:lnTo>
                        <a:lnTo>
                          <a:pt x="217" y="219"/>
                        </a:lnTo>
                        <a:lnTo>
                          <a:pt x="223" y="214"/>
                        </a:lnTo>
                        <a:lnTo>
                          <a:pt x="228" y="208"/>
                        </a:lnTo>
                        <a:lnTo>
                          <a:pt x="200" y="142"/>
                        </a:lnTo>
                        <a:lnTo>
                          <a:pt x="194" y="153"/>
                        </a:lnTo>
                        <a:lnTo>
                          <a:pt x="186" y="162"/>
                        </a:lnTo>
                        <a:lnTo>
                          <a:pt x="177" y="169"/>
                        </a:lnTo>
                        <a:lnTo>
                          <a:pt x="168" y="174"/>
                        </a:lnTo>
                        <a:lnTo>
                          <a:pt x="156" y="178"/>
                        </a:lnTo>
                        <a:lnTo>
                          <a:pt x="144" y="180"/>
                        </a:lnTo>
                        <a:lnTo>
                          <a:pt x="132" y="179"/>
                        </a:lnTo>
                        <a:lnTo>
                          <a:pt x="122" y="177"/>
                        </a:lnTo>
                        <a:lnTo>
                          <a:pt x="111" y="171"/>
                        </a:lnTo>
                        <a:lnTo>
                          <a:pt x="103" y="164"/>
                        </a:lnTo>
                        <a:lnTo>
                          <a:pt x="95" y="155"/>
                        </a:lnTo>
                        <a:lnTo>
                          <a:pt x="90" y="144"/>
                        </a:lnTo>
                        <a:lnTo>
                          <a:pt x="86" y="133"/>
                        </a:lnTo>
                        <a:lnTo>
                          <a:pt x="85" y="121"/>
                        </a:lnTo>
                        <a:lnTo>
                          <a:pt x="86" y="111"/>
                        </a:lnTo>
                        <a:lnTo>
                          <a:pt x="90" y="100"/>
                        </a:lnTo>
                        <a:lnTo>
                          <a:pt x="94" y="90"/>
                        </a:lnTo>
                        <a:lnTo>
                          <a:pt x="101" y="81"/>
                        </a:lnTo>
                        <a:lnTo>
                          <a:pt x="109" y="74"/>
                        </a:lnTo>
                        <a:lnTo>
                          <a:pt x="120" y="68"/>
                        </a:lnTo>
                        <a:lnTo>
                          <a:pt x="125" y="66"/>
                        </a:lnTo>
                        <a:lnTo>
                          <a:pt x="131" y="65"/>
                        </a:lnTo>
                        <a:lnTo>
                          <a:pt x="137" y="64"/>
                        </a:lnTo>
                        <a:lnTo>
                          <a:pt x="144" y="64"/>
                        </a:lnTo>
                        <a:lnTo>
                          <a:pt x="149" y="64"/>
                        </a:lnTo>
                        <a:lnTo>
                          <a:pt x="155" y="64"/>
                        </a:lnTo>
                        <a:lnTo>
                          <a:pt x="161" y="65"/>
                        </a:lnTo>
                        <a:lnTo>
                          <a:pt x="167" y="66"/>
                        </a:lnTo>
                        <a:lnTo>
                          <a:pt x="138" y="0"/>
                        </a:lnTo>
                        <a:lnTo>
                          <a:pt x="131" y="0"/>
                        </a:lnTo>
                        <a:lnTo>
                          <a:pt x="124" y="0"/>
                        </a:lnTo>
                        <a:lnTo>
                          <a:pt x="117" y="2"/>
                        </a:lnTo>
                        <a:lnTo>
                          <a:pt x="110" y="2"/>
                        </a:lnTo>
                        <a:lnTo>
                          <a:pt x="102" y="4"/>
                        </a:lnTo>
                        <a:lnTo>
                          <a:pt x="95" y="5"/>
                        </a:lnTo>
                        <a:lnTo>
                          <a:pt x="88" y="9"/>
                        </a:lnTo>
                        <a:lnTo>
                          <a:pt x="82" y="11"/>
                        </a:lnTo>
                        <a:lnTo>
                          <a:pt x="57" y="24"/>
                        </a:lnTo>
                        <a:lnTo>
                          <a:pt x="38" y="40"/>
                        </a:lnTo>
                        <a:lnTo>
                          <a:pt x="22" y="59"/>
                        </a:lnTo>
                        <a:lnTo>
                          <a:pt x="10" y="80"/>
                        </a:lnTo>
                        <a:lnTo>
                          <a:pt x="2" y="104"/>
                        </a:lnTo>
                        <a:lnTo>
                          <a:pt x="0" y="129"/>
                        </a:lnTo>
                        <a:lnTo>
                          <a:pt x="3" y="155"/>
                        </a:lnTo>
                        <a:lnTo>
                          <a:pt x="11" y="181"/>
                        </a:lnTo>
                        <a:lnTo>
                          <a:pt x="24" y="204"/>
                        </a:lnTo>
                        <a:lnTo>
                          <a:pt x="40" y="223"/>
                        </a:lnTo>
                        <a:lnTo>
                          <a:pt x="60" y="237"/>
                        </a:lnTo>
                        <a:lnTo>
                          <a:pt x="82" y="247"/>
                        </a:lnTo>
                        <a:lnTo>
                          <a:pt x="106" y="253"/>
                        </a:lnTo>
                        <a:lnTo>
                          <a:pt x="130" y="255"/>
                        </a:lnTo>
                        <a:lnTo>
                          <a:pt x="155" y="252"/>
                        </a:lnTo>
                        <a:lnTo>
                          <a:pt x="179" y="2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09" name="Freeform 277">
                    <a:extLst>
                      <a:ext uri="{FF2B5EF4-FFF2-40B4-BE49-F238E27FC236}">
                        <a16:creationId xmlns:a16="http://schemas.microsoft.com/office/drawing/2014/main" id="{1C71BBAF-379C-426A-B846-7A4365F8D47E}"/>
                      </a:ext>
                    </a:extLst>
                  </p:cNvPr>
                  <p:cNvSpPr>
                    <a:spLocks/>
                  </p:cNvSpPr>
                  <p:nvPr/>
                </p:nvSpPr>
                <p:spPr bwMode="auto">
                  <a:xfrm>
                    <a:off x="7204075" y="4443413"/>
                    <a:ext cx="250825" cy="209550"/>
                  </a:xfrm>
                  <a:custGeom>
                    <a:avLst/>
                    <a:gdLst>
                      <a:gd name="T0" fmla="*/ 2147483646 w 314"/>
                      <a:gd name="T1" fmla="*/ 2147483646 h 263"/>
                      <a:gd name="T2" fmla="*/ 2147483646 w 314"/>
                      <a:gd name="T3" fmla="*/ 2147483646 h 263"/>
                      <a:gd name="T4" fmla="*/ 2147483646 w 314"/>
                      <a:gd name="T5" fmla="*/ 2147483646 h 263"/>
                      <a:gd name="T6" fmla="*/ 2147483646 w 314"/>
                      <a:gd name="T7" fmla="*/ 2147483646 h 263"/>
                      <a:gd name="T8" fmla="*/ 2147483646 w 314"/>
                      <a:gd name="T9" fmla="*/ 2147483646 h 263"/>
                      <a:gd name="T10" fmla="*/ 2147483646 w 314"/>
                      <a:gd name="T11" fmla="*/ 2147483646 h 263"/>
                      <a:gd name="T12" fmla="*/ 2147483646 w 314"/>
                      <a:gd name="T13" fmla="*/ 2147483646 h 263"/>
                      <a:gd name="T14" fmla="*/ 2147483646 w 314"/>
                      <a:gd name="T15" fmla="*/ 2147483646 h 263"/>
                      <a:gd name="T16" fmla="*/ 2147483646 w 314"/>
                      <a:gd name="T17" fmla="*/ 2147483646 h 263"/>
                      <a:gd name="T18" fmla="*/ 2147483646 w 314"/>
                      <a:gd name="T19" fmla="*/ 2147483646 h 263"/>
                      <a:gd name="T20" fmla="*/ 2147483646 w 314"/>
                      <a:gd name="T21" fmla="*/ 2147483646 h 263"/>
                      <a:gd name="T22" fmla="*/ 2147483646 w 314"/>
                      <a:gd name="T23" fmla="*/ 2147483646 h 263"/>
                      <a:gd name="T24" fmla="*/ 2147483646 w 314"/>
                      <a:gd name="T25" fmla="*/ 2147483646 h 263"/>
                      <a:gd name="T26" fmla="*/ 2147483646 w 314"/>
                      <a:gd name="T27" fmla="*/ 2147483646 h 263"/>
                      <a:gd name="T28" fmla="*/ 2147483646 w 314"/>
                      <a:gd name="T29" fmla="*/ 2147483646 h 263"/>
                      <a:gd name="T30" fmla="*/ 2147483646 w 314"/>
                      <a:gd name="T31" fmla="*/ 2147483646 h 263"/>
                      <a:gd name="T32" fmla="*/ 2147483646 w 314"/>
                      <a:gd name="T33" fmla="*/ 2147483646 h 263"/>
                      <a:gd name="T34" fmla="*/ 2147483646 w 314"/>
                      <a:gd name="T35" fmla="*/ 2147483646 h 263"/>
                      <a:gd name="T36" fmla="*/ 2147483646 w 314"/>
                      <a:gd name="T37" fmla="*/ 2147483646 h 263"/>
                      <a:gd name="T38" fmla="*/ 2147483646 w 314"/>
                      <a:gd name="T39" fmla="*/ 2147483646 h 263"/>
                      <a:gd name="T40" fmla="*/ 2147483646 w 314"/>
                      <a:gd name="T41" fmla="*/ 2147483646 h 263"/>
                      <a:gd name="T42" fmla="*/ 2147483646 w 314"/>
                      <a:gd name="T43" fmla="*/ 2147483646 h 263"/>
                      <a:gd name="T44" fmla="*/ 2147483646 w 314"/>
                      <a:gd name="T45" fmla="*/ 2147483646 h 263"/>
                      <a:gd name="T46" fmla="*/ 2147483646 w 314"/>
                      <a:gd name="T47" fmla="*/ 2147483646 h 263"/>
                      <a:gd name="T48" fmla="*/ 2147483646 w 314"/>
                      <a:gd name="T49" fmla="*/ 2147483646 h 263"/>
                      <a:gd name="T50" fmla="*/ 2147483646 w 314"/>
                      <a:gd name="T51" fmla="*/ 2147483646 h 263"/>
                      <a:gd name="T52" fmla="*/ 2147483646 w 314"/>
                      <a:gd name="T53" fmla="*/ 2147483646 h 263"/>
                      <a:gd name="T54" fmla="*/ 2147483646 w 314"/>
                      <a:gd name="T55" fmla="*/ 2147483646 h 263"/>
                      <a:gd name="T56" fmla="*/ 2147483646 w 314"/>
                      <a:gd name="T57" fmla="*/ 2147483646 h 263"/>
                      <a:gd name="T58" fmla="*/ 2147483646 w 314"/>
                      <a:gd name="T59" fmla="*/ 2147483646 h 263"/>
                      <a:gd name="T60" fmla="*/ 2147483646 w 314"/>
                      <a:gd name="T61" fmla="*/ 2147483646 h 263"/>
                      <a:gd name="T62" fmla="*/ 2147483646 w 314"/>
                      <a:gd name="T63" fmla="*/ 2147483646 h 263"/>
                      <a:gd name="T64" fmla="*/ 2147483646 w 314"/>
                      <a:gd name="T65" fmla="*/ 2147483646 h 263"/>
                      <a:gd name="T66" fmla="*/ 2147483646 w 314"/>
                      <a:gd name="T67" fmla="*/ 2147483646 h 263"/>
                      <a:gd name="T68" fmla="*/ 2147483646 w 314"/>
                      <a:gd name="T69" fmla="*/ 2147483646 h 263"/>
                      <a:gd name="T70" fmla="*/ 2147483646 w 314"/>
                      <a:gd name="T71" fmla="*/ 2147483646 h 263"/>
                      <a:gd name="T72" fmla="*/ 2147483646 w 314"/>
                      <a:gd name="T73" fmla="*/ 2147483646 h 263"/>
                      <a:gd name="T74" fmla="*/ 2147483646 w 314"/>
                      <a:gd name="T75" fmla="*/ 2147483646 h 263"/>
                      <a:gd name="T76" fmla="*/ 2147483646 w 314"/>
                      <a:gd name="T77" fmla="*/ 2147483646 h 263"/>
                      <a:gd name="T78" fmla="*/ 2147483646 w 314"/>
                      <a:gd name="T79" fmla="*/ 2147483646 h 263"/>
                      <a:gd name="T80" fmla="*/ 2147483646 w 314"/>
                      <a:gd name="T81" fmla="*/ 2147483646 h 263"/>
                      <a:gd name="T82" fmla="*/ 0 w 314"/>
                      <a:gd name="T83" fmla="*/ 2147483646 h 263"/>
                      <a:gd name="T84" fmla="*/ 2147483646 w 314"/>
                      <a:gd name="T85" fmla="*/ 2147483646 h 26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14"/>
                      <a:gd name="T130" fmla="*/ 0 h 263"/>
                      <a:gd name="T131" fmla="*/ 314 w 314"/>
                      <a:gd name="T132" fmla="*/ 263 h 26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14" h="263">
                        <a:moveTo>
                          <a:pt x="10" y="87"/>
                        </a:moveTo>
                        <a:lnTo>
                          <a:pt x="22" y="109"/>
                        </a:lnTo>
                        <a:lnTo>
                          <a:pt x="37" y="128"/>
                        </a:lnTo>
                        <a:lnTo>
                          <a:pt x="55" y="143"/>
                        </a:lnTo>
                        <a:lnTo>
                          <a:pt x="75" y="154"/>
                        </a:lnTo>
                        <a:lnTo>
                          <a:pt x="96" y="160"/>
                        </a:lnTo>
                        <a:lnTo>
                          <a:pt x="119" y="162"/>
                        </a:lnTo>
                        <a:lnTo>
                          <a:pt x="142" y="160"/>
                        </a:lnTo>
                        <a:lnTo>
                          <a:pt x="166" y="152"/>
                        </a:lnTo>
                        <a:lnTo>
                          <a:pt x="176" y="147"/>
                        </a:lnTo>
                        <a:lnTo>
                          <a:pt x="185" y="142"/>
                        </a:lnTo>
                        <a:lnTo>
                          <a:pt x="193" y="135"/>
                        </a:lnTo>
                        <a:lnTo>
                          <a:pt x="200" y="128"/>
                        </a:lnTo>
                        <a:lnTo>
                          <a:pt x="206" y="121"/>
                        </a:lnTo>
                        <a:lnTo>
                          <a:pt x="212" y="112"/>
                        </a:lnTo>
                        <a:lnTo>
                          <a:pt x="216" y="102"/>
                        </a:lnTo>
                        <a:lnTo>
                          <a:pt x="221" y="92"/>
                        </a:lnTo>
                        <a:lnTo>
                          <a:pt x="226" y="102"/>
                        </a:lnTo>
                        <a:lnTo>
                          <a:pt x="230" y="115"/>
                        </a:lnTo>
                        <a:lnTo>
                          <a:pt x="234" y="128"/>
                        </a:lnTo>
                        <a:lnTo>
                          <a:pt x="236" y="140"/>
                        </a:lnTo>
                        <a:lnTo>
                          <a:pt x="235" y="151"/>
                        </a:lnTo>
                        <a:lnTo>
                          <a:pt x="233" y="161"/>
                        </a:lnTo>
                        <a:lnTo>
                          <a:pt x="226" y="170"/>
                        </a:lnTo>
                        <a:lnTo>
                          <a:pt x="216" y="180"/>
                        </a:lnTo>
                        <a:lnTo>
                          <a:pt x="203" y="187"/>
                        </a:lnTo>
                        <a:lnTo>
                          <a:pt x="198" y="189"/>
                        </a:lnTo>
                        <a:lnTo>
                          <a:pt x="192" y="190"/>
                        </a:lnTo>
                        <a:lnTo>
                          <a:pt x="187" y="191"/>
                        </a:lnTo>
                        <a:lnTo>
                          <a:pt x="180" y="191"/>
                        </a:lnTo>
                        <a:lnTo>
                          <a:pt x="174" y="190"/>
                        </a:lnTo>
                        <a:lnTo>
                          <a:pt x="168" y="189"/>
                        </a:lnTo>
                        <a:lnTo>
                          <a:pt x="163" y="185"/>
                        </a:lnTo>
                        <a:lnTo>
                          <a:pt x="159" y="181"/>
                        </a:lnTo>
                        <a:lnTo>
                          <a:pt x="72" y="219"/>
                        </a:lnTo>
                        <a:lnTo>
                          <a:pt x="86" y="236"/>
                        </a:lnTo>
                        <a:lnTo>
                          <a:pt x="104" y="249"/>
                        </a:lnTo>
                        <a:lnTo>
                          <a:pt x="123" y="258"/>
                        </a:lnTo>
                        <a:lnTo>
                          <a:pt x="145" y="261"/>
                        </a:lnTo>
                        <a:lnTo>
                          <a:pt x="167" y="263"/>
                        </a:lnTo>
                        <a:lnTo>
                          <a:pt x="190" y="260"/>
                        </a:lnTo>
                        <a:lnTo>
                          <a:pt x="211" y="255"/>
                        </a:lnTo>
                        <a:lnTo>
                          <a:pt x="230" y="248"/>
                        </a:lnTo>
                        <a:lnTo>
                          <a:pt x="246" y="240"/>
                        </a:lnTo>
                        <a:lnTo>
                          <a:pt x="261" y="231"/>
                        </a:lnTo>
                        <a:lnTo>
                          <a:pt x="274" y="223"/>
                        </a:lnTo>
                        <a:lnTo>
                          <a:pt x="286" y="213"/>
                        </a:lnTo>
                        <a:lnTo>
                          <a:pt x="295" y="203"/>
                        </a:lnTo>
                        <a:lnTo>
                          <a:pt x="303" y="192"/>
                        </a:lnTo>
                        <a:lnTo>
                          <a:pt x="310" y="180"/>
                        </a:lnTo>
                        <a:lnTo>
                          <a:pt x="314" y="167"/>
                        </a:lnTo>
                        <a:lnTo>
                          <a:pt x="298" y="152"/>
                        </a:lnTo>
                        <a:lnTo>
                          <a:pt x="282" y="137"/>
                        </a:lnTo>
                        <a:lnTo>
                          <a:pt x="266" y="123"/>
                        </a:lnTo>
                        <a:lnTo>
                          <a:pt x="250" y="111"/>
                        </a:lnTo>
                        <a:lnTo>
                          <a:pt x="233" y="98"/>
                        </a:lnTo>
                        <a:lnTo>
                          <a:pt x="215" y="86"/>
                        </a:lnTo>
                        <a:lnTo>
                          <a:pt x="198" y="75"/>
                        </a:lnTo>
                        <a:lnTo>
                          <a:pt x="180" y="64"/>
                        </a:lnTo>
                        <a:lnTo>
                          <a:pt x="175" y="68"/>
                        </a:lnTo>
                        <a:lnTo>
                          <a:pt x="170" y="71"/>
                        </a:lnTo>
                        <a:lnTo>
                          <a:pt x="166" y="75"/>
                        </a:lnTo>
                        <a:lnTo>
                          <a:pt x="160" y="77"/>
                        </a:lnTo>
                        <a:lnTo>
                          <a:pt x="148" y="81"/>
                        </a:lnTo>
                        <a:lnTo>
                          <a:pt x="137" y="83"/>
                        </a:lnTo>
                        <a:lnTo>
                          <a:pt x="127" y="82"/>
                        </a:lnTo>
                        <a:lnTo>
                          <a:pt x="117" y="78"/>
                        </a:lnTo>
                        <a:lnTo>
                          <a:pt x="108" y="74"/>
                        </a:lnTo>
                        <a:lnTo>
                          <a:pt x="101" y="68"/>
                        </a:lnTo>
                        <a:lnTo>
                          <a:pt x="94" y="59"/>
                        </a:lnTo>
                        <a:lnTo>
                          <a:pt x="89" y="49"/>
                        </a:lnTo>
                        <a:lnTo>
                          <a:pt x="86" y="43"/>
                        </a:lnTo>
                        <a:lnTo>
                          <a:pt x="85" y="36"/>
                        </a:lnTo>
                        <a:lnTo>
                          <a:pt x="84" y="29"/>
                        </a:lnTo>
                        <a:lnTo>
                          <a:pt x="84" y="22"/>
                        </a:lnTo>
                        <a:lnTo>
                          <a:pt x="75" y="18"/>
                        </a:lnTo>
                        <a:lnTo>
                          <a:pt x="64" y="15"/>
                        </a:lnTo>
                        <a:lnTo>
                          <a:pt x="55" y="13"/>
                        </a:lnTo>
                        <a:lnTo>
                          <a:pt x="45" y="9"/>
                        </a:lnTo>
                        <a:lnTo>
                          <a:pt x="34" y="7"/>
                        </a:lnTo>
                        <a:lnTo>
                          <a:pt x="24" y="5"/>
                        </a:lnTo>
                        <a:lnTo>
                          <a:pt x="14" y="2"/>
                        </a:lnTo>
                        <a:lnTo>
                          <a:pt x="3" y="0"/>
                        </a:lnTo>
                        <a:lnTo>
                          <a:pt x="0" y="21"/>
                        </a:lnTo>
                        <a:lnTo>
                          <a:pt x="0" y="44"/>
                        </a:lnTo>
                        <a:lnTo>
                          <a:pt x="3" y="66"/>
                        </a:lnTo>
                        <a:lnTo>
                          <a:pt x="10" y="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10" name="Freeform 278">
                    <a:extLst>
                      <a:ext uri="{FF2B5EF4-FFF2-40B4-BE49-F238E27FC236}">
                        <a16:creationId xmlns:a16="http://schemas.microsoft.com/office/drawing/2014/main" id="{2BD594E5-D08E-43DE-8FF8-EF0187288CA7}"/>
                      </a:ext>
                    </a:extLst>
                  </p:cNvPr>
                  <p:cNvSpPr>
                    <a:spLocks/>
                  </p:cNvSpPr>
                  <p:nvPr/>
                </p:nvSpPr>
                <p:spPr bwMode="auto">
                  <a:xfrm>
                    <a:off x="6805613" y="5180013"/>
                    <a:ext cx="303213" cy="225425"/>
                  </a:xfrm>
                  <a:custGeom>
                    <a:avLst/>
                    <a:gdLst>
                      <a:gd name="T0" fmla="*/ 2147483646 w 381"/>
                      <a:gd name="T1" fmla="*/ 2147483646 h 284"/>
                      <a:gd name="T2" fmla="*/ 2147483646 w 381"/>
                      <a:gd name="T3" fmla="*/ 2147483646 h 284"/>
                      <a:gd name="T4" fmla="*/ 2147483646 w 381"/>
                      <a:gd name="T5" fmla="*/ 2147483646 h 284"/>
                      <a:gd name="T6" fmla="*/ 2147483646 w 381"/>
                      <a:gd name="T7" fmla="*/ 2147483646 h 284"/>
                      <a:gd name="T8" fmla="*/ 2147483646 w 381"/>
                      <a:gd name="T9" fmla="*/ 2147483646 h 284"/>
                      <a:gd name="T10" fmla="*/ 2147483646 w 381"/>
                      <a:gd name="T11" fmla="*/ 2147483646 h 284"/>
                      <a:gd name="T12" fmla="*/ 2147483646 w 381"/>
                      <a:gd name="T13" fmla="*/ 2147483646 h 284"/>
                      <a:gd name="T14" fmla="*/ 2147483646 w 381"/>
                      <a:gd name="T15" fmla="*/ 2147483646 h 284"/>
                      <a:gd name="T16" fmla="*/ 2147483646 w 381"/>
                      <a:gd name="T17" fmla="*/ 2147483646 h 284"/>
                      <a:gd name="T18" fmla="*/ 2147483646 w 381"/>
                      <a:gd name="T19" fmla="*/ 2147483646 h 284"/>
                      <a:gd name="T20" fmla="*/ 2147483646 w 381"/>
                      <a:gd name="T21" fmla="*/ 0 h 284"/>
                      <a:gd name="T22" fmla="*/ 0 w 381"/>
                      <a:gd name="T23" fmla="*/ 2147483646 h 284"/>
                      <a:gd name="T24" fmla="*/ 2147483646 w 381"/>
                      <a:gd name="T25" fmla="*/ 2147483646 h 284"/>
                      <a:gd name="T26" fmla="*/ 2147483646 w 381"/>
                      <a:gd name="T27" fmla="*/ 2147483646 h 284"/>
                      <a:gd name="T28" fmla="*/ 2147483646 w 381"/>
                      <a:gd name="T29" fmla="*/ 2147483646 h 284"/>
                      <a:gd name="T30" fmla="*/ 2147483646 w 381"/>
                      <a:gd name="T31" fmla="*/ 2147483646 h 284"/>
                      <a:gd name="T32" fmla="*/ 2147483646 w 381"/>
                      <a:gd name="T33" fmla="*/ 2147483646 h 284"/>
                      <a:gd name="T34" fmla="*/ 2147483646 w 381"/>
                      <a:gd name="T35" fmla="*/ 2147483646 h 284"/>
                      <a:gd name="T36" fmla="*/ 2147483646 w 381"/>
                      <a:gd name="T37" fmla="*/ 2147483646 h 284"/>
                      <a:gd name="T38" fmla="*/ 2147483646 w 381"/>
                      <a:gd name="T39" fmla="*/ 2147483646 h 284"/>
                      <a:gd name="T40" fmla="*/ 2147483646 w 381"/>
                      <a:gd name="T41" fmla="*/ 2147483646 h 284"/>
                      <a:gd name="T42" fmla="*/ 2147483646 w 381"/>
                      <a:gd name="T43" fmla="*/ 2147483646 h 284"/>
                      <a:gd name="T44" fmla="*/ 2147483646 w 381"/>
                      <a:gd name="T45" fmla="*/ 2147483646 h 284"/>
                      <a:gd name="T46" fmla="*/ 2147483646 w 381"/>
                      <a:gd name="T47" fmla="*/ 2147483646 h 284"/>
                      <a:gd name="T48" fmla="*/ 2147483646 w 381"/>
                      <a:gd name="T49" fmla="*/ 2147483646 h 284"/>
                      <a:gd name="T50" fmla="*/ 2147483646 w 381"/>
                      <a:gd name="T51" fmla="*/ 2147483646 h 284"/>
                      <a:gd name="T52" fmla="*/ 2147483646 w 381"/>
                      <a:gd name="T53" fmla="*/ 2147483646 h 284"/>
                      <a:gd name="T54" fmla="*/ 2147483646 w 381"/>
                      <a:gd name="T55" fmla="*/ 2147483646 h 284"/>
                      <a:gd name="T56" fmla="*/ 2147483646 w 381"/>
                      <a:gd name="T57" fmla="*/ 2147483646 h 284"/>
                      <a:gd name="T58" fmla="*/ 2147483646 w 381"/>
                      <a:gd name="T59" fmla="*/ 2147483646 h 284"/>
                      <a:gd name="T60" fmla="*/ 2147483646 w 381"/>
                      <a:gd name="T61" fmla="*/ 2147483646 h 284"/>
                      <a:gd name="T62" fmla="*/ 2147483646 w 381"/>
                      <a:gd name="T63" fmla="*/ 2147483646 h 284"/>
                      <a:gd name="T64" fmla="*/ 2147483646 w 381"/>
                      <a:gd name="T65" fmla="*/ 2147483646 h 284"/>
                      <a:gd name="T66" fmla="*/ 2147483646 w 381"/>
                      <a:gd name="T67" fmla="*/ 2147483646 h 284"/>
                      <a:gd name="T68" fmla="*/ 2147483646 w 381"/>
                      <a:gd name="T69" fmla="*/ 2147483646 h 284"/>
                      <a:gd name="T70" fmla="*/ 2147483646 w 381"/>
                      <a:gd name="T71" fmla="*/ 2147483646 h 284"/>
                      <a:gd name="T72" fmla="*/ 2147483646 w 381"/>
                      <a:gd name="T73" fmla="*/ 2147483646 h 284"/>
                      <a:gd name="T74" fmla="*/ 2147483646 w 381"/>
                      <a:gd name="T75" fmla="*/ 2147483646 h 284"/>
                      <a:gd name="T76" fmla="*/ 2147483646 w 381"/>
                      <a:gd name="T77" fmla="*/ 2147483646 h 284"/>
                      <a:gd name="T78" fmla="*/ 2147483646 w 381"/>
                      <a:gd name="T79" fmla="*/ 2147483646 h 284"/>
                      <a:gd name="T80" fmla="*/ 2147483646 w 381"/>
                      <a:gd name="T81" fmla="*/ 2147483646 h 284"/>
                      <a:gd name="T82" fmla="*/ 2147483646 w 381"/>
                      <a:gd name="T83" fmla="*/ 2147483646 h 284"/>
                      <a:gd name="T84" fmla="*/ 2147483646 w 381"/>
                      <a:gd name="T85" fmla="*/ 2147483646 h 284"/>
                      <a:gd name="T86" fmla="*/ 2147483646 w 381"/>
                      <a:gd name="T87" fmla="*/ 2147483646 h 284"/>
                      <a:gd name="T88" fmla="*/ 2147483646 w 381"/>
                      <a:gd name="T89" fmla="*/ 2147483646 h 284"/>
                      <a:gd name="T90" fmla="*/ 2147483646 w 381"/>
                      <a:gd name="T91" fmla="*/ 2147483646 h 284"/>
                      <a:gd name="T92" fmla="*/ 2147483646 w 381"/>
                      <a:gd name="T93" fmla="*/ 2147483646 h 284"/>
                      <a:gd name="T94" fmla="*/ 2147483646 w 381"/>
                      <a:gd name="T95" fmla="*/ 2147483646 h 284"/>
                      <a:gd name="T96" fmla="*/ 2147483646 w 381"/>
                      <a:gd name="T97" fmla="*/ 2147483646 h 284"/>
                      <a:gd name="T98" fmla="*/ 2147483646 w 381"/>
                      <a:gd name="T99" fmla="*/ 2147483646 h 284"/>
                      <a:gd name="T100" fmla="*/ 2147483646 w 381"/>
                      <a:gd name="T101" fmla="*/ 2147483646 h 284"/>
                      <a:gd name="T102" fmla="*/ 2147483646 w 381"/>
                      <a:gd name="T103" fmla="*/ 2147483646 h 28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81"/>
                      <a:gd name="T157" fmla="*/ 0 h 284"/>
                      <a:gd name="T158" fmla="*/ 381 w 381"/>
                      <a:gd name="T159" fmla="*/ 284 h 28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81" h="284">
                        <a:moveTo>
                          <a:pt x="202" y="97"/>
                        </a:moveTo>
                        <a:lnTo>
                          <a:pt x="192" y="102"/>
                        </a:lnTo>
                        <a:lnTo>
                          <a:pt x="183" y="109"/>
                        </a:lnTo>
                        <a:lnTo>
                          <a:pt x="175" y="114"/>
                        </a:lnTo>
                        <a:lnTo>
                          <a:pt x="167" y="122"/>
                        </a:lnTo>
                        <a:lnTo>
                          <a:pt x="161" y="130"/>
                        </a:lnTo>
                        <a:lnTo>
                          <a:pt x="156" y="140"/>
                        </a:lnTo>
                        <a:lnTo>
                          <a:pt x="152" y="150"/>
                        </a:lnTo>
                        <a:lnTo>
                          <a:pt x="148" y="162"/>
                        </a:lnTo>
                        <a:lnTo>
                          <a:pt x="147" y="163"/>
                        </a:lnTo>
                        <a:lnTo>
                          <a:pt x="77" y="0"/>
                        </a:lnTo>
                        <a:lnTo>
                          <a:pt x="0" y="34"/>
                        </a:lnTo>
                        <a:lnTo>
                          <a:pt x="71" y="197"/>
                        </a:lnTo>
                        <a:lnTo>
                          <a:pt x="85" y="205"/>
                        </a:lnTo>
                        <a:lnTo>
                          <a:pt x="99" y="213"/>
                        </a:lnTo>
                        <a:lnTo>
                          <a:pt x="113" y="220"/>
                        </a:lnTo>
                        <a:lnTo>
                          <a:pt x="128" y="227"/>
                        </a:lnTo>
                        <a:lnTo>
                          <a:pt x="141" y="233"/>
                        </a:lnTo>
                        <a:lnTo>
                          <a:pt x="156" y="239"/>
                        </a:lnTo>
                        <a:lnTo>
                          <a:pt x="171" y="245"/>
                        </a:lnTo>
                        <a:lnTo>
                          <a:pt x="186" y="250"/>
                        </a:lnTo>
                        <a:lnTo>
                          <a:pt x="182" y="241"/>
                        </a:lnTo>
                        <a:lnTo>
                          <a:pt x="175" y="222"/>
                        </a:lnTo>
                        <a:lnTo>
                          <a:pt x="175" y="202"/>
                        </a:lnTo>
                        <a:lnTo>
                          <a:pt x="182" y="185"/>
                        </a:lnTo>
                        <a:lnTo>
                          <a:pt x="199" y="172"/>
                        </a:lnTo>
                        <a:lnTo>
                          <a:pt x="209" y="169"/>
                        </a:lnTo>
                        <a:lnTo>
                          <a:pt x="220" y="169"/>
                        </a:lnTo>
                        <a:lnTo>
                          <a:pt x="228" y="171"/>
                        </a:lnTo>
                        <a:lnTo>
                          <a:pt x="235" y="175"/>
                        </a:lnTo>
                        <a:lnTo>
                          <a:pt x="242" y="181"/>
                        </a:lnTo>
                        <a:lnTo>
                          <a:pt x="247" y="189"/>
                        </a:lnTo>
                        <a:lnTo>
                          <a:pt x="252" y="198"/>
                        </a:lnTo>
                        <a:lnTo>
                          <a:pt x="257" y="208"/>
                        </a:lnTo>
                        <a:lnTo>
                          <a:pt x="285" y="276"/>
                        </a:lnTo>
                        <a:lnTo>
                          <a:pt x="297" y="277"/>
                        </a:lnTo>
                        <a:lnTo>
                          <a:pt x="310" y="279"/>
                        </a:lnTo>
                        <a:lnTo>
                          <a:pt x="321" y="280"/>
                        </a:lnTo>
                        <a:lnTo>
                          <a:pt x="334" y="281"/>
                        </a:lnTo>
                        <a:lnTo>
                          <a:pt x="345" y="283"/>
                        </a:lnTo>
                        <a:lnTo>
                          <a:pt x="357" y="283"/>
                        </a:lnTo>
                        <a:lnTo>
                          <a:pt x="369" y="284"/>
                        </a:lnTo>
                        <a:lnTo>
                          <a:pt x="381" y="284"/>
                        </a:lnTo>
                        <a:lnTo>
                          <a:pt x="325" y="154"/>
                        </a:lnTo>
                        <a:lnTo>
                          <a:pt x="314" y="134"/>
                        </a:lnTo>
                        <a:lnTo>
                          <a:pt x="303" y="118"/>
                        </a:lnTo>
                        <a:lnTo>
                          <a:pt x="290" y="105"/>
                        </a:lnTo>
                        <a:lnTo>
                          <a:pt x="275" y="96"/>
                        </a:lnTo>
                        <a:lnTo>
                          <a:pt x="259" y="90"/>
                        </a:lnTo>
                        <a:lnTo>
                          <a:pt x="242" y="88"/>
                        </a:lnTo>
                        <a:lnTo>
                          <a:pt x="222" y="90"/>
                        </a:lnTo>
                        <a:lnTo>
                          <a:pt x="202" y="9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11" name="Freeform 279">
                    <a:extLst>
                      <a:ext uri="{FF2B5EF4-FFF2-40B4-BE49-F238E27FC236}">
                        <a16:creationId xmlns:a16="http://schemas.microsoft.com/office/drawing/2014/main" id="{25F0B58E-FEDF-43B2-A284-88E346A27DE1}"/>
                      </a:ext>
                    </a:extLst>
                  </p:cNvPr>
                  <p:cNvSpPr>
                    <a:spLocks/>
                  </p:cNvSpPr>
                  <p:nvPr/>
                </p:nvSpPr>
                <p:spPr bwMode="auto">
                  <a:xfrm>
                    <a:off x="7073900" y="5138738"/>
                    <a:ext cx="236538" cy="231775"/>
                  </a:xfrm>
                  <a:custGeom>
                    <a:avLst/>
                    <a:gdLst>
                      <a:gd name="T0" fmla="*/ 2147483646 w 299"/>
                      <a:gd name="T1" fmla="*/ 0 h 293"/>
                      <a:gd name="T2" fmla="*/ 2147483646 w 299"/>
                      <a:gd name="T3" fmla="*/ 2147483646 h 293"/>
                      <a:gd name="T4" fmla="*/ 2147483646 w 299"/>
                      <a:gd name="T5" fmla="*/ 2147483646 h 293"/>
                      <a:gd name="T6" fmla="*/ 2147483646 w 299"/>
                      <a:gd name="T7" fmla="*/ 2147483646 h 293"/>
                      <a:gd name="T8" fmla="*/ 2147483646 w 299"/>
                      <a:gd name="T9" fmla="*/ 2147483646 h 293"/>
                      <a:gd name="T10" fmla="*/ 2147483646 w 299"/>
                      <a:gd name="T11" fmla="*/ 2147483646 h 293"/>
                      <a:gd name="T12" fmla="*/ 2147483646 w 299"/>
                      <a:gd name="T13" fmla="*/ 2147483646 h 293"/>
                      <a:gd name="T14" fmla="*/ 2147483646 w 299"/>
                      <a:gd name="T15" fmla="*/ 2147483646 h 293"/>
                      <a:gd name="T16" fmla="*/ 2147483646 w 299"/>
                      <a:gd name="T17" fmla="*/ 2147483646 h 293"/>
                      <a:gd name="T18" fmla="*/ 2147483646 w 299"/>
                      <a:gd name="T19" fmla="*/ 2147483646 h 293"/>
                      <a:gd name="T20" fmla="*/ 2147483646 w 299"/>
                      <a:gd name="T21" fmla="*/ 2147483646 h 293"/>
                      <a:gd name="T22" fmla="*/ 2147483646 w 299"/>
                      <a:gd name="T23" fmla="*/ 2147483646 h 293"/>
                      <a:gd name="T24" fmla="*/ 2147483646 w 299"/>
                      <a:gd name="T25" fmla="*/ 2147483646 h 293"/>
                      <a:gd name="T26" fmla="*/ 2147483646 w 299"/>
                      <a:gd name="T27" fmla="*/ 2147483646 h 293"/>
                      <a:gd name="T28" fmla="*/ 2147483646 w 299"/>
                      <a:gd name="T29" fmla="*/ 2147483646 h 293"/>
                      <a:gd name="T30" fmla="*/ 2147483646 w 299"/>
                      <a:gd name="T31" fmla="*/ 2147483646 h 293"/>
                      <a:gd name="T32" fmla="*/ 0 w 299"/>
                      <a:gd name="T33" fmla="*/ 2147483646 h 293"/>
                      <a:gd name="T34" fmla="*/ 2147483646 w 299"/>
                      <a:gd name="T35" fmla="*/ 2147483646 h 293"/>
                      <a:gd name="T36" fmla="*/ 2147483646 w 299"/>
                      <a:gd name="T37" fmla="*/ 2147483646 h 293"/>
                      <a:gd name="T38" fmla="*/ 2147483646 w 299"/>
                      <a:gd name="T39" fmla="*/ 2147483646 h 293"/>
                      <a:gd name="T40" fmla="*/ 2147483646 w 299"/>
                      <a:gd name="T41" fmla="*/ 2147483646 h 293"/>
                      <a:gd name="T42" fmla="*/ 2147483646 w 299"/>
                      <a:gd name="T43" fmla="*/ 2147483646 h 293"/>
                      <a:gd name="T44" fmla="*/ 2147483646 w 299"/>
                      <a:gd name="T45" fmla="*/ 2147483646 h 293"/>
                      <a:gd name="T46" fmla="*/ 2147483646 w 299"/>
                      <a:gd name="T47" fmla="*/ 2147483646 h 293"/>
                      <a:gd name="T48" fmla="*/ 2147483646 w 299"/>
                      <a:gd name="T49" fmla="*/ 2147483646 h 293"/>
                      <a:gd name="T50" fmla="*/ 2147483646 w 299"/>
                      <a:gd name="T51" fmla="*/ 2147483646 h 293"/>
                      <a:gd name="T52" fmla="*/ 2147483646 w 299"/>
                      <a:gd name="T53" fmla="*/ 2147483646 h 293"/>
                      <a:gd name="T54" fmla="*/ 2147483646 w 299"/>
                      <a:gd name="T55" fmla="*/ 2147483646 h 293"/>
                      <a:gd name="T56" fmla="*/ 2147483646 w 299"/>
                      <a:gd name="T57" fmla="*/ 2147483646 h 293"/>
                      <a:gd name="T58" fmla="*/ 2147483646 w 299"/>
                      <a:gd name="T59" fmla="*/ 2147483646 h 293"/>
                      <a:gd name="T60" fmla="*/ 2147483646 w 299"/>
                      <a:gd name="T61" fmla="*/ 2147483646 h 293"/>
                      <a:gd name="T62" fmla="*/ 2147483646 w 299"/>
                      <a:gd name="T63" fmla="*/ 2147483646 h 293"/>
                      <a:gd name="T64" fmla="*/ 2147483646 w 299"/>
                      <a:gd name="T65" fmla="*/ 2147483646 h 293"/>
                      <a:gd name="T66" fmla="*/ 2147483646 w 299"/>
                      <a:gd name="T67" fmla="*/ 2147483646 h 293"/>
                      <a:gd name="T68" fmla="*/ 2147483646 w 299"/>
                      <a:gd name="T69" fmla="*/ 0 h 29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293"/>
                      <a:gd name="T107" fmla="*/ 299 w 299"/>
                      <a:gd name="T108" fmla="*/ 293 h 29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293">
                        <a:moveTo>
                          <a:pt x="232" y="0"/>
                        </a:moveTo>
                        <a:lnTo>
                          <a:pt x="155" y="34"/>
                        </a:lnTo>
                        <a:lnTo>
                          <a:pt x="205" y="150"/>
                        </a:lnTo>
                        <a:lnTo>
                          <a:pt x="212" y="170"/>
                        </a:lnTo>
                        <a:lnTo>
                          <a:pt x="212" y="187"/>
                        </a:lnTo>
                        <a:lnTo>
                          <a:pt x="204" y="202"/>
                        </a:lnTo>
                        <a:lnTo>
                          <a:pt x="187" y="213"/>
                        </a:lnTo>
                        <a:lnTo>
                          <a:pt x="175" y="217"/>
                        </a:lnTo>
                        <a:lnTo>
                          <a:pt x="166" y="218"/>
                        </a:lnTo>
                        <a:lnTo>
                          <a:pt x="157" y="217"/>
                        </a:lnTo>
                        <a:lnTo>
                          <a:pt x="150" y="213"/>
                        </a:lnTo>
                        <a:lnTo>
                          <a:pt x="143" y="208"/>
                        </a:lnTo>
                        <a:lnTo>
                          <a:pt x="137" y="201"/>
                        </a:lnTo>
                        <a:lnTo>
                          <a:pt x="133" y="193"/>
                        </a:lnTo>
                        <a:lnTo>
                          <a:pt x="128" y="183"/>
                        </a:lnTo>
                        <a:lnTo>
                          <a:pt x="77" y="67"/>
                        </a:lnTo>
                        <a:lnTo>
                          <a:pt x="0" y="101"/>
                        </a:lnTo>
                        <a:lnTo>
                          <a:pt x="57" y="231"/>
                        </a:lnTo>
                        <a:lnTo>
                          <a:pt x="69" y="255"/>
                        </a:lnTo>
                        <a:lnTo>
                          <a:pt x="85" y="272"/>
                        </a:lnTo>
                        <a:lnTo>
                          <a:pt x="103" y="284"/>
                        </a:lnTo>
                        <a:lnTo>
                          <a:pt x="122" y="291"/>
                        </a:lnTo>
                        <a:lnTo>
                          <a:pt x="143" y="293"/>
                        </a:lnTo>
                        <a:lnTo>
                          <a:pt x="166" y="289"/>
                        </a:lnTo>
                        <a:lnTo>
                          <a:pt x="189" y="284"/>
                        </a:lnTo>
                        <a:lnTo>
                          <a:pt x="213" y="275"/>
                        </a:lnTo>
                        <a:lnTo>
                          <a:pt x="236" y="263"/>
                        </a:lnTo>
                        <a:lnTo>
                          <a:pt x="257" y="250"/>
                        </a:lnTo>
                        <a:lnTo>
                          <a:pt x="274" y="236"/>
                        </a:lnTo>
                        <a:lnTo>
                          <a:pt x="287" y="219"/>
                        </a:lnTo>
                        <a:lnTo>
                          <a:pt x="295" y="201"/>
                        </a:lnTo>
                        <a:lnTo>
                          <a:pt x="299" y="180"/>
                        </a:lnTo>
                        <a:lnTo>
                          <a:pt x="296" y="156"/>
                        </a:lnTo>
                        <a:lnTo>
                          <a:pt x="288" y="130"/>
                        </a:lnTo>
                        <a:lnTo>
                          <a:pt x="2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12" name="Freeform 280">
                    <a:extLst>
                      <a:ext uri="{FF2B5EF4-FFF2-40B4-BE49-F238E27FC236}">
                        <a16:creationId xmlns:a16="http://schemas.microsoft.com/office/drawing/2014/main" id="{7A82617A-61BE-4CB4-AAF5-20B2B1912C24}"/>
                      </a:ext>
                    </a:extLst>
                  </p:cNvPr>
                  <p:cNvSpPr>
                    <a:spLocks/>
                  </p:cNvSpPr>
                  <p:nvPr/>
                </p:nvSpPr>
                <p:spPr bwMode="auto">
                  <a:xfrm>
                    <a:off x="7250113" y="4987925"/>
                    <a:ext cx="180975" cy="306387"/>
                  </a:xfrm>
                  <a:custGeom>
                    <a:avLst/>
                    <a:gdLst>
                      <a:gd name="T0" fmla="*/ 0 w 228"/>
                      <a:gd name="T1" fmla="*/ 2147483646 h 385"/>
                      <a:gd name="T2" fmla="*/ 2147483646 w 228"/>
                      <a:gd name="T3" fmla="*/ 2147483646 h 385"/>
                      <a:gd name="T4" fmla="*/ 2147483646 w 228"/>
                      <a:gd name="T5" fmla="*/ 2147483646 h 385"/>
                      <a:gd name="T6" fmla="*/ 2147483646 w 228"/>
                      <a:gd name="T7" fmla="*/ 0 h 385"/>
                      <a:gd name="T8" fmla="*/ 0 w 228"/>
                      <a:gd name="T9" fmla="*/ 2147483646 h 385"/>
                      <a:gd name="T10" fmla="*/ 0 60000 65536"/>
                      <a:gd name="T11" fmla="*/ 0 60000 65536"/>
                      <a:gd name="T12" fmla="*/ 0 60000 65536"/>
                      <a:gd name="T13" fmla="*/ 0 60000 65536"/>
                      <a:gd name="T14" fmla="*/ 0 60000 65536"/>
                      <a:gd name="T15" fmla="*/ 0 w 228"/>
                      <a:gd name="T16" fmla="*/ 0 h 385"/>
                      <a:gd name="T17" fmla="*/ 228 w 228"/>
                      <a:gd name="T18" fmla="*/ 385 h 385"/>
                    </a:gdLst>
                    <a:ahLst/>
                    <a:cxnLst>
                      <a:cxn ang="T10">
                        <a:pos x="T0" y="T1"/>
                      </a:cxn>
                      <a:cxn ang="T11">
                        <a:pos x="T2" y="T3"/>
                      </a:cxn>
                      <a:cxn ang="T12">
                        <a:pos x="T4" y="T5"/>
                      </a:cxn>
                      <a:cxn ang="T13">
                        <a:pos x="T6" y="T7"/>
                      </a:cxn>
                      <a:cxn ang="T14">
                        <a:pos x="T8" y="T9"/>
                      </a:cxn>
                    </a:cxnLst>
                    <a:rect l="T15" t="T16" r="T17" b="T18"/>
                    <a:pathLst>
                      <a:path w="228" h="385">
                        <a:moveTo>
                          <a:pt x="0" y="34"/>
                        </a:moveTo>
                        <a:lnTo>
                          <a:pt x="150" y="385"/>
                        </a:lnTo>
                        <a:lnTo>
                          <a:pt x="228" y="352"/>
                        </a:lnTo>
                        <a:lnTo>
                          <a:pt x="77" y="0"/>
                        </a:lnTo>
                        <a:lnTo>
                          <a:pt x="0"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13" name="Freeform 281">
                    <a:extLst>
                      <a:ext uri="{FF2B5EF4-FFF2-40B4-BE49-F238E27FC236}">
                        <a16:creationId xmlns:a16="http://schemas.microsoft.com/office/drawing/2014/main" id="{E0BD7C71-F958-46A4-84FD-F4267F7FD890}"/>
                      </a:ext>
                    </a:extLst>
                  </p:cNvPr>
                  <p:cNvSpPr>
                    <a:spLocks/>
                  </p:cNvSpPr>
                  <p:nvPr/>
                </p:nvSpPr>
                <p:spPr bwMode="auto">
                  <a:xfrm>
                    <a:off x="7397750" y="5013325"/>
                    <a:ext cx="185738" cy="231775"/>
                  </a:xfrm>
                  <a:custGeom>
                    <a:avLst/>
                    <a:gdLst>
                      <a:gd name="T0" fmla="*/ 2147483646 w 234"/>
                      <a:gd name="T1" fmla="*/ 2147483646 h 291"/>
                      <a:gd name="T2" fmla="*/ 2147483646 w 234"/>
                      <a:gd name="T3" fmla="*/ 2147483646 h 291"/>
                      <a:gd name="T4" fmla="*/ 2147483646 w 234"/>
                      <a:gd name="T5" fmla="*/ 2147483646 h 291"/>
                      <a:gd name="T6" fmla="*/ 2147483646 w 234"/>
                      <a:gd name="T7" fmla="*/ 2147483646 h 291"/>
                      <a:gd name="T8" fmla="*/ 2147483646 w 234"/>
                      <a:gd name="T9" fmla="*/ 2147483646 h 291"/>
                      <a:gd name="T10" fmla="*/ 2147483646 w 234"/>
                      <a:gd name="T11" fmla="*/ 2147483646 h 291"/>
                      <a:gd name="T12" fmla="*/ 2147483646 w 234"/>
                      <a:gd name="T13" fmla="*/ 2147483646 h 291"/>
                      <a:gd name="T14" fmla="*/ 2147483646 w 234"/>
                      <a:gd name="T15" fmla="*/ 2147483646 h 291"/>
                      <a:gd name="T16" fmla="*/ 2147483646 w 234"/>
                      <a:gd name="T17" fmla="*/ 2147483646 h 291"/>
                      <a:gd name="T18" fmla="*/ 2147483646 w 234"/>
                      <a:gd name="T19" fmla="*/ 2147483646 h 291"/>
                      <a:gd name="T20" fmla="*/ 2147483646 w 234"/>
                      <a:gd name="T21" fmla="*/ 2147483646 h 291"/>
                      <a:gd name="T22" fmla="*/ 0 w 234"/>
                      <a:gd name="T23" fmla="*/ 2147483646 h 291"/>
                      <a:gd name="T24" fmla="*/ 2147483646 w 234"/>
                      <a:gd name="T25" fmla="*/ 2147483646 h 291"/>
                      <a:gd name="T26" fmla="*/ 2147483646 w 234"/>
                      <a:gd name="T27" fmla="*/ 2147483646 h 291"/>
                      <a:gd name="T28" fmla="*/ 2147483646 w 234"/>
                      <a:gd name="T29" fmla="*/ 2147483646 h 291"/>
                      <a:gd name="T30" fmla="*/ 2147483646 w 234"/>
                      <a:gd name="T31" fmla="*/ 2147483646 h 291"/>
                      <a:gd name="T32" fmla="*/ 2147483646 w 234"/>
                      <a:gd name="T33" fmla="*/ 2147483646 h 291"/>
                      <a:gd name="T34" fmla="*/ 2147483646 w 234"/>
                      <a:gd name="T35" fmla="*/ 2147483646 h 291"/>
                      <a:gd name="T36" fmla="*/ 2147483646 w 234"/>
                      <a:gd name="T37" fmla="*/ 2147483646 h 291"/>
                      <a:gd name="T38" fmla="*/ 2147483646 w 234"/>
                      <a:gd name="T39" fmla="*/ 2147483646 h 291"/>
                      <a:gd name="T40" fmla="*/ 2147483646 w 234"/>
                      <a:gd name="T41" fmla="*/ 2147483646 h 291"/>
                      <a:gd name="T42" fmla="*/ 2147483646 w 234"/>
                      <a:gd name="T43" fmla="*/ 2147483646 h 291"/>
                      <a:gd name="T44" fmla="*/ 2147483646 w 234"/>
                      <a:gd name="T45" fmla="*/ 2147483646 h 291"/>
                      <a:gd name="T46" fmla="*/ 2147483646 w 234"/>
                      <a:gd name="T47" fmla="*/ 2147483646 h 291"/>
                      <a:gd name="T48" fmla="*/ 2147483646 w 234"/>
                      <a:gd name="T49" fmla="*/ 2147483646 h 291"/>
                      <a:gd name="T50" fmla="*/ 2147483646 w 234"/>
                      <a:gd name="T51" fmla="*/ 2147483646 h 291"/>
                      <a:gd name="T52" fmla="*/ 2147483646 w 234"/>
                      <a:gd name="T53" fmla="*/ 2147483646 h 291"/>
                      <a:gd name="T54" fmla="*/ 2147483646 w 234"/>
                      <a:gd name="T55" fmla="*/ 2147483646 h 291"/>
                      <a:gd name="T56" fmla="*/ 2147483646 w 234"/>
                      <a:gd name="T57" fmla="*/ 2147483646 h 291"/>
                      <a:gd name="T58" fmla="*/ 2147483646 w 234"/>
                      <a:gd name="T59" fmla="*/ 2147483646 h 291"/>
                      <a:gd name="T60" fmla="*/ 2147483646 w 234"/>
                      <a:gd name="T61" fmla="*/ 2147483646 h 291"/>
                      <a:gd name="T62" fmla="*/ 2147483646 w 234"/>
                      <a:gd name="T63" fmla="*/ 2147483646 h 291"/>
                      <a:gd name="T64" fmla="*/ 2147483646 w 234"/>
                      <a:gd name="T65" fmla="*/ 2147483646 h 291"/>
                      <a:gd name="T66" fmla="*/ 2147483646 w 234"/>
                      <a:gd name="T67" fmla="*/ 2147483646 h 291"/>
                      <a:gd name="T68" fmla="*/ 2147483646 w 234"/>
                      <a:gd name="T69" fmla="*/ 2147483646 h 291"/>
                      <a:gd name="T70" fmla="*/ 2147483646 w 234"/>
                      <a:gd name="T71" fmla="*/ 2147483646 h 291"/>
                      <a:gd name="T72" fmla="*/ 2147483646 w 234"/>
                      <a:gd name="T73" fmla="*/ 2147483646 h 291"/>
                      <a:gd name="T74" fmla="*/ 2147483646 w 234"/>
                      <a:gd name="T75" fmla="*/ 2147483646 h 291"/>
                      <a:gd name="T76" fmla="*/ 2147483646 w 234"/>
                      <a:gd name="T77" fmla="*/ 2147483646 h 291"/>
                      <a:gd name="T78" fmla="*/ 2147483646 w 234"/>
                      <a:gd name="T79" fmla="*/ 2147483646 h 291"/>
                      <a:gd name="T80" fmla="*/ 2147483646 w 234"/>
                      <a:gd name="T81" fmla="*/ 2147483646 h 291"/>
                      <a:gd name="T82" fmla="*/ 2147483646 w 234"/>
                      <a:gd name="T83" fmla="*/ 2147483646 h 291"/>
                      <a:gd name="T84" fmla="*/ 2147483646 w 234"/>
                      <a:gd name="T85" fmla="*/ 2147483646 h 291"/>
                      <a:gd name="T86" fmla="*/ 2147483646 w 234"/>
                      <a:gd name="T87" fmla="*/ 2147483646 h 291"/>
                      <a:gd name="T88" fmla="*/ 2147483646 w 234"/>
                      <a:gd name="T89" fmla="*/ 2147483646 h 291"/>
                      <a:gd name="T90" fmla="*/ 2147483646 w 234"/>
                      <a:gd name="T91" fmla="*/ 2147483646 h 291"/>
                      <a:gd name="T92" fmla="*/ 2147483646 w 234"/>
                      <a:gd name="T93" fmla="*/ 2147483646 h 291"/>
                      <a:gd name="T94" fmla="*/ 2147483646 w 234"/>
                      <a:gd name="T95" fmla="*/ 2147483646 h 291"/>
                      <a:gd name="T96" fmla="*/ 2147483646 w 234"/>
                      <a:gd name="T97" fmla="*/ 2147483646 h 291"/>
                      <a:gd name="T98" fmla="*/ 2147483646 w 234"/>
                      <a:gd name="T99" fmla="*/ 2147483646 h 291"/>
                      <a:gd name="T100" fmla="*/ 2147483646 w 234"/>
                      <a:gd name="T101" fmla="*/ 0 h 291"/>
                      <a:gd name="T102" fmla="*/ 2147483646 w 234"/>
                      <a:gd name="T103" fmla="*/ 0 h 291"/>
                      <a:gd name="T104" fmla="*/ 2147483646 w 234"/>
                      <a:gd name="T105" fmla="*/ 2147483646 h 291"/>
                      <a:gd name="T106" fmla="*/ 2147483646 w 234"/>
                      <a:gd name="T107" fmla="*/ 2147483646 h 291"/>
                      <a:gd name="T108" fmla="*/ 2147483646 w 234"/>
                      <a:gd name="T109" fmla="*/ 2147483646 h 29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4"/>
                      <a:gd name="T166" fmla="*/ 0 h 291"/>
                      <a:gd name="T167" fmla="*/ 234 w 234"/>
                      <a:gd name="T168" fmla="*/ 291 h 29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4" h="291">
                        <a:moveTo>
                          <a:pt x="143" y="9"/>
                        </a:moveTo>
                        <a:lnTo>
                          <a:pt x="132" y="13"/>
                        </a:lnTo>
                        <a:lnTo>
                          <a:pt x="124" y="19"/>
                        </a:lnTo>
                        <a:lnTo>
                          <a:pt x="115" y="25"/>
                        </a:lnTo>
                        <a:lnTo>
                          <a:pt x="108" y="33"/>
                        </a:lnTo>
                        <a:lnTo>
                          <a:pt x="102" y="41"/>
                        </a:lnTo>
                        <a:lnTo>
                          <a:pt x="97" y="50"/>
                        </a:lnTo>
                        <a:lnTo>
                          <a:pt x="92" y="61"/>
                        </a:lnTo>
                        <a:lnTo>
                          <a:pt x="89" y="72"/>
                        </a:lnTo>
                        <a:lnTo>
                          <a:pt x="89" y="73"/>
                        </a:lnTo>
                        <a:lnTo>
                          <a:pt x="77" y="46"/>
                        </a:lnTo>
                        <a:lnTo>
                          <a:pt x="0" y="79"/>
                        </a:lnTo>
                        <a:lnTo>
                          <a:pt x="92" y="291"/>
                        </a:lnTo>
                        <a:lnTo>
                          <a:pt x="100" y="282"/>
                        </a:lnTo>
                        <a:lnTo>
                          <a:pt x="107" y="273"/>
                        </a:lnTo>
                        <a:lnTo>
                          <a:pt x="115" y="263"/>
                        </a:lnTo>
                        <a:lnTo>
                          <a:pt x="122" y="254"/>
                        </a:lnTo>
                        <a:lnTo>
                          <a:pt x="129" y="245"/>
                        </a:lnTo>
                        <a:lnTo>
                          <a:pt x="136" y="235"/>
                        </a:lnTo>
                        <a:lnTo>
                          <a:pt x="143" y="225"/>
                        </a:lnTo>
                        <a:lnTo>
                          <a:pt x="150" y="215"/>
                        </a:lnTo>
                        <a:lnTo>
                          <a:pt x="125" y="160"/>
                        </a:lnTo>
                        <a:lnTo>
                          <a:pt x="121" y="151"/>
                        </a:lnTo>
                        <a:lnTo>
                          <a:pt x="117" y="140"/>
                        </a:lnTo>
                        <a:lnTo>
                          <a:pt x="114" y="129"/>
                        </a:lnTo>
                        <a:lnTo>
                          <a:pt x="113" y="118"/>
                        </a:lnTo>
                        <a:lnTo>
                          <a:pt x="113" y="108"/>
                        </a:lnTo>
                        <a:lnTo>
                          <a:pt x="116" y="99"/>
                        </a:lnTo>
                        <a:lnTo>
                          <a:pt x="123" y="91"/>
                        </a:lnTo>
                        <a:lnTo>
                          <a:pt x="134" y="84"/>
                        </a:lnTo>
                        <a:lnTo>
                          <a:pt x="146" y="80"/>
                        </a:lnTo>
                        <a:lnTo>
                          <a:pt x="157" y="81"/>
                        </a:lnTo>
                        <a:lnTo>
                          <a:pt x="166" y="85"/>
                        </a:lnTo>
                        <a:lnTo>
                          <a:pt x="173" y="92"/>
                        </a:lnTo>
                        <a:lnTo>
                          <a:pt x="180" y="101"/>
                        </a:lnTo>
                        <a:lnTo>
                          <a:pt x="185" y="110"/>
                        </a:lnTo>
                        <a:lnTo>
                          <a:pt x="190" y="121"/>
                        </a:lnTo>
                        <a:lnTo>
                          <a:pt x="195" y="130"/>
                        </a:lnTo>
                        <a:lnTo>
                          <a:pt x="196" y="132"/>
                        </a:lnTo>
                        <a:lnTo>
                          <a:pt x="202" y="118"/>
                        </a:lnTo>
                        <a:lnTo>
                          <a:pt x="207" y="104"/>
                        </a:lnTo>
                        <a:lnTo>
                          <a:pt x="213" y="89"/>
                        </a:lnTo>
                        <a:lnTo>
                          <a:pt x="218" y="76"/>
                        </a:lnTo>
                        <a:lnTo>
                          <a:pt x="222" y="61"/>
                        </a:lnTo>
                        <a:lnTo>
                          <a:pt x="227" y="46"/>
                        </a:lnTo>
                        <a:lnTo>
                          <a:pt x="230" y="32"/>
                        </a:lnTo>
                        <a:lnTo>
                          <a:pt x="234" y="17"/>
                        </a:lnTo>
                        <a:lnTo>
                          <a:pt x="223" y="10"/>
                        </a:lnTo>
                        <a:lnTo>
                          <a:pt x="212" y="5"/>
                        </a:lnTo>
                        <a:lnTo>
                          <a:pt x="202" y="2"/>
                        </a:lnTo>
                        <a:lnTo>
                          <a:pt x="190" y="0"/>
                        </a:lnTo>
                        <a:lnTo>
                          <a:pt x="178" y="0"/>
                        </a:lnTo>
                        <a:lnTo>
                          <a:pt x="166" y="1"/>
                        </a:lnTo>
                        <a:lnTo>
                          <a:pt x="154" y="4"/>
                        </a:lnTo>
                        <a:lnTo>
                          <a:pt x="14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14" name="Freeform 282">
                    <a:extLst>
                      <a:ext uri="{FF2B5EF4-FFF2-40B4-BE49-F238E27FC236}">
                        <a16:creationId xmlns:a16="http://schemas.microsoft.com/office/drawing/2014/main" id="{663A39A1-4605-4C63-8E59-67C38483AC82}"/>
                      </a:ext>
                    </a:extLst>
                  </p:cNvPr>
                  <p:cNvSpPr>
                    <a:spLocks/>
                  </p:cNvSpPr>
                  <p:nvPr/>
                </p:nvSpPr>
                <p:spPr bwMode="auto">
                  <a:xfrm>
                    <a:off x="6715125" y="4816475"/>
                    <a:ext cx="247650" cy="341312"/>
                  </a:xfrm>
                  <a:custGeom>
                    <a:avLst/>
                    <a:gdLst>
                      <a:gd name="T0" fmla="*/ 2147483646 w 312"/>
                      <a:gd name="T1" fmla="*/ 2147483646 h 431"/>
                      <a:gd name="T2" fmla="*/ 2147483646 w 312"/>
                      <a:gd name="T3" fmla="*/ 2147483646 h 431"/>
                      <a:gd name="T4" fmla="*/ 2147483646 w 312"/>
                      <a:gd name="T5" fmla="*/ 2147483646 h 431"/>
                      <a:gd name="T6" fmla="*/ 2147483646 w 312"/>
                      <a:gd name="T7" fmla="*/ 2147483646 h 431"/>
                      <a:gd name="T8" fmla="*/ 2147483646 w 312"/>
                      <a:gd name="T9" fmla="*/ 2147483646 h 431"/>
                      <a:gd name="T10" fmla="*/ 2147483646 w 312"/>
                      <a:gd name="T11" fmla="*/ 2147483646 h 431"/>
                      <a:gd name="T12" fmla="*/ 2147483646 w 312"/>
                      <a:gd name="T13" fmla="*/ 2147483646 h 431"/>
                      <a:gd name="T14" fmla="*/ 2147483646 w 312"/>
                      <a:gd name="T15" fmla="*/ 2147483646 h 431"/>
                      <a:gd name="T16" fmla="*/ 2147483646 w 312"/>
                      <a:gd name="T17" fmla="*/ 2147483646 h 431"/>
                      <a:gd name="T18" fmla="*/ 2147483646 w 312"/>
                      <a:gd name="T19" fmla="*/ 2147483646 h 431"/>
                      <a:gd name="T20" fmla="*/ 2147483646 w 312"/>
                      <a:gd name="T21" fmla="*/ 2147483646 h 431"/>
                      <a:gd name="T22" fmla="*/ 2147483646 w 312"/>
                      <a:gd name="T23" fmla="*/ 2147483646 h 431"/>
                      <a:gd name="T24" fmla="*/ 2147483646 w 312"/>
                      <a:gd name="T25" fmla="*/ 2147483646 h 431"/>
                      <a:gd name="T26" fmla="*/ 2147483646 w 312"/>
                      <a:gd name="T27" fmla="*/ 2147483646 h 431"/>
                      <a:gd name="T28" fmla="*/ 2147483646 w 312"/>
                      <a:gd name="T29" fmla="*/ 2147483646 h 431"/>
                      <a:gd name="T30" fmla="*/ 0 w 312"/>
                      <a:gd name="T31" fmla="*/ 2147483646 h 431"/>
                      <a:gd name="T32" fmla="*/ 2147483646 w 312"/>
                      <a:gd name="T33" fmla="*/ 2147483646 h 431"/>
                      <a:gd name="T34" fmla="*/ 2147483646 w 312"/>
                      <a:gd name="T35" fmla="*/ 2147483646 h 431"/>
                      <a:gd name="T36" fmla="*/ 2147483646 w 312"/>
                      <a:gd name="T37" fmla="*/ 2147483646 h 431"/>
                      <a:gd name="T38" fmla="*/ 2147483646 w 312"/>
                      <a:gd name="T39" fmla="*/ 2147483646 h 431"/>
                      <a:gd name="T40" fmla="*/ 2147483646 w 312"/>
                      <a:gd name="T41" fmla="*/ 2147483646 h 431"/>
                      <a:gd name="T42" fmla="*/ 2147483646 w 312"/>
                      <a:gd name="T43" fmla="*/ 2147483646 h 431"/>
                      <a:gd name="T44" fmla="*/ 2147483646 w 312"/>
                      <a:gd name="T45" fmla="*/ 2147483646 h 431"/>
                      <a:gd name="T46" fmla="*/ 2147483646 w 312"/>
                      <a:gd name="T47" fmla="*/ 2147483646 h 431"/>
                      <a:gd name="T48" fmla="*/ 2147483646 w 312"/>
                      <a:gd name="T49" fmla="*/ 2147483646 h 431"/>
                      <a:gd name="T50" fmla="*/ 2147483646 w 312"/>
                      <a:gd name="T51" fmla="*/ 2147483646 h 431"/>
                      <a:gd name="T52" fmla="*/ 2147483646 w 312"/>
                      <a:gd name="T53" fmla="*/ 2147483646 h 431"/>
                      <a:gd name="T54" fmla="*/ 2147483646 w 312"/>
                      <a:gd name="T55" fmla="*/ 2147483646 h 431"/>
                      <a:gd name="T56" fmla="*/ 2147483646 w 312"/>
                      <a:gd name="T57" fmla="*/ 2147483646 h 431"/>
                      <a:gd name="T58" fmla="*/ 2147483646 w 312"/>
                      <a:gd name="T59" fmla="*/ 2147483646 h 431"/>
                      <a:gd name="T60" fmla="*/ 2147483646 w 312"/>
                      <a:gd name="T61" fmla="*/ 2147483646 h 431"/>
                      <a:gd name="T62" fmla="*/ 2147483646 w 312"/>
                      <a:gd name="T63" fmla="*/ 2147483646 h 431"/>
                      <a:gd name="T64" fmla="*/ 2147483646 w 312"/>
                      <a:gd name="T65" fmla="*/ 2147483646 h 431"/>
                      <a:gd name="T66" fmla="*/ 2147483646 w 312"/>
                      <a:gd name="T67" fmla="*/ 2147483646 h 431"/>
                      <a:gd name="T68" fmla="*/ 2147483646 w 312"/>
                      <a:gd name="T69" fmla="*/ 2147483646 h 431"/>
                      <a:gd name="T70" fmla="*/ 2147483646 w 312"/>
                      <a:gd name="T71" fmla="*/ 2147483646 h 431"/>
                      <a:gd name="T72" fmla="*/ 2147483646 w 312"/>
                      <a:gd name="T73" fmla="*/ 2147483646 h 431"/>
                      <a:gd name="T74" fmla="*/ 2147483646 w 312"/>
                      <a:gd name="T75" fmla="*/ 0 h 431"/>
                      <a:gd name="T76" fmla="*/ 2147483646 w 312"/>
                      <a:gd name="T77" fmla="*/ 2147483646 h 43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12"/>
                      <a:gd name="T118" fmla="*/ 0 h 431"/>
                      <a:gd name="T119" fmla="*/ 312 w 312"/>
                      <a:gd name="T120" fmla="*/ 431 h 43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12" h="431">
                        <a:moveTo>
                          <a:pt x="81" y="33"/>
                        </a:moveTo>
                        <a:lnTo>
                          <a:pt x="149" y="189"/>
                        </a:lnTo>
                        <a:lnTo>
                          <a:pt x="140" y="185"/>
                        </a:lnTo>
                        <a:lnTo>
                          <a:pt x="130" y="183"/>
                        </a:lnTo>
                        <a:lnTo>
                          <a:pt x="119" y="181"/>
                        </a:lnTo>
                        <a:lnTo>
                          <a:pt x="110" y="181"/>
                        </a:lnTo>
                        <a:lnTo>
                          <a:pt x="100" y="182"/>
                        </a:lnTo>
                        <a:lnTo>
                          <a:pt x="89" y="183"/>
                        </a:lnTo>
                        <a:lnTo>
                          <a:pt x="79" y="186"/>
                        </a:lnTo>
                        <a:lnTo>
                          <a:pt x="70" y="190"/>
                        </a:lnTo>
                        <a:lnTo>
                          <a:pt x="48" y="203"/>
                        </a:lnTo>
                        <a:lnTo>
                          <a:pt x="30" y="219"/>
                        </a:lnTo>
                        <a:lnTo>
                          <a:pt x="16" y="237"/>
                        </a:lnTo>
                        <a:lnTo>
                          <a:pt x="6" y="258"/>
                        </a:lnTo>
                        <a:lnTo>
                          <a:pt x="1" y="281"/>
                        </a:lnTo>
                        <a:lnTo>
                          <a:pt x="0" y="305"/>
                        </a:lnTo>
                        <a:lnTo>
                          <a:pt x="3" y="328"/>
                        </a:lnTo>
                        <a:lnTo>
                          <a:pt x="11" y="352"/>
                        </a:lnTo>
                        <a:lnTo>
                          <a:pt x="23" y="374"/>
                        </a:lnTo>
                        <a:lnTo>
                          <a:pt x="39" y="394"/>
                        </a:lnTo>
                        <a:lnTo>
                          <a:pt x="56" y="409"/>
                        </a:lnTo>
                        <a:lnTo>
                          <a:pt x="77" y="420"/>
                        </a:lnTo>
                        <a:lnTo>
                          <a:pt x="99" y="428"/>
                        </a:lnTo>
                        <a:lnTo>
                          <a:pt x="123" y="431"/>
                        </a:lnTo>
                        <a:lnTo>
                          <a:pt x="147" y="430"/>
                        </a:lnTo>
                        <a:lnTo>
                          <a:pt x="171" y="421"/>
                        </a:lnTo>
                        <a:lnTo>
                          <a:pt x="180" y="417"/>
                        </a:lnTo>
                        <a:lnTo>
                          <a:pt x="190" y="411"/>
                        </a:lnTo>
                        <a:lnTo>
                          <a:pt x="198" y="404"/>
                        </a:lnTo>
                        <a:lnTo>
                          <a:pt x="205" y="397"/>
                        </a:lnTo>
                        <a:lnTo>
                          <a:pt x="211" y="389"/>
                        </a:lnTo>
                        <a:lnTo>
                          <a:pt x="216" y="381"/>
                        </a:lnTo>
                        <a:lnTo>
                          <a:pt x="221" y="372"/>
                        </a:lnTo>
                        <a:lnTo>
                          <a:pt x="223" y="362"/>
                        </a:lnTo>
                        <a:lnTo>
                          <a:pt x="224" y="360"/>
                        </a:lnTo>
                        <a:lnTo>
                          <a:pt x="235" y="385"/>
                        </a:lnTo>
                        <a:lnTo>
                          <a:pt x="312" y="351"/>
                        </a:lnTo>
                        <a:lnTo>
                          <a:pt x="159" y="0"/>
                        </a:lnTo>
                        <a:lnTo>
                          <a:pt x="81"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15" name="Freeform 283">
                    <a:extLst>
                      <a:ext uri="{FF2B5EF4-FFF2-40B4-BE49-F238E27FC236}">
                        <a16:creationId xmlns:a16="http://schemas.microsoft.com/office/drawing/2014/main" id="{D28B61D8-A5C7-4292-A27D-7A8A0A433B1C}"/>
                      </a:ext>
                    </a:extLst>
                  </p:cNvPr>
                  <p:cNvSpPr>
                    <a:spLocks/>
                  </p:cNvSpPr>
                  <p:nvPr/>
                </p:nvSpPr>
                <p:spPr bwMode="auto">
                  <a:xfrm>
                    <a:off x="6783388" y="5008563"/>
                    <a:ext cx="85725" cy="87312"/>
                  </a:xfrm>
                  <a:custGeom>
                    <a:avLst/>
                    <a:gdLst>
                      <a:gd name="T0" fmla="*/ 2147483646 w 108"/>
                      <a:gd name="T1" fmla="*/ 2147483646 h 109"/>
                      <a:gd name="T2" fmla="*/ 2147483646 w 108"/>
                      <a:gd name="T3" fmla="*/ 2147483646 h 109"/>
                      <a:gd name="T4" fmla="*/ 2147483646 w 108"/>
                      <a:gd name="T5" fmla="*/ 2147483646 h 109"/>
                      <a:gd name="T6" fmla="*/ 2147483646 w 108"/>
                      <a:gd name="T7" fmla="*/ 2147483646 h 109"/>
                      <a:gd name="T8" fmla="*/ 2147483646 w 108"/>
                      <a:gd name="T9" fmla="*/ 2147483646 h 109"/>
                      <a:gd name="T10" fmla="*/ 2147483646 w 108"/>
                      <a:gd name="T11" fmla="*/ 2147483646 h 109"/>
                      <a:gd name="T12" fmla="*/ 2147483646 w 108"/>
                      <a:gd name="T13" fmla="*/ 2147483646 h 109"/>
                      <a:gd name="T14" fmla="*/ 2147483646 w 108"/>
                      <a:gd name="T15" fmla="*/ 2147483646 h 109"/>
                      <a:gd name="T16" fmla="*/ 2147483646 w 108"/>
                      <a:gd name="T17" fmla="*/ 2147483646 h 109"/>
                      <a:gd name="T18" fmla="*/ 2147483646 w 108"/>
                      <a:gd name="T19" fmla="*/ 2147483646 h 109"/>
                      <a:gd name="T20" fmla="*/ 2147483646 w 108"/>
                      <a:gd name="T21" fmla="*/ 2147483646 h 109"/>
                      <a:gd name="T22" fmla="*/ 2147483646 w 108"/>
                      <a:gd name="T23" fmla="*/ 2147483646 h 109"/>
                      <a:gd name="T24" fmla="*/ 2147483646 w 108"/>
                      <a:gd name="T25" fmla="*/ 2147483646 h 109"/>
                      <a:gd name="T26" fmla="*/ 2147483646 w 108"/>
                      <a:gd name="T27" fmla="*/ 2147483646 h 109"/>
                      <a:gd name="T28" fmla="*/ 2147483646 w 108"/>
                      <a:gd name="T29" fmla="*/ 2147483646 h 109"/>
                      <a:gd name="T30" fmla="*/ 2147483646 w 108"/>
                      <a:gd name="T31" fmla="*/ 2147483646 h 109"/>
                      <a:gd name="T32" fmla="*/ 2147483646 w 108"/>
                      <a:gd name="T33" fmla="*/ 2147483646 h 109"/>
                      <a:gd name="T34" fmla="*/ 2147483646 w 108"/>
                      <a:gd name="T35" fmla="*/ 2147483646 h 109"/>
                      <a:gd name="T36" fmla="*/ 0 w 108"/>
                      <a:gd name="T37" fmla="*/ 2147483646 h 109"/>
                      <a:gd name="T38" fmla="*/ 0 w 108"/>
                      <a:gd name="T39" fmla="*/ 2147483646 h 109"/>
                      <a:gd name="T40" fmla="*/ 2147483646 w 108"/>
                      <a:gd name="T41" fmla="*/ 2147483646 h 109"/>
                      <a:gd name="T42" fmla="*/ 2147483646 w 108"/>
                      <a:gd name="T43" fmla="*/ 2147483646 h 109"/>
                      <a:gd name="T44" fmla="*/ 2147483646 w 108"/>
                      <a:gd name="T45" fmla="*/ 2147483646 h 109"/>
                      <a:gd name="T46" fmla="*/ 2147483646 w 108"/>
                      <a:gd name="T47" fmla="*/ 2147483646 h 109"/>
                      <a:gd name="T48" fmla="*/ 2147483646 w 108"/>
                      <a:gd name="T49" fmla="*/ 2147483646 h 109"/>
                      <a:gd name="T50" fmla="*/ 2147483646 w 108"/>
                      <a:gd name="T51" fmla="*/ 2147483646 h 109"/>
                      <a:gd name="T52" fmla="*/ 2147483646 w 108"/>
                      <a:gd name="T53" fmla="*/ 0 h 109"/>
                      <a:gd name="T54" fmla="*/ 2147483646 w 108"/>
                      <a:gd name="T55" fmla="*/ 2147483646 h 109"/>
                      <a:gd name="T56" fmla="*/ 2147483646 w 108"/>
                      <a:gd name="T57" fmla="*/ 2147483646 h 109"/>
                      <a:gd name="T58" fmla="*/ 2147483646 w 108"/>
                      <a:gd name="T59" fmla="*/ 2147483646 h 109"/>
                      <a:gd name="T60" fmla="*/ 2147483646 w 108"/>
                      <a:gd name="T61" fmla="*/ 2147483646 h 109"/>
                      <a:gd name="T62" fmla="*/ 2147483646 w 108"/>
                      <a:gd name="T63" fmla="*/ 2147483646 h 109"/>
                      <a:gd name="T64" fmla="*/ 2147483646 w 108"/>
                      <a:gd name="T65" fmla="*/ 2147483646 h 10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8"/>
                      <a:gd name="T100" fmla="*/ 0 h 109"/>
                      <a:gd name="T101" fmla="*/ 108 w 108"/>
                      <a:gd name="T102" fmla="*/ 109 h 10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8" h="109">
                        <a:moveTo>
                          <a:pt x="104" y="33"/>
                        </a:moveTo>
                        <a:lnTo>
                          <a:pt x="107" y="44"/>
                        </a:lnTo>
                        <a:lnTo>
                          <a:pt x="108" y="54"/>
                        </a:lnTo>
                        <a:lnTo>
                          <a:pt x="108" y="64"/>
                        </a:lnTo>
                        <a:lnTo>
                          <a:pt x="106" y="73"/>
                        </a:lnTo>
                        <a:lnTo>
                          <a:pt x="101" y="83"/>
                        </a:lnTo>
                        <a:lnTo>
                          <a:pt x="94" y="91"/>
                        </a:lnTo>
                        <a:lnTo>
                          <a:pt x="86" y="98"/>
                        </a:lnTo>
                        <a:lnTo>
                          <a:pt x="75" y="103"/>
                        </a:lnTo>
                        <a:lnTo>
                          <a:pt x="63" y="107"/>
                        </a:lnTo>
                        <a:lnTo>
                          <a:pt x="52" y="109"/>
                        </a:lnTo>
                        <a:lnTo>
                          <a:pt x="41" y="108"/>
                        </a:lnTo>
                        <a:lnTo>
                          <a:pt x="32" y="106"/>
                        </a:lnTo>
                        <a:lnTo>
                          <a:pt x="24" y="101"/>
                        </a:lnTo>
                        <a:lnTo>
                          <a:pt x="16" y="94"/>
                        </a:lnTo>
                        <a:lnTo>
                          <a:pt x="9" y="86"/>
                        </a:lnTo>
                        <a:lnTo>
                          <a:pt x="5" y="77"/>
                        </a:lnTo>
                        <a:lnTo>
                          <a:pt x="1" y="67"/>
                        </a:lnTo>
                        <a:lnTo>
                          <a:pt x="0" y="56"/>
                        </a:lnTo>
                        <a:lnTo>
                          <a:pt x="0" y="46"/>
                        </a:lnTo>
                        <a:lnTo>
                          <a:pt x="2" y="35"/>
                        </a:lnTo>
                        <a:lnTo>
                          <a:pt x="7" y="27"/>
                        </a:lnTo>
                        <a:lnTo>
                          <a:pt x="14" y="18"/>
                        </a:lnTo>
                        <a:lnTo>
                          <a:pt x="22" y="11"/>
                        </a:lnTo>
                        <a:lnTo>
                          <a:pt x="33" y="5"/>
                        </a:lnTo>
                        <a:lnTo>
                          <a:pt x="45" y="2"/>
                        </a:lnTo>
                        <a:lnTo>
                          <a:pt x="56" y="0"/>
                        </a:lnTo>
                        <a:lnTo>
                          <a:pt x="67" y="1"/>
                        </a:lnTo>
                        <a:lnTo>
                          <a:pt x="76" y="4"/>
                        </a:lnTo>
                        <a:lnTo>
                          <a:pt x="84" y="9"/>
                        </a:lnTo>
                        <a:lnTo>
                          <a:pt x="92" y="16"/>
                        </a:lnTo>
                        <a:lnTo>
                          <a:pt x="99" y="24"/>
                        </a:lnTo>
                        <a:lnTo>
                          <a:pt x="104"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16" name="Freeform 284">
                    <a:extLst>
                      <a:ext uri="{FF2B5EF4-FFF2-40B4-BE49-F238E27FC236}">
                        <a16:creationId xmlns:a16="http://schemas.microsoft.com/office/drawing/2014/main" id="{3E10EA8C-2C0D-4870-929D-99E4316D5731}"/>
                      </a:ext>
                    </a:extLst>
                  </p:cNvPr>
                  <p:cNvSpPr>
                    <a:spLocks/>
                  </p:cNvSpPr>
                  <p:nvPr/>
                </p:nvSpPr>
                <p:spPr bwMode="auto">
                  <a:xfrm>
                    <a:off x="6940550" y="4854575"/>
                    <a:ext cx="212725" cy="203200"/>
                  </a:xfrm>
                  <a:custGeom>
                    <a:avLst/>
                    <a:gdLst>
                      <a:gd name="T0" fmla="*/ 2147483646 w 268"/>
                      <a:gd name="T1" fmla="*/ 2147483646 h 257"/>
                      <a:gd name="T2" fmla="*/ 2147483646 w 268"/>
                      <a:gd name="T3" fmla="*/ 2147483646 h 257"/>
                      <a:gd name="T4" fmla="*/ 2147483646 w 268"/>
                      <a:gd name="T5" fmla="*/ 2147483646 h 257"/>
                      <a:gd name="T6" fmla="*/ 2147483646 w 268"/>
                      <a:gd name="T7" fmla="*/ 2147483646 h 257"/>
                      <a:gd name="T8" fmla="*/ 2147483646 w 268"/>
                      <a:gd name="T9" fmla="*/ 2147483646 h 257"/>
                      <a:gd name="T10" fmla="*/ 2147483646 w 268"/>
                      <a:gd name="T11" fmla="*/ 2147483646 h 257"/>
                      <a:gd name="T12" fmla="*/ 2147483646 w 268"/>
                      <a:gd name="T13" fmla="*/ 2147483646 h 257"/>
                      <a:gd name="T14" fmla="*/ 2147483646 w 268"/>
                      <a:gd name="T15" fmla="*/ 2147483646 h 257"/>
                      <a:gd name="T16" fmla="*/ 2147483646 w 268"/>
                      <a:gd name="T17" fmla="*/ 2147483646 h 257"/>
                      <a:gd name="T18" fmla="*/ 2147483646 w 268"/>
                      <a:gd name="T19" fmla="*/ 2147483646 h 257"/>
                      <a:gd name="T20" fmla="*/ 2147483646 w 268"/>
                      <a:gd name="T21" fmla="*/ 2147483646 h 257"/>
                      <a:gd name="T22" fmla="*/ 2147483646 w 268"/>
                      <a:gd name="T23" fmla="*/ 2147483646 h 257"/>
                      <a:gd name="T24" fmla="*/ 2147483646 w 268"/>
                      <a:gd name="T25" fmla="*/ 2147483646 h 257"/>
                      <a:gd name="T26" fmla="*/ 2147483646 w 268"/>
                      <a:gd name="T27" fmla="*/ 2147483646 h 257"/>
                      <a:gd name="T28" fmla="*/ 2147483646 w 268"/>
                      <a:gd name="T29" fmla="*/ 2147483646 h 257"/>
                      <a:gd name="T30" fmla="*/ 2147483646 w 268"/>
                      <a:gd name="T31" fmla="*/ 2147483646 h 257"/>
                      <a:gd name="T32" fmla="*/ 2147483646 w 268"/>
                      <a:gd name="T33" fmla="*/ 2147483646 h 257"/>
                      <a:gd name="T34" fmla="*/ 2147483646 w 268"/>
                      <a:gd name="T35" fmla="*/ 2147483646 h 257"/>
                      <a:gd name="T36" fmla="*/ 2147483646 w 268"/>
                      <a:gd name="T37" fmla="*/ 2147483646 h 257"/>
                      <a:gd name="T38" fmla="*/ 2147483646 w 268"/>
                      <a:gd name="T39" fmla="*/ 2147483646 h 257"/>
                      <a:gd name="T40" fmla="*/ 2147483646 w 268"/>
                      <a:gd name="T41" fmla="*/ 2147483646 h 257"/>
                      <a:gd name="T42" fmla="*/ 2147483646 w 268"/>
                      <a:gd name="T43" fmla="*/ 0 h 257"/>
                      <a:gd name="T44" fmla="*/ 2147483646 w 268"/>
                      <a:gd name="T45" fmla="*/ 2147483646 h 257"/>
                      <a:gd name="T46" fmla="*/ 2147483646 w 268"/>
                      <a:gd name="T47" fmla="*/ 2147483646 h 257"/>
                      <a:gd name="T48" fmla="*/ 2147483646 w 268"/>
                      <a:gd name="T49" fmla="*/ 2147483646 h 257"/>
                      <a:gd name="T50" fmla="*/ 2147483646 w 268"/>
                      <a:gd name="T51" fmla="*/ 2147483646 h 257"/>
                      <a:gd name="T52" fmla="*/ 2147483646 w 268"/>
                      <a:gd name="T53" fmla="*/ 2147483646 h 257"/>
                      <a:gd name="T54" fmla="*/ 2147483646 w 268"/>
                      <a:gd name="T55" fmla="*/ 2147483646 h 257"/>
                      <a:gd name="T56" fmla="*/ 2147483646 w 268"/>
                      <a:gd name="T57" fmla="*/ 2147483646 h 257"/>
                      <a:gd name="T58" fmla="*/ 0 w 268"/>
                      <a:gd name="T59" fmla="*/ 2147483646 h 257"/>
                      <a:gd name="T60" fmla="*/ 2147483646 w 268"/>
                      <a:gd name="T61" fmla="*/ 2147483646 h 257"/>
                      <a:gd name="T62" fmla="*/ 2147483646 w 268"/>
                      <a:gd name="T63" fmla="*/ 2147483646 h 257"/>
                      <a:gd name="T64" fmla="*/ 2147483646 w 268"/>
                      <a:gd name="T65" fmla="*/ 2147483646 h 257"/>
                      <a:gd name="T66" fmla="*/ 2147483646 w 268"/>
                      <a:gd name="T67" fmla="*/ 2147483646 h 257"/>
                      <a:gd name="T68" fmla="*/ 2147483646 w 268"/>
                      <a:gd name="T69" fmla="*/ 2147483646 h 257"/>
                      <a:gd name="T70" fmla="*/ 2147483646 w 268"/>
                      <a:gd name="T71" fmla="*/ 2147483646 h 257"/>
                      <a:gd name="T72" fmla="*/ 2147483646 w 268"/>
                      <a:gd name="T73" fmla="*/ 2147483646 h 257"/>
                      <a:gd name="T74" fmla="*/ 2147483646 w 268"/>
                      <a:gd name="T75" fmla="*/ 2147483646 h 257"/>
                      <a:gd name="T76" fmla="*/ 2147483646 w 268"/>
                      <a:gd name="T77" fmla="*/ 2147483646 h 257"/>
                      <a:gd name="T78" fmla="*/ 2147483646 w 268"/>
                      <a:gd name="T79" fmla="*/ 2147483646 h 257"/>
                      <a:gd name="T80" fmla="*/ 2147483646 w 268"/>
                      <a:gd name="T81" fmla="*/ 2147483646 h 257"/>
                      <a:gd name="T82" fmla="*/ 2147483646 w 268"/>
                      <a:gd name="T83" fmla="*/ 2147483646 h 257"/>
                      <a:gd name="T84" fmla="*/ 2147483646 w 268"/>
                      <a:gd name="T85" fmla="*/ 2147483646 h 257"/>
                      <a:gd name="T86" fmla="*/ 2147483646 w 268"/>
                      <a:gd name="T87" fmla="*/ 2147483646 h 257"/>
                      <a:gd name="T88" fmla="*/ 2147483646 w 268"/>
                      <a:gd name="T89" fmla="*/ 2147483646 h 257"/>
                      <a:gd name="T90" fmla="*/ 2147483646 w 268"/>
                      <a:gd name="T91" fmla="*/ 2147483646 h 257"/>
                      <a:gd name="T92" fmla="*/ 2147483646 w 268"/>
                      <a:gd name="T93" fmla="*/ 2147483646 h 257"/>
                      <a:gd name="T94" fmla="*/ 2147483646 w 268"/>
                      <a:gd name="T95" fmla="*/ 2147483646 h 2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68"/>
                      <a:gd name="T145" fmla="*/ 0 h 257"/>
                      <a:gd name="T146" fmla="*/ 268 w 268"/>
                      <a:gd name="T147" fmla="*/ 257 h 2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68" h="257">
                        <a:moveTo>
                          <a:pt x="267" y="121"/>
                        </a:moveTo>
                        <a:lnTo>
                          <a:pt x="192" y="153"/>
                        </a:lnTo>
                        <a:lnTo>
                          <a:pt x="189" y="165"/>
                        </a:lnTo>
                        <a:lnTo>
                          <a:pt x="184" y="175"/>
                        </a:lnTo>
                        <a:lnTo>
                          <a:pt x="175" y="183"/>
                        </a:lnTo>
                        <a:lnTo>
                          <a:pt x="165" y="189"/>
                        </a:lnTo>
                        <a:lnTo>
                          <a:pt x="153" y="194"/>
                        </a:lnTo>
                        <a:lnTo>
                          <a:pt x="142" y="195"/>
                        </a:lnTo>
                        <a:lnTo>
                          <a:pt x="133" y="195"/>
                        </a:lnTo>
                        <a:lnTo>
                          <a:pt x="123" y="192"/>
                        </a:lnTo>
                        <a:lnTo>
                          <a:pt x="114" y="188"/>
                        </a:lnTo>
                        <a:lnTo>
                          <a:pt x="107" y="181"/>
                        </a:lnTo>
                        <a:lnTo>
                          <a:pt x="101" y="172"/>
                        </a:lnTo>
                        <a:lnTo>
                          <a:pt x="96" y="161"/>
                        </a:lnTo>
                        <a:lnTo>
                          <a:pt x="257" y="91"/>
                        </a:lnTo>
                        <a:lnTo>
                          <a:pt x="253" y="83"/>
                        </a:lnTo>
                        <a:lnTo>
                          <a:pt x="240" y="58"/>
                        </a:lnTo>
                        <a:lnTo>
                          <a:pt x="223" y="37"/>
                        </a:lnTo>
                        <a:lnTo>
                          <a:pt x="205" y="20"/>
                        </a:lnTo>
                        <a:lnTo>
                          <a:pt x="184" y="8"/>
                        </a:lnTo>
                        <a:lnTo>
                          <a:pt x="161" y="1"/>
                        </a:lnTo>
                        <a:lnTo>
                          <a:pt x="137" y="0"/>
                        </a:lnTo>
                        <a:lnTo>
                          <a:pt x="111" y="5"/>
                        </a:lnTo>
                        <a:lnTo>
                          <a:pt x="83" y="14"/>
                        </a:lnTo>
                        <a:lnTo>
                          <a:pt x="58" y="27"/>
                        </a:lnTo>
                        <a:lnTo>
                          <a:pt x="38" y="43"/>
                        </a:lnTo>
                        <a:lnTo>
                          <a:pt x="21" y="61"/>
                        </a:lnTo>
                        <a:lnTo>
                          <a:pt x="9" y="82"/>
                        </a:lnTo>
                        <a:lnTo>
                          <a:pt x="2" y="105"/>
                        </a:lnTo>
                        <a:lnTo>
                          <a:pt x="0" y="129"/>
                        </a:lnTo>
                        <a:lnTo>
                          <a:pt x="4" y="156"/>
                        </a:lnTo>
                        <a:lnTo>
                          <a:pt x="13" y="182"/>
                        </a:lnTo>
                        <a:lnTo>
                          <a:pt x="27" y="207"/>
                        </a:lnTo>
                        <a:lnTo>
                          <a:pt x="44" y="227"/>
                        </a:lnTo>
                        <a:lnTo>
                          <a:pt x="63" y="242"/>
                        </a:lnTo>
                        <a:lnTo>
                          <a:pt x="85" y="252"/>
                        </a:lnTo>
                        <a:lnTo>
                          <a:pt x="109" y="257"/>
                        </a:lnTo>
                        <a:lnTo>
                          <a:pt x="135" y="257"/>
                        </a:lnTo>
                        <a:lnTo>
                          <a:pt x="161" y="252"/>
                        </a:lnTo>
                        <a:lnTo>
                          <a:pt x="189" y="243"/>
                        </a:lnTo>
                        <a:lnTo>
                          <a:pt x="207" y="234"/>
                        </a:lnTo>
                        <a:lnTo>
                          <a:pt x="223" y="222"/>
                        </a:lnTo>
                        <a:lnTo>
                          <a:pt x="238" y="210"/>
                        </a:lnTo>
                        <a:lnTo>
                          <a:pt x="250" y="195"/>
                        </a:lnTo>
                        <a:lnTo>
                          <a:pt x="259" y="179"/>
                        </a:lnTo>
                        <a:lnTo>
                          <a:pt x="266" y="161"/>
                        </a:lnTo>
                        <a:lnTo>
                          <a:pt x="268" y="142"/>
                        </a:lnTo>
                        <a:lnTo>
                          <a:pt x="267" y="1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17" name="Freeform 285">
                    <a:extLst>
                      <a:ext uri="{FF2B5EF4-FFF2-40B4-BE49-F238E27FC236}">
                        <a16:creationId xmlns:a16="http://schemas.microsoft.com/office/drawing/2014/main" id="{0253F4EF-46F1-48CA-A47D-29586D1A919F}"/>
                      </a:ext>
                    </a:extLst>
                  </p:cNvPr>
                  <p:cNvSpPr>
                    <a:spLocks/>
                  </p:cNvSpPr>
                  <p:nvPr/>
                </p:nvSpPr>
                <p:spPr bwMode="auto">
                  <a:xfrm>
                    <a:off x="7000875" y="4899025"/>
                    <a:ext cx="71438" cy="47625"/>
                  </a:xfrm>
                  <a:custGeom>
                    <a:avLst/>
                    <a:gdLst>
                      <a:gd name="T0" fmla="*/ 2147483646 w 90"/>
                      <a:gd name="T1" fmla="*/ 2147483646 h 58"/>
                      <a:gd name="T2" fmla="*/ 2147483646 w 90"/>
                      <a:gd name="T3" fmla="*/ 2147483646 h 58"/>
                      <a:gd name="T4" fmla="*/ 2147483646 w 90"/>
                      <a:gd name="T5" fmla="*/ 0 h 58"/>
                      <a:gd name="T6" fmla="*/ 2147483646 w 90"/>
                      <a:gd name="T7" fmla="*/ 0 h 58"/>
                      <a:gd name="T8" fmla="*/ 2147483646 w 90"/>
                      <a:gd name="T9" fmla="*/ 2147483646 h 58"/>
                      <a:gd name="T10" fmla="*/ 2147483646 w 90"/>
                      <a:gd name="T11" fmla="*/ 2147483646 h 58"/>
                      <a:gd name="T12" fmla="*/ 2147483646 w 90"/>
                      <a:gd name="T13" fmla="*/ 2147483646 h 58"/>
                      <a:gd name="T14" fmla="*/ 2147483646 w 90"/>
                      <a:gd name="T15" fmla="*/ 2147483646 h 58"/>
                      <a:gd name="T16" fmla="*/ 2147483646 w 90"/>
                      <a:gd name="T17" fmla="*/ 2147483646 h 58"/>
                      <a:gd name="T18" fmla="*/ 2147483646 w 90"/>
                      <a:gd name="T19" fmla="*/ 2147483646 h 58"/>
                      <a:gd name="T20" fmla="*/ 0 w 90"/>
                      <a:gd name="T21" fmla="*/ 2147483646 h 58"/>
                      <a:gd name="T22" fmla="*/ 0 w 90"/>
                      <a:gd name="T23" fmla="*/ 2147483646 h 58"/>
                      <a:gd name="T24" fmla="*/ 2147483646 w 90"/>
                      <a:gd name="T25" fmla="*/ 2147483646 h 58"/>
                      <a:gd name="T26" fmla="*/ 2147483646 w 90"/>
                      <a:gd name="T27" fmla="*/ 2147483646 h 58"/>
                      <a:gd name="T28" fmla="*/ 2147483646 w 90"/>
                      <a:gd name="T29" fmla="*/ 2147483646 h 58"/>
                      <a:gd name="T30" fmla="*/ 2147483646 w 90"/>
                      <a:gd name="T31" fmla="*/ 2147483646 h 58"/>
                      <a:gd name="T32" fmla="*/ 2147483646 w 90"/>
                      <a:gd name="T33" fmla="*/ 2147483646 h 58"/>
                      <a:gd name="T34" fmla="*/ 2147483646 w 90"/>
                      <a:gd name="T35" fmla="*/ 2147483646 h 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58"/>
                      <a:gd name="T56" fmla="*/ 90 w 90"/>
                      <a:gd name="T57" fmla="*/ 58 h 5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58">
                        <a:moveTo>
                          <a:pt x="32" y="4"/>
                        </a:moveTo>
                        <a:lnTo>
                          <a:pt x="40" y="2"/>
                        </a:lnTo>
                        <a:lnTo>
                          <a:pt x="48" y="0"/>
                        </a:lnTo>
                        <a:lnTo>
                          <a:pt x="57" y="0"/>
                        </a:lnTo>
                        <a:lnTo>
                          <a:pt x="65" y="1"/>
                        </a:lnTo>
                        <a:lnTo>
                          <a:pt x="71" y="4"/>
                        </a:lnTo>
                        <a:lnTo>
                          <a:pt x="78" y="8"/>
                        </a:lnTo>
                        <a:lnTo>
                          <a:pt x="84" y="13"/>
                        </a:lnTo>
                        <a:lnTo>
                          <a:pt x="90" y="19"/>
                        </a:lnTo>
                        <a:lnTo>
                          <a:pt x="1" y="58"/>
                        </a:lnTo>
                        <a:lnTo>
                          <a:pt x="0" y="49"/>
                        </a:lnTo>
                        <a:lnTo>
                          <a:pt x="0" y="41"/>
                        </a:lnTo>
                        <a:lnTo>
                          <a:pt x="2" y="33"/>
                        </a:lnTo>
                        <a:lnTo>
                          <a:pt x="6" y="26"/>
                        </a:lnTo>
                        <a:lnTo>
                          <a:pt x="10" y="19"/>
                        </a:lnTo>
                        <a:lnTo>
                          <a:pt x="17" y="13"/>
                        </a:lnTo>
                        <a:lnTo>
                          <a:pt x="24" y="8"/>
                        </a:lnTo>
                        <a:lnTo>
                          <a:pt x="3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18" name="Freeform 286">
                    <a:extLst>
                      <a:ext uri="{FF2B5EF4-FFF2-40B4-BE49-F238E27FC236}">
                        <a16:creationId xmlns:a16="http://schemas.microsoft.com/office/drawing/2014/main" id="{B342C242-D1F1-43FF-B538-4E92FB59CDE2}"/>
                      </a:ext>
                    </a:extLst>
                  </p:cNvPr>
                  <p:cNvSpPr>
                    <a:spLocks/>
                  </p:cNvSpPr>
                  <p:nvPr/>
                </p:nvSpPr>
                <p:spPr bwMode="auto">
                  <a:xfrm>
                    <a:off x="7115175" y="4665663"/>
                    <a:ext cx="158750" cy="322262"/>
                  </a:xfrm>
                  <a:custGeom>
                    <a:avLst/>
                    <a:gdLst>
                      <a:gd name="T0" fmla="*/ 2147483646 w 199"/>
                      <a:gd name="T1" fmla="*/ 2147483646 h 405"/>
                      <a:gd name="T2" fmla="*/ 2147483646 w 199"/>
                      <a:gd name="T3" fmla="*/ 2147483646 h 405"/>
                      <a:gd name="T4" fmla="*/ 2147483646 w 199"/>
                      <a:gd name="T5" fmla="*/ 2147483646 h 405"/>
                      <a:gd name="T6" fmla="*/ 2147483646 w 199"/>
                      <a:gd name="T7" fmla="*/ 2147483646 h 405"/>
                      <a:gd name="T8" fmla="*/ 2147483646 w 199"/>
                      <a:gd name="T9" fmla="*/ 2147483646 h 405"/>
                      <a:gd name="T10" fmla="*/ 2147483646 w 199"/>
                      <a:gd name="T11" fmla="*/ 2147483646 h 405"/>
                      <a:gd name="T12" fmla="*/ 2147483646 w 199"/>
                      <a:gd name="T13" fmla="*/ 2147483646 h 405"/>
                      <a:gd name="T14" fmla="*/ 2147483646 w 199"/>
                      <a:gd name="T15" fmla="*/ 2147483646 h 405"/>
                      <a:gd name="T16" fmla="*/ 2147483646 w 199"/>
                      <a:gd name="T17" fmla="*/ 2147483646 h 405"/>
                      <a:gd name="T18" fmla="*/ 2147483646 w 199"/>
                      <a:gd name="T19" fmla="*/ 0 h 405"/>
                      <a:gd name="T20" fmla="*/ 2147483646 w 199"/>
                      <a:gd name="T21" fmla="*/ 0 h 405"/>
                      <a:gd name="T22" fmla="*/ 2147483646 w 199"/>
                      <a:gd name="T23" fmla="*/ 0 h 405"/>
                      <a:gd name="T24" fmla="*/ 2147483646 w 199"/>
                      <a:gd name="T25" fmla="*/ 0 h 405"/>
                      <a:gd name="T26" fmla="*/ 2147483646 w 199"/>
                      <a:gd name="T27" fmla="*/ 2147483646 h 405"/>
                      <a:gd name="T28" fmla="*/ 2147483646 w 199"/>
                      <a:gd name="T29" fmla="*/ 2147483646 h 405"/>
                      <a:gd name="T30" fmla="*/ 2147483646 w 199"/>
                      <a:gd name="T31" fmla="*/ 2147483646 h 405"/>
                      <a:gd name="T32" fmla="*/ 2147483646 w 199"/>
                      <a:gd name="T33" fmla="*/ 2147483646 h 405"/>
                      <a:gd name="T34" fmla="*/ 2147483646 w 199"/>
                      <a:gd name="T35" fmla="*/ 2147483646 h 405"/>
                      <a:gd name="T36" fmla="*/ 2147483646 w 199"/>
                      <a:gd name="T37" fmla="*/ 2147483646 h 405"/>
                      <a:gd name="T38" fmla="*/ 2147483646 w 199"/>
                      <a:gd name="T39" fmla="*/ 2147483646 h 405"/>
                      <a:gd name="T40" fmla="*/ 2147483646 w 199"/>
                      <a:gd name="T41" fmla="*/ 2147483646 h 405"/>
                      <a:gd name="T42" fmla="*/ 2147483646 w 199"/>
                      <a:gd name="T43" fmla="*/ 2147483646 h 405"/>
                      <a:gd name="T44" fmla="*/ 2147483646 w 199"/>
                      <a:gd name="T45" fmla="*/ 2147483646 h 405"/>
                      <a:gd name="T46" fmla="*/ 2147483646 w 199"/>
                      <a:gd name="T47" fmla="*/ 2147483646 h 405"/>
                      <a:gd name="T48" fmla="*/ 2147483646 w 199"/>
                      <a:gd name="T49" fmla="*/ 2147483646 h 405"/>
                      <a:gd name="T50" fmla="*/ 2147483646 w 199"/>
                      <a:gd name="T51" fmla="*/ 2147483646 h 405"/>
                      <a:gd name="T52" fmla="*/ 0 w 199"/>
                      <a:gd name="T53" fmla="*/ 2147483646 h 405"/>
                      <a:gd name="T54" fmla="*/ 2147483646 w 199"/>
                      <a:gd name="T55" fmla="*/ 2147483646 h 405"/>
                      <a:gd name="T56" fmla="*/ 2147483646 w 199"/>
                      <a:gd name="T57" fmla="*/ 2147483646 h 405"/>
                      <a:gd name="T58" fmla="*/ 2147483646 w 199"/>
                      <a:gd name="T59" fmla="*/ 2147483646 h 405"/>
                      <a:gd name="T60" fmla="*/ 2147483646 w 199"/>
                      <a:gd name="T61" fmla="*/ 2147483646 h 405"/>
                      <a:gd name="T62" fmla="*/ 0 w 199"/>
                      <a:gd name="T63" fmla="*/ 2147483646 h 405"/>
                      <a:gd name="T64" fmla="*/ 2147483646 w 199"/>
                      <a:gd name="T65" fmla="*/ 2147483646 h 405"/>
                      <a:gd name="T66" fmla="*/ 2147483646 w 199"/>
                      <a:gd name="T67" fmla="*/ 2147483646 h 405"/>
                      <a:gd name="T68" fmla="*/ 2147483646 w 199"/>
                      <a:gd name="T69" fmla="*/ 2147483646 h 405"/>
                      <a:gd name="T70" fmla="*/ 2147483646 w 199"/>
                      <a:gd name="T71" fmla="*/ 2147483646 h 405"/>
                      <a:gd name="T72" fmla="*/ 2147483646 w 199"/>
                      <a:gd name="T73" fmla="*/ 2147483646 h 405"/>
                      <a:gd name="T74" fmla="*/ 2147483646 w 199"/>
                      <a:gd name="T75" fmla="*/ 2147483646 h 405"/>
                      <a:gd name="T76" fmla="*/ 2147483646 w 199"/>
                      <a:gd name="T77" fmla="*/ 2147483646 h 405"/>
                      <a:gd name="T78" fmla="*/ 2147483646 w 199"/>
                      <a:gd name="T79" fmla="*/ 2147483646 h 405"/>
                      <a:gd name="T80" fmla="*/ 2147483646 w 199"/>
                      <a:gd name="T81" fmla="*/ 2147483646 h 40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9"/>
                      <a:gd name="T124" fmla="*/ 0 h 405"/>
                      <a:gd name="T125" fmla="*/ 199 w 199"/>
                      <a:gd name="T126" fmla="*/ 405 h 40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9" h="405">
                        <a:moveTo>
                          <a:pt x="89" y="120"/>
                        </a:moveTo>
                        <a:lnTo>
                          <a:pt x="83" y="102"/>
                        </a:lnTo>
                        <a:lnTo>
                          <a:pt x="83" y="88"/>
                        </a:lnTo>
                        <a:lnTo>
                          <a:pt x="89" y="78"/>
                        </a:lnTo>
                        <a:lnTo>
                          <a:pt x="100" y="71"/>
                        </a:lnTo>
                        <a:lnTo>
                          <a:pt x="108" y="69"/>
                        </a:lnTo>
                        <a:lnTo>
                          <a:pt x="115" y="67"/>
                        </a:lnTo>
                        <a:lnTo>
                          <a:pt x="122" y="67"/>
                        </a:lnTo>
                        <a:lnTo>
                          <a:pt x="130" y="67"/>
                        </a:lnTo>
                        <a:lnTo>
                          <a:pt x="101" y="0"/>
                        </a:lnTo>
                        <a:lnTo>
                          <a:pt x="97" y="0"/>
                        </a:lnTo>
                        <a:lnTo>
                          <a:pt x="92" y="0"/>
                        </a:lnTo>
                        <a:lnTo>
                          <a:pt x="88" y="0"/>
                        </a:lnTo>
                        <a:lnTo>
                          <a:pt x="83" y="1"/>
                        </a:lnTo>
                        <a:lnTo>
                          <a:pt x="78" y="2"/>
                        </a:lnTo>
                        <a:lnTo>
                          <a:pt x="75" y="3"/>
                        </a:lnTo>
                        <a:lnTo>
                          <a:pt x="70" y="5"/>
                        </a:lnTo>
                        <a:lnTo>
                          <a:pt x="66" y="7"/>
                        </a:lnTo>
                        <a:lnTo>
                          <a:pt x="55" y="12"/>
                        </a:lnTo>
                        <a:lnTo>
                          <a:pt x="45" y="18"/>
                        </a:lnTo>
                        <a:lnTo>
                          <a:pt x="36" y="25"/>
                        </a:lnTo>
                        <a:lnTo>
                          <a:pt x="28" y="33"/>
                        </a:lnTo>
                        <a:lnTo>
                          <a:pt x="20" y="42"/>
                        </a:lnTo>
                        <a:lnTo>
                          <a:pt x="14" y="53"/>
                        </a:lnTo>
                        <a:lnTo>
                          <a:pt x="9" y="63"/>
                        </a:lnTo>
                        <a:lnTo>
                          <a:pt x="5" y="75"/>
                        </a:lnTo>
                        <a:lnTo>
                          <a:pt x="0" y="98"/>
                        </a:lnTo>
                        <a:lnTo>
                          <a:pt x="1" y="118"/>
                        </a:lnTo>
                        <a:lnTo>
                          <a:pt x="7" y="139"/>
                        </a:lnTo>
                        <a:lnTo>
                          <a:pt x="15" y="160"/>
                        </a:lnTo>
                        <a:lnTo>
                          <a:pt x="28" y="187"/>
                        </a:lnTo>
                        <a:lnTo>
                          <a:pt x="0" y="199"/>
                        </a:lnTo>
                        <a:lnTo>
                          <a:pt x="28" y="264"/>
                        </a:lnTo>
                        <a:lnTo>
                          <a:pt x="55" y="251"/>
                        </a:lnTo>
                        <a:lnTo>
                          <a:pt x="122" y="405"/>
                        </a:lnTo>
                        <a:lnTo>
                          <a:pt x="199" y="372"/>
                        </a:lnTo>
                        <a:lnTo>
                          <a:pt x="132" y="217"/>
                        </a:lnTo>
                        <a:lnTo>
                          <a:pt x="185" y="194"/>
                        </a:lnTo>
                        <a:lnTo>
                          <a:pt x="158" y="131"/>
                        </a:lnTo>
                        <a:lnTo>
                          <a:pt x="105" y="154"/>
                        </a:lnTo>
                        <a:lnTo>
                          <a:pt x="89"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19" name="Freeform 287">
                    <a:extLst>
                      <a:ext uri="{FF2B5EF4-FFF2-40B4-BE49-F238E27FC236}">
                        <a16:creationId xmlns:a16="http://schemas.microsoft.com/office/drawing/2014/main" id="{019818B1-9FAC-4C3A-929C-6AE19696CCB7}"/>
                      </a:ext>
                    </a:extLst>
                  </p:cNvPr>
                  <p:cNvSpPr>
                    <a:spLocks/>
                  </p:cNvSpPr>
                  <p:nvPr/>
                </p:nvSpPr>
                <p:spPr bwMode="auto">
                  <a:xfrm>
                    <a:off x="7278688" y="4703763"/>
                    <a:ext cx="222250" cy="206375"/>
                  </a:xfrm>
                  <a:custGeom>
                    <a:avLst/>
                    <a:gdLst>
                      <a:gd name="T0" fmla="*/ 2147483646 w 281"/>
                      <a:gd name="T1" fmla="*/ 2147483646 h 260"/>
                      <a:gd name="T2" fmla="*/ 2147483646 w 281"/>
                      <a:gd name="T3" fmla="*/ 2147483646 h 260"/>
                      <a:gd name="T4" fmla="*/ 2147483646 w 281"/>
                      <a:gd name="T5" fmla="*/ 2147483646 h 260"/>
                      <a:gd name="T6" fmla="*/ 2147483646 w 281"/>
                      <a:gd name="T7" fmla="*/ 2147483646 h 260"/>
                      <a:gd name="T8" fmla="*/ 2147483646 w 281"/>
                      <a:gd name="T9" fmla="*/ 2147483646 h 260"/>
                      <a:gd name="T10" fmla="*/ 2147483646 w 281"/>
                      <a:gd name="T11" fmla="*/ 2147483646 h 260"/>
                      <a:gd name="T12" fmla="*/ 2147483646 w 281"/>
                      <a:gd name="T13" fmla="*/ 2147483646 h 260"/>
                      <a:gd name="T14" fmla="*/ 2147483646 w 281"/>
                      <a:gd name="T15" fmla="*/ 2147483646 h 260"/>
                      <a:gd name="T16" fmla="*/ 2147483646 w 281"/>
                      <a:gd name="T17" fmla="*/ 2147483646 h 260"/>
                      <a:gd name="T18" fmla="*/ 2147483646 w 281"/>
                      <a:gd name="T19" fmla="*/ 2147483646 h 260"/>
                      <a:gd name="T20" fmla="*/ 2147483646 w 281"/>
                      <a:gd name="T21" fmla="*/ 2147483646 h 260"/>
                      <a:gd name="T22" fmla="*/ 2147483646 w 281"/>
                      <a:gd name="T23" fmla="*/ 2147483646 h 260"/>
                      <a:gd name="T24" fmla="*/ 2147483646 w 281"/>
                      <a:gd name="T25" fmla="*/ 2147483646 h 260"/>
                      <a:gd name="T26" fmla="*/ 2147483646 w 281"/>
                      <a:gd name="T27" fmla="*/ 0 h 260"/>
                      <a:gd name="T28" fmla="*/ 2147483646 w 281"/>
                      <a:gd name="T29" fmla="*/ 2147483646 h 260"/>
                      <a:gd name="T30" fmla="*/ 2147483646 w 281"/>
                      <a:gd name="T31" fmla="*/ 2147483646 h 260"/>
                      <a:gd name="T32" fmla="*/ 2147483646 w 281"/>
                      <a:gd name="T33" fmla="*/ 2147483646 h 260"/>
                      <a:gd name="T34" fmla="*/ 2147483646 w 281"/>
                      <a:gd name="T35" fmla="*/ 2147483646 h 260"/>
                      <a:gd name="T36" fmla="*/ 2147483646 w 281"/>
                      <a:gd name="T37" fmla="*/ 2147483646 h 260"/>
                      <a:gd name="T38" fmla="*/ 2147483646 w 281"/>
                      <a:gd name="T39" fmla="*/ 2147483646 h 260"/>
                      <a:gd name="T40" fmla="*/ 2147483646 w 281"/>
                      <a:gd name="T41" fmla="*/ 2147483646 h 260"/>
                      <a:gd name="T42" fmla="*/ 2147483646 w 281"/>
                      <a:gd name="T43" fmla="*/ 2147483646 h 260"/>
                      <a:gd name="T44" fmla="*/ 0 w 281"/>
                      <a:gd name="T45" fmla="*/ 2147483646 h 260"/>
                      <a:gd name="T46" fmla="*/ 2147483646 w 281"/>
                      <a:gd name="T47" fmla="*/ 2147483646 h 260"/>
                      <a:gd name="T48" fmla="*/ 2147483646 w 281"/>
                      <a:gd name="T49" fmla="*/ 2147483646 h 260"/>
                      <a:gd name="T50" fmla="*/ 2147483646 w 281"/>
                      <a:gd name="T51" fmla="*/ 2147483646 h 260"/>
                      <a:gd name="T52" fmla="*/ 2147483646 w 281"/>
                      <a:gd name="T53" fmla="*/ 2147483646 h 260"/>
                      <a:gd name="T54" fmla="*/ 2147483646 w 281"/>
                      <a:gd name="T55" fmla="*/ 2147483646 h 260"/>
                      <a:gd name="T56" fmla="*/ 2147483646 w 281"/>
                      <a:gd name="T57" fmla="*/ 2147483646 h 260"/>
                      <a:gd name="T58" fmla="*/ 2147483646 w 281"/>
                      <a:gd name="T59" fmla="*/ 2147483646 h 260"/>
                      <a:gd name="T60" fmla="*/ 2147483646 w 281"/>
                      <a:gd name="T61" fmla="*/ 2147483646 h 260"/>
                      <a:gd name="T62" fmla="*/ 2147483646 w 281"/>
                      <a:gd name="T63" fmla="*/ 2147483646 h 260"/>
                      <a:gd name="T64" fmla="*/ 2147483646 w 281"/>
                      <a:gd name="T65" fmla="*/ 2147483646 h 26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1"/>
                      <a:gd name="T100" fmla="*/ 0 h 260"/>
                      <a:gd name="T101" fmla="*/ 281 w 281"/>
                      <a:gd name="T102" fmla="*/ 260 h 26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1" h="260">
                        <a:moveTo>
                          <a:pt x="190" y="247"/>
                        </a:moveTo>
                        <a:lnTo>
                          <a:pt x="215" y="234"/>
                        </a:lnTo>
                        <a:lnTo>
                          <a:pt x="237" y="218"/>
                        </a:lnTo>
                        <a:lnTo>
                          <a:pt x="255" y="198"/>
                        </a:lnTo>
                        <a:lnTo>
                          <a:pt x="268" y="176"/>
                        </a:lnTo>
                        <a:lnTo>
                          <a:pt x="278" y="153"/>
                        </a:lnTo>
                        <a:lnTo>
                          <a:pt x="281" y="128"/>
                        </a:lnTo>
                        <a:lnTo>
                          <a:pt x="280" y="101"/>
                        </a:lnTo>
                        <a:lnTo>
                          <a:pt x="271" y="74"/>
                        </a:lnTo>
                        <a:lnTo>
                          <a:pt x="257" y="48"/>
                        </a:lnTo>
                        <a:lnTo>
                          <a:pt x="238" y="29"/>
                        </a:lnTo>
                        <a:lnTo>
                          <a:pt x="218" y="15"/>
                        </a:lnTo>
                        <a:lnTo>
                          <a:pt x="195" y="5"/>
                        </a:lnTo>
                        <a:lnTo>
                          <a:pt x="169" y="0"/>
                        </a:lnTo>
                        <a:lnTo>
                          <a:pt x="144" y="1"/>
                        </a:lnTo>
                        <a:lnTo>
                          <a:pt x="118" y="6"/>
                        </a:lnTo>
                        <a:lnTo>
                          <a:pt x="91" y="15"/>
                        </a:lnTo>
                        <a:lnTo>
                          <a:pt x="66" y="28"/>
                        </a:lnTo>
                        <a:lnTo>
                          <a:pt x="44" y="44"/>
                        </a:lnTo>
                        <a:lnTo>
                          <a:pt x="27" y="63"/>
                        </a:lnTo>
                        <a:lnTo>
                          <a:pt x="13" y="84"/>
                        </a:lnTo>
                        <a:lnTo>
                          <a:pt x="4" y="108"/>
                        </a:lnTo>
                        <a:lnTo>
                          <a:pt x="0" y="134"/>
                        </a:lnTo>
                        <a:lnTo>
                          <a:pt x="1" y="160"/>
                        </a:lnTo>
                        <a:lnTo>
                          <a:pt x="10" y="188"/>
                        </a:lnTo>
                        <a:lnTo>
                          <a:pt x="24" y="213"/>
                        </a:lnTo>
                        <a:lnTo>
                          <a:pt x="43" y="233"/>
                        </a:lnTo>
                        <a:lnTo>
                          <a:pt x="63" y="247"/>
                        </a:lnTo>
                        <a:lnTo>
                          <a:pt x="86" y="256"/>
                        </a:lnTo>
                        <a:lnTo>
                          <a:pt x="112" y="260"/>
                        </a:lnTo>
                        <a:lnTo>
                          <a:pt x="137" y="260"/>
                        </a:lnTo>
                        <a:lnTo>
                          <a:pt x="164" y="256"/>
                        </a:lnTo>
                        <a:lnTo>
                          <a:pt x="190" y="2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20" name="Freeform 288">
                    <a:extLst>
                      <a:ext uri="{FF2B5EF4-FFF2-40B4-BE49-F238E27FC236}">
                        <a16:creationId xmlns:a16="http://schemas.microsoft.com/office/drawing/2014/main" id="{5597C862-FF1A-4D0B-B5AD-BDB179954ACA}"/>
                      </a:ext>
                    </a:extLst>
                  </p:cNvPr>
                  <p:cNvSpPr>
                    <a:spLocks/>
                  </p:cNvSpPr>
                  <p:nvPr/>
                </p:nvSpPr>
                <p:spPr bwMode="auto">
                  <a:xfrm>
                    <a:off x="7346950" y="4764088"/>
                    <a:ext cx="85725" cy="87312"/>
                  </a:xfrm>
                  <a:custGeom>
                    <a:avLst/>
                    <a:gdLst>
                      <a:gd name="T0" fmla="*/ 2147483646 w 109"/>
                      <a:gd name="T1" fmla="*/ 2147483646 h 110"/>
                      <a:gd name="T2" fmla="*/ 2147483646 w 109"/>
                      <a:gd name="T3" fmla="*/ 2147483646 h 110"/>
                      <a:gd name="T4" fmla="*/ 2147483646 w 109"/>
                      <a:gd name="T5" fmla="*/ 0 h 110"/>
                      <a:gd name="T6" fmla="*/ 2147483646 w 109"/>
                      <a:gd name="T7" fmla="*/ 2147483646 h 110"/>
                      <a:gd name="T8" fmla="*/ 2147483646 w 109"/>
                      <a:gd name="T9" fmla="*/ 2147483646 h 110"/>
                      <a:gd name="T10" fmla="*/ 2147483646 w 109"/>
                      <a:gd name="T11" fmla="*/ 2147483646 h 110"/>
                      <a:gd name="T12" fmla="*/ 2147483646 w 109"/>
                      <a:gd name="T13" fmla="*/ 2147483646 h 110"/>
                      <a:gd name="T14" fmla="*/ 2147483646 w 109"/>
                      <a:gd name="T15" fmla="*/ 2147483646 h 110"/>
                      <a:gd name="T16" fmla="*/ 2147483646 w 109"/>
                      <a:gd name="T17" fmla="*/ 2147483646 h 110"/>
                      <a:gd name="T18" fmla="*/ 2147483646 w 109"/>
                      <a:gd name="T19" fmla="*/ 2147483646 h 110"/>
                      <a:gd name="T20" fmla="*/ 2147483646 w 109"/>
                      <a:gd name="T21" fmla="*/ 2147483646 h 110"/>
                      <a:gd name="T22" fmla="*/ 2147483646 w 109"/>
                      <a:gd name="T23" fmla="*/ 2147483646 h 110"/>
                      <a:gd name="T24" fmla="*/ 2147483646 w 109"/>
                      <a:gd name="T25" fmla="*/ 2147483646 h 110"/>
                      <a:gd name="T26" fmla="*/ 2147483646 w 109"/>
                      <a:gd name="T27" fmla="*/ 2147483646 h 110"/>
                      <a:gd name="T28" fmla="*/ 2147483646 w 109"/>
                      <a:gd name="T29" fmla="*/ 2147483646 h 110"/>
                      <a:gd name="T30" fmla="*/ 2147483646 w 109"/>
                      <a:gd name="T31" fmla="*/ 2147483646 h 110"/>
                      <a:gd name="T32" fmla="*/ 2147483646 w 109"/>
                      <a:gd name="T33" fmla="*/ 2147483646 h 110"/>
                      <a:gd name="T34" fmla="*/ 2147483646 w 109"/>
                      <a:gd name="T35" fmla="*/ 2147483646 h 110"/>
                      <a:gd name="T36" fmla="*/ 2147483646 w 109"/>
                      <a:gd name="T37" fmla="*/ 2147483646 h 110"/>
                      <a:gd name="T38" fmla="*/ 2147483646 w 109"/>
                      <a:gd name="T39" fmla="*/ 2147483646 h 110"/>
                      <a:gd name="T40" fmla="*/ 2147483646 w 109"/>
                      <a:gd name="T41" fmla="*/ 2147483646 h 110"/>
                      <a:gd name="T42" fmla="*/ 2147483646 w 109"/>
                      <a:gd name="T43" fmla="*/ 2147483646 h 110"/>
                      <a:gd name="T44" fmla="*/ 2147483646 w 109"/>
                      <a:gd name="T45" fmla="*/ 2147483646 h 110"/>
                      <a:gd name="T46" fmla="*/ 2147483646 w 109"/>
                      <a:gd name="T47" fmla="*/ 2147483646 h 110"/>
                      <a:gd name="T48" fmla="*/ 2147483646 w 109"/>
                      <a:gd name="T49" fmla="*/ 2147483646 h 110"/>
                      <a:gd name="T50" fmla="*/ 2147483646 w 109"/>
                      <a:gd name="T51" fmla="*/ 2147483646 h 110"/>
                      <a:gd name="T52" fmla="*/ 0 w 109"/>
                      <a:gd name="T53" fmla="*/ 2147483646 h 110"/>
                      <a:gd name="T54" fmla="*/ 2147483646 w 109"/>
                      <a:gd name="T55" fmla="*/ 2147483646 h 110"/>
                      <a:gd name="T56" fmla="*/ 2147483646 w 109"/>
                      <a:gd name="T57" fmla="*/ 2147483646 h 110"/>
                      <a:gd name="T58" fmla="*/ 2147483646 w 109"/>
                      <a:gd name="T59" fmla="*/ 2147483646 h 110"/>
                      <a:gd name="T60" fmla="*/ 2147483646 w 109"/>
                      <a:gd name="T61" fmla="*/ 2147483646 h 110"/>
                      <a:gd name="T62" fmla="*/ 2147483646 w 109"/>
                      <a:gd name="T63" fmla="*/ 2147483646 h 110"/>
                      <a:gd name="T64" fmla="*/ 2147483646 w 109"/>
                      <a:gd name="T65" fmla="*/ 2147483646 h 11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9"/>
                      <a:gd name="T100" fmla="*/ 0 h 110"/>
                      <a:gd name="T101" fmla="*/ 109 w 109"/>
                      <a:gd name="T102" fmla="*/ 110 h 11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9" h="110">
                        <a:moveTo>
                          <a:pt x="33" y="6"/>
                        </a:moveTo>
                        <a:lnTo>
                          <a:pt x="44" y="2"/>
                        </a:lnTo>
                        <a:lnTo>
                          <a:pt x="56" y="0"/>
                        </a:lnTo>
                        <a:lnTo>
                          <a:pt x="66" y="1"/>
                        </a:lnTo>
                        <a:lnTo>
                          <a:pt x="75" y="5"/>
                        </a:lnTo>
                        <a:lnTo>
                          <a:pt x="85" y="9"/>
                        </a:lnTo>
                        <a:lnTo>
                          <a:pt x="93" y="16"/>
                        </a:lnTo>
                        <a:lnTo>
                          <a:pt x="99" y="24"/>
                        </a:lnTo>
                        <a:lnTo>
                          <a:pt x="104" y="34"/>
                        </a:lnTo>
                        <a:lnTo>
                          <a:pt x="108" y="44"/>
                        </a:lnTo>
                        <a:lnTo>
                          <a:pt x="109" y="54"/>
                        </a:lnTo>
                        <a:lnTo>
                          <a:pt x="109" y="65"/>
                        </a:lnTo>
                        <a:lnTo>
                          <a:pt x="105" y="74"/>
                        </a:lnTo>
                        <a:lnTo>
                          <a:pt x="101" y="83"/>
                        </a:lnTo>
                        <a:lnTo>
                          <a:pt x="95" y="91"/>
                        </a:lnTo>
                        <a:lnTo>
                          <a:pt x="86" y="98"/>
                        </a:lnTo>
                        <a:lnTo>
                          <a:pt x="75" y="104"/>
                        </a:lnTo>
                        <a:lnTo>
                          <a:pt x="64" y="107"/>
                        </a:lnTo>
                        <a:lnTo>
                          <a:pt x="53" y="110"/>
                        </a:lnTo>
                        <a:lnTo>
                          <a:pt x="43" y="108"/>
                        </a:lnTo>
                        <a:lnTo>
                          <a:pt x="34" y="105"/>
                        </a:lnTo>
                        <a:lnTo>
                          <a:pt x="25" y="100"/>
                        </a:lnTo>
                        <a:lnTo>
                          <a:pt x="18" y="95"/>
                        </a:lnTo>
                        <a:lnTo>
                          <a:pt x="11" y="85"/>
                        </a:lnTo>
                        <a:lnTo>
                          <a:pt x="6" y="76"/>
                        </a:lnTo>
                        <a:lnTo>
                          <a:pt x="3" y="66"/>
                        </a:lnTo>
                        <a:lnTo>
                          <a:pt x="0" y="55"/>
                        </a:lnTo>
                        <a:lnTo>
                          <a:pt x="2" y="46"/>
                        </a:lnTo>
                        <a:lnTo>
                          <a:pt x="4" y="36"/>
                        </a:lnTo>
                        <a:lnTo>
                          <a:pt x="7" y="28"/>
                        </a:lnTo>
                        <a:lnTo>
                          <a:pt x="14" y="19"/>
                        </a:lnTo>
                        <a:lnTo>
                          <a:pt x="22" y="12"/>
                        </a:lnTo>
                        <a:lnTo>
                          <a:pt x="33"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21" name="Freeform 289">
                    <a:extLst>
                      <a:ext uri="{FF2B5EF4-FFF2-40B4-BE49-F238E27FC236}">
                        <a16:creationId xmlns:a16="http://schemas.microsoft.com/office/drawing/2014/main" id="{08240788-E923-462A-9812-44013EEEAB4C}"/>
                      </a:ext>
                    </a:extLst>
                  </p:cNvPr>
                  <p:cNvSpPr>
                    <a:spLocks/>
                  </p:cNvSpPr>
                  <p:nvPr/>
                </p:nvSpPr>
                <p:spPr bwMode="auto">
                  <a:xfrm>
                    <a:off x="7466013" y="4603750"/>
                    <a:ext cx="120650" cy="230187"/>
                  </a:xfrm>
                  <a:custGeom>
                    <a:avLst/>
                    <a:gdLst>
                      <a:gd name="T0" fmla="*/ 2147483646 w 151"/>
                      <a:gd name="T1" fmla="*/ 2147483646 h 290"/>
                      <a:gd name="T2" fmla="*/ 2147483646 w 151"/>
                      <a:gd name="T3" fmla="*/ 2147483646 h 290"/>
                      <a:gd name="T4" fmla="*/ 2147483646 w 151"/>
                      <a:gd name="T5" fmla="*/ 2147483646 h 290"/>
                      <a:gd name="T6" fmla="*/ 2147483646 w 151"/>
                      <a:gd name="T7" fmla="*/ 2147483646 h 290"/>
                      <a:gd name="T8" fmla="*/ 2147483646 w 151"/>
                      <a:gd name="T9" fmla="*/ 2147483646 h 290"/>
                      <a:gd name="T10" fmla="*/ 2147483646 w 151"/>
                      <a:gd name="T11" fmla="*/ 2147483646 h 290"/>
                      <a:gd name="T12" fmla="*/ 2147483646 w 151"/>
                      <a:gd name="T13" fmla="*/ 2147483646 h 290"/>
                      <a:gd name="T14" fmla="*/ 2147483646 w 151"/>
                      <a:gd name="T15" fmla="*/ 2147483646 h 290"/>
                      <a:gd name="T16" fmla="*/ 2147483646 w 151"/>
                      <a:gd name="T17" fmla="*/ 2147483646 h 290"/>
                      <a:gd name="T18" fmla="*/ 2147483646 w 151"/>
                      <a:gd name="T19" fmla="*/ 2147483646 h 290"/>
                      <a:gd name="T20" fmla="*/ 2147483646 w 151"/>
                      <a:gd name="T21" fmla="*/ 2147483646 h 290"/>
                      <a:gd name="T22" fmla="*/ 2147483646 w 151"/>
                      <a:gd name="T23" fmla="*/ 2147483646 h 290"/>
                      <a:gd name="T24" fmla="*/ 2147483646 w 151"/>
                      <a:gd name="T25" fmla="*/ 2147483646 h 290"/>
                      <a:gd name="T26" fmla="*/ 2147483646 w 151"/>
                      <a:gd name="T27" fmla="*/ 2147483646 h 290"/>
                      <a:gd name="T28" fmla="*/ 2147483646 w 151"/>
                      <a:gd name="T29" fmla="*/ 2147483646 h 290"/>
                      <a:gd name="T30" fmla="*/ 2147483646 w 151"/>
                      <a:gd name="T31" fmla="*/ 2147483646 h 290"/>
                      <a:gd name="T32" fmla="*/ 2147483646 w 151"/>
                      <a:gd name="T33" fmla="*/ 2147483646 h 290"/>
                      <a:gd name="T34" fmla="*/ 2147483646 w 151"/>
                      <a:gd name="T35" fmla="*/ 0 h 290"/>
                      <a:gd name="T36" fmla="*/ 0 w 151"/>
                      <a:gd name="T37" fmla="*/ 2147483646 h 290"/>
                      <a:gd name="T38" fmla="*/ 2147483646 w 151"/>
                      <a:gd name="T39" fmla="*/ 2147483646 h 2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1"/>
                      <a:gd name="T61" fmla="*/ 0 h 290"/>
                      <a:gd name="T62" fmla="*/ 151 w 151"/>
                      <a:gd name="T63" fmla="*/ 290 h 29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1" h="290">
                        <a:moveTo>
                          <a:pt x="29" y="72"/>
                        </a:moveTo>
                        <a:lnTo>
                          <a:pt x="4" y="82"/>
                        </a:lnTo>
                        <a:lnTo>
                          <a:pt x="31" y="146"/>
                        </a:lnTo>
                        <a:lnTo>
                          <a:pt x="57" y="135"/>
                        </a:lnTo>
                        <a:lnTo>
                          <a:pt x="122" y="290"/>
                        </a:lnTo>
                        <a:lnTo>
                          <a:pt x="151" y="277"/>
                        </a:lnTo>
                        <a:lnTo>
                          <a:pt x="143" y="244"/>
                        </a:lnTo>
                        <a:lnTo>
                          <a:pt x="134" y="209"/>
                        </a:lnTo>
                        <a:lnTo>
                          <a:pt x="122" y="177"/>
                        </a:lnTo>
                        <a:lnTo>
                          <a:pt x="109" y="144"/>
                        </a:lnTo>
                        <a:lnTo>
                          <a:pt x="94" y="112"/>
                        </a:lnTo>
                        <a:lnTo>
                          <a:pt x="76" y="81"/>
                        </a:lnTo>
                        <a:lnTo>
                          <a:pt x="57" y="51"/>
                        </a:lnTo>
                        <a:lnTo>
                          <a:pt x="35" y="21"/>
                        </a:lnTo>
                        <a:lnTo>
                          <a:pt x="30" y="16"/>
                        </a:lnTo>
                        <a:lnTo>
                          <a:pt x="26" y="10"/>
                        </a:lnTo>
                        <a:lnTo>
                          <a:pt x="21" y="5"/>
                        </a:lnTo>
                        <a:lnTo>
                          <a:pt x="16" y="0"/>
                        </a:lnTo>
                        <a:lnTo>
                          <a:pt x="0" y="6"/>
                        </a:lnTo>
                        <a:lnTo>
                          <a:pt x="29"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522" name="Freeform 290">
                    <a:extLst>
                      <a:ext uri="{FF2B5EF4-FFF2-40B4-BE49-F238E27FC236}">
                        <a16:creationId xmlns:a16="http://schemas.microsoft.com/office/drawing/2014/main" id="{23485C0D-8397-4348-AA07-C6FC458B7B0A}"/>
                      </a:ext>
                    </a:extLst>
                  </p:cNvPr>
                  <p:cNvSpPr>
                    <a:spLocks/>
                  </p:cNvSpPr>
                  <p:nvPr/>
                </p:nvSpPr>
                <p:spPr bwMode="auto">
                  <a:xfrm>
                    <a:off x="6253163" y="5384800"/>
                    <a:ext cx="206375" cy="247650"/>
                  </a:xfrm>
                  <a:custGeom>
                    <a:avLst/>
                    <a:gdLst>
                      <a:gd name="T0" fmla="*/ 0 w 259"/>
                      <a:gd name="T1" fmla="*/ 2147483646 h 314"/>
                      <a:gd name="T2" fmla="*/ 2147483646 w 259"/>
                      <a:gd name="T3" fmla="*/ 2147483646 h 314"/>
                      <a:gd name="T4" fmla="*/ 2147483646 w 259"/>
                      <a:gd name="T5" fmla="*/ 2147483646 h 314"/>
                      <a:gd name="T6" fmla="*/ 2147483646 w 259"/>
                      <a:gd name="T7" fmla="*/ 0 h 314"/>
                      <a:gd name="T8" fmla="*/ 0 w 259"/>
                      <a:gd name="T9" fmla="*/ 2147483646 h 314"/>
                      <a:gd name="T10" fmla="*/ 0 60000 65536"/>
                      <a:gd name="T11" fmla="*/ 0 60000 65536"/>
                      <a:gd name="T12" fmla="*/ 0 60000 65536"/>
                      <a:gd name="T13" fmla="*/ 0 60000 65536"/>
                      <a:gd name="T14" fmla="*/ 0 60000 65536"/>
                      <a:gd name="T15" fmla="*/ 0 w 259"/>
                      <a:gd name="T16" fmla="*/ 0 h 314"/>
                      <a:gd name="T17" fmla="*/ 259 w 259"/>
                      <a:gd name="T18" fmla="*/ 314 h 314"/>
                    </a:gdLst>
                    <a:ahLst/>
                    <a:cxnLst>
                      <a:cxn ang="T10">
                        <a:pos x="T0" y="T1"/>
                      </a:cxn>
                      <a:cxn ang="T11">
                        <a:pos x="T2" y="T3"/>
                      </a:cxn>
                      <a:cxn ang="T12">
                        <a:pos x="T4" y="T5"/>
                      </a:cxn>
                      <a:cxn ang="T13">
                        <a:pos x="T6" y="T7"/>
                      </a:cxn>
                      <a:cxn ang="T14">
                        <a:pos x="T8" y="T9"/>
                      </a:cxn>
                    </a:cxnLst>
                    <a:rect l="T15" t="T16" r="T17" b="T18"/>
                    <a:pathLst>
                      <a:path w="259" h="314">
                        <a:moveTo>
                          <a:pt x="0" y="20"/>
                        </a:moveTo>
                        <a:lnTo>
                          <a:pt x="234" y="314"/>
                        </a:lnTo>
                        <a:lnTo>
                          <a:pt x="259" y="294"/>
                        </a:lnTo>
                        <a:lnTo>
                          <a:pt x="25" y="0"/>
                        </a:lnTo>
                        <a:lnTo>
                          <a:pt x="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sp>
            <p:nvSpPr>
              <p:cNvPr id="87476" name="Freeform 25">
                <a:extLst>
                  <a:ext uri="{FF2B5EF4-FFF2-40B4-BE49-F238E27FC236}">
                    <a16:creationId xmlns:a16="http://schemas.microsoft.com/office/drawing/2014/main" id="{45632BDA-1F85-4D85-9088-C43622C61724}"/>
                  </a:ext>
                </a:extLst>
              </p:cNvPr>
              <p:cNvSpPr>
                <a:spLocks/>
              </p:cNvSpPr>
              <p:nvPr/>
            </p:nvSpPr>
            <p:spPr bwMode="auto">
              <a:xfrm>
                <a:off x="7739082" y="3786190"/>
                <a:ext cx="116657" cy="57590"/>
              </a:xfrm>
              <a:custGeom>
                <a:avLst/>
                <a:gdLst>
                  <a:gd name="T0" fmla="*/ 2147483646 w 226"/>
                  <a:gd name="T1" fmla="*/ 2147483646 h 93"/>
                  <a:gd name="T2" fmla="*/ 2147483646 w 226"/>
                  <a:gd name="T3" fmla="*/ 2147483646 h 93"/>
                  <a:gd name="T4" fmla="*/ 2147483646 w 226"/>
                  <a:gd name="T5" fmla="*/ 2147483646 h 93"/>
                  <a:gd name="T6" fmla="*/ 2147483646 w 226"/>
                  <a:gd name="T7" fmla="*/ 2147483646 h 93"/>
                  <a:gd name="T8" fmla="*/ 2147483646 w 226"/>
                  <a:gd name="T9" fmla="*/ 2147483646 h 93"/>
                  <a:gd name="T10" fmla="*/ 2147483646 w 226"/>
                  <a:gd name="T11" fmla="*/ 2147483646 h 93"/>
                  <a:gd name="T12" fmla="*/ 2147483646 w 226"/>
                  <a:gd name="T13" fmla="*/ 2147483646 h 93"/>
                  <a:gd name="T14" fmla="*/ 2147483646 w 226"/>
                  <a:gd name="T15" fmla="*/ 2147483646 h 93"/>
                  <a:gd name="T16" fmla="*/ 2147483646 w 226"/>
                  <a:gd name="T17" fmla="*/ 2147483646 h 93"/>
                  <a:gd name="T18" fmla="*/ 2147483646 w 226"/>
                  <a:gd name="T19" fmla="*/ 2147483646 h 93"/>
                  <a:gd name="T20" fmla="*/ 2147483646 w 226"/>
                  <a:gd name="T21" fmla="*/ 2147483646 h 93"/>
                  <a:gd name="T22" fmla="*/ 2147483646 w 226"/>
                  <a:gd name="T23" fmla="*/ 2147483646 h 93"/>
                  <a:gd name="T24" fmla="*/ 2147483646 w 226"/>
                  <a:gd name="T25" fmla="*/ 2147483646 h 93"/>
                  <a:gd name="T26" fmla="*/ 2147483646 w 226"/>
                  <a:gd name="T27" fmla="*/ 2147483646 h 93"/>
                  <a:gd name="T28" fmla="*/ 2147483646 w 226"/>
                  <a:gd name="T29" fmla="*/ 2147483646 h 93"/>
                  <a:gd name="T30" fmla="*/ 2147483646 w 226"/>
                  <a:gd name="T31" fmla="*/ 2147483646 h 93"/>
                  <a:gd name="T32" fmla="*/ 2147483646 w 226"/>
                  <a:gd name="T33" fmla="*/ 2147483646 h 93"/>
                  <a:gd name="T34" fmla="*/ 2147483646 w 226"/>
                  <a:gd name="T35" fmla="*/ 2147483646 h 93"/>
                  <a:gd name="T36" fmla="*/ 2147483646 w 226"/>
                  <a:gd name="T37" fmla="*/ 2147483646 h 93"/>
                  <a:gd name="T38" fmla="*/ 2147483646 w 226"/>
                  <a:gd name="T39" fmla="*/ 2147483646 h 93"/>
                  <a:gd name="T40" fmla="*/ 0 w 226"/>
                  <a:gd name="T41" fmla="*/ 2147483646 h 93"/>
                  <a:gd name="T42" fmla="*/ 2147483646 w 226"/>
                  <a:gd name="T43" fmla="*/ 2147483646 h 93"/>
                  <a:gd name="T44" fmla="*/ 2147483646 w 226"/>
                  <a:gd name="T45" fmla="*/ 2147483646 h 93"/>
                  <a:gd name="T46" fmla="*/ 2147483646 w 226"/>
                  <a:gd name="T47" fmla="*/ 2147483646 h 93"/>
                  <a:gd name="T48" fmla="*/ 2147483646 w 226"/>
                  <a:gd name="T49" fmla="*/ 2147483646 h 93"/>
                  <a:gd name="T50" fmla="*/ 2147483646 w 226"/>
                  <a:gd name="T51" fmla="*/ 2147483646 h 93"/>
                  <a:gd name="T52" fmla="*/ 2147483646 w 226"/>
                  <a:gd name="T53" fmla="*/ 2147483646 h 93"/>
                  <a:gd name="T54" fmla="*/ 2147483646 w 226"/>
                  <a:gd name="T55" fmla="*/ 2147483646 h 93"/>
                  <a:gd name="T56" fmla="*/ 2147483646 w 226"/>
                  <a:gd name="T57" fmla="*/ 2147483646 h 93"/>
                  <a:gd name="T58" fmla="*/ 2147483646 w 226"/>
                  <a:gd name="T59" fmla="*/ 2147483646 h 93"/>
                  <a:gd name="T60" fmla="*/ 2147483646 w 226"/>
                  <a:gd name="T61" fmla="*/ 2147483646 h 93"/>
                  <a:gd name="T62" fmla="*/ 2147483646 w 226"/>
                  <a:gd name="T63" fmla="*/ 2147483646 h 93"/>
                  <a:gd name="T64" fmla="*/ 2147483646 w 226"/>
                  <a:gd name="T65" fmla="*/ 2147483646 h 93"/>
                  <a:gd name="T66" fmla="*/ 2147483646 w 226"/>
                  <a:gd name="T67" fmla="*/ 2147483646 h 93"/>
                  <a:gd name="T68" fmla="*/ 2147483646 w 226"/>
                  <a:gd name="T69" fmla="*/ 2147483646 h 93"/>
                  <a:gd name="T70" fmla="*/ 2147483646 w 226"/>
                  <a:gd name="T71" fmla="*/ 2147483646 h 93"/>
                  <a:gd name="T72" fmla="*/ 2147483646 w 226"/>
                  <a:gd name="T73" fmla="*/ 2147483646 h 93"/>
                  <a:gd name="T74" fmla="*/ 2147483646 w 226"/>
                  <a:gd name="T75" fmla="*/ 2147483646 h 93"/>
                  <a:gd name="T76" fmla="*/ 2147483646 w 226"/>
                  <a:gd name="T77" fmla="*/ 2147483646 h 93"/>
                  <a:gd name="T78" fmla="*/ 2147483646 w 226"/>
                  <a:gd name="T79" fmla="*/ 2147483646 h 93"/>
                  <a:gd name="T80" fmla="*/ 2147483646 w 226"/>
                  <a:gd name="T81" fmla="*/ 2147483646 h 93"/>
                  <a:gd name="T82" fmla="*/ 2147483646 w 226"/>
                  <a:gd name="T83" fmla="*/ 2147483646 h 93"/>
                  <a:gd name="T84" fmla="*/ 2147483646 w 226"/>
                  <a:gd name="T85" fmla="*/ 2147483646 h 93"/>
                  <a:gd name="T86" fmla="*/ 2147483646 w 226"/>
                  <a:gd name="T87" fmla="*/ 2147483646 h 93"/>
                  <a:gd name="T88" fmla="*/ 2147483646 w 226"/>
                  <a:gd name="T89" fmla="*/ 0 h 93"/>
                  <a:gd name="T90" fmla="*/ 2147483646 w 226"/>
                  <a:gd name="T91" fmla="*/ 0 h 93"/>
                  <a:gd name="T92" fmla="*/ 2147483646 w 226"/>
                  <a:gd name="T93" fmla="*/ 0 h 93"/>
                  <a:gd name="T94" fmla="*/ 2147483646 w 226"/>
                  <a:gd name="T95" fmla="*/ 2147483646 h 93"/>
                  <a:gd name="T96" fmla="*/ 2147483646 w 226"/>
                  <a:gd name="T97" fmla="*/ 2147483646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26"/>
                  <a:gd name="T148" fmla="*/ 0 h 93"/>
                  <a:gd name="T149" fmla="*/ 226 w 226"/>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26" h="93">
                    <a:moveTo>
                      <a:pt x="226" y="1"/>
                    </a:moveTo>
                    <a:lnTo>
                      <a:pt x="214" y="6"/>
                    </a:lnTo>
                    <a:lnTo>
                      <a:pt x="201" y="12"/>
                    </a:lnTo>
                    <a:lnTo>
                      <a:pt x="190" y="16"/>
                    </a:lnTo>
                    <a:lnTo>
                      <a:pt x="177" y="21"/>
                    </a:lnTo>
                    <a:lnTo>
                      <a:pt x="165" y="25"/>
                    </a:lnTo>
                    <a:lnTo>
                      <a:pt x="153" y="31"/>
                    </a:lnTo>
                    <a:lnTo>
                      <a:pt x="141" y="36"/>
                    </a:lnTo>
                    <a:lnTo>
                      <a:pt x="130" y="42"/>
                    </a:lnTo>
                    <a:lnTo>
                      <a:pt x="116" y="47"/>
                    </a:lnTo>
                    <a:lnTo>
                      <a:pt x="103" y="54"/>
                    </a:lnTo>
                    <a:lnTo>
                      <a:pt x="91" y="60"/>
                    </a:lnTo>
                    <a:lnTo>
                      <a:pt x="78" y="66"/>
                    </a:lnTo>
                    <a:lnTo>
                      <a:pt x="64" y="73"/>
                    </a:lnTo>
                    <a:lnTo>
                      <a:pt x="51" y="80"/>
                    </a:lnTo>
                    <a:lnTo>
                      <a:pt x="39" y="87"/>
                    </a:lnTo>
                    <a:lnTo>
                      <a:pt x="26" y="93"/>
                    </a:lnTo>
                    <a:lnTo>
                      <a:pt x="19" y="78"/>
                    </a:lnTo>
                    <a:lnTo>
                      <a:pt x="12" y="63"/>
                    </a:lnTo>
                    <a:lnTo>
                      <a:pt x="5" y="50"/>
                    </a:lnTo>
                    <a:lnTo>
                      <a:pt x="0" y="35"/>
                    </a:lnTo>
                    <a:lnTo>
                      <a:pt x="3" y="32"/>
                    </a:lnTo>
                    <a:lnTo>
                      <a:pt x="6" y="29"/>
                    </a:lnTo>
                    <a:lnTo>
                      <a:pt x="10" y="28"/>
                    </a:lnTo>
                    <a:lnTo>
                      <a:pt x="14" y="28"/>
                    </a:lnTo>
                    <a:lnTo>
                      <a:pt x="18" y="39"/>
                    </a:lnTo>
                    <a:lnTo>
                      <a:pt x="23" y="51"/>
                    </a:lnTo>
                    <a:lnTo>
                      <a:pt x="28" y="62"/>
                    </a:lnTo>
                    <a:lnTo>
                      <a:pt x="33" y="74"/>
                    </a:lnTo>
                    <a:lnTo>
                      <a:pt x="40" y="70"/>
                    </a:lnTo>
                    <a:lnTo>
                      <a:pt x="46" y="68"/>
                    </a:lnTo>
                    <a:lnTo>
                      <a:pt x="53" y="65"/>
                    </a:lnTo>
                    <a:lnTo>
                      <a:pt x="58" y="61"/>
                    </a:lnTo>
                    <a:lnTo>
                      <a:pt x="64" y="59"/>
                    </a:lnTo>
                    <a:lnTo>
                      <a:pt x="71" y="55"/>
                    </a:lnTo>
                    <a:lnTo>
                      <a:pt x="77" y="53"/>
                    </a:lnTo>
                    <a:lnTo>
                      <a:pt x="84" y="50"/>
                    </a:lnTo>
                    <a:lnTo>
                      <a:pt x="101" y="43"/>
                    </a:lnTo>
                    <a:lnTo>
                      <a:pt x="118" y="36"/>
                    </a:lnTo>
                    <a:lnTo>
                      <a:pt x="135" y="29"/>
                    </a:lnTo>
                    <a:lnTo>
                      <a:pt x="153" y="23"/>
                    </a:lnTo>
                    <a:lnTo>
                      <a:pt x="170" y="16"/>
                    </a:lnTo>
                    <a:lnTo>
                      <a:pt x="187" y="10"/>
                    </a:lnTo>
                    <a:lnTo>
                      <a:pt x="206" y="5"/>
                    </a:lnTo>
                    <a:lnTo>
                      <a:pt x="224" y="0"/>
                    </a:lnTo>
                    <a:lnTo>
                      <a:pt x="225" y="0"/>
                    </a:lnTo>
                    <a:lnTo>
                      <a:pt x="226" y="1"/>
                    </a:lnTo>
                    <a:close/>
                  </a:path>
                </a:pathLst>
              </a:custGeom>
              <a:solidFill>
                <a:srgbClr val="000000"/>
              </a:solidFill>
              <a:ln w="9525">
                <a:solidFill>
                  <a:srgbClr val="FF0000"/>
                </a:solidFill>
                <a:round/>
                <a:headEnd/>
                <a:tailEnd/>
              </a:ln>
            </p:spPr>
            <p:txBody>
              <a:bodyPr/>
              <a:lstStyle/>
              <a:p>
                <a:endParaRPr lang="en-GB"/>
              </a:p>
            </p:txBody>
          </p:sp>
          <p:sp>
            <p:nvSpPr>
              <p:cNvPr id="87477" name="Freeform 25">
                <a:extLst>
                  <a:ext uri="{FF2B5EF4-FFF2-40B4-BE49-F238E27FC236}">
                    <a16:creationId xmlns:a16="http://schemas.microsoft.com/office/drawing/2014/main" id="{39B1C8DB-FF5C-42EA-89EA-F62AD55486E6}"/>
                  </a:ext>
                </a:extLst>
              </p:cNvPr>
              <p:cNvSpPr>
                <a:spLocks/>
              </p:cNvSpPr>
              <p:nvPr/>
            </p:nvSpPr>
            <p:spPr bwMode="auto">
              <a:xfrm>
                <a:off x="7739082" y="3857628"/>
                <a:ext cx="116657" cy="57590"/>
              </a:xfrm>
              <a:custGeom>
                <a:avLst/>
                <a:gdLst>
                  <a:gd name="T0" fmla="*/ 2147483646 w 226"/>
                  <a:gd name="T1" fmla="*/ 2147483646 h 93"/>
                  <a:gd name="T2" fmla="*/ 2147483646 w 226"/>
                  <a:gd name="T3" fmla="*/ 2147483646 h 93"/>
                  <a:gd name="T4" fmla="*/ 2147483646 w 226"/>
                  <a:gd name="T5" fmla="*/ 2147483646 h 93"/>
                  <a:gd name="T6" fmla="*/ 2147483646 w 226"/>
                  <a:gd name="T7" fmla="*/ 2147483646 h 93"/>
                  <a:gd name="T8" fmla="*/ 2147483646 w 226"/>
                  <a:gd name="T9" fmla="*/ 2147483646 h 93"/>
                  <a:gd name="T10" fmla="*/ 2147483646 w 226"/>
                  <a:gd name="T11" fmla="*/ 2147483646 h 93"/>
                  <a:gd name="T12" fmla="*/ 2147483646 w 226"/>
                  <a:gd name="T13" fmla="*/ 2147483646 h 93"/>
                  <a:gd name="T14" fmla="*/ 2147483646 w 226"/>
                  <a:gd name="T15" fmla="*/ 2147483646 h 93"/>
                  <a:gd name="T16" fmla="*/ 2147483646 w 226"/>
                  <a:gd name="T17" fmla="*/ 2147483646 h 93"/>
                  <a:gd name="T18" fmla="*/ 2147483646 w 226"/>
                  <a:gd name="T19" fmla="*/ 2147483646 h 93"/>
                  <a:gd name="T20" fmla="*/ 2147483646 w 226"/>
                  <a:gd name="T21" fmla="*/ 2147483646 h 93"/>
                  <a:gd name="T22" fmla="*/ 2147483646 w 226"/>
                  <a:gd name="T23" fmla="*/ 2147483646 h 93"/>
                  <a:gd name="T24" fmla="*/ 2147483646 w 226"/>
                  <a:gd name="T25" fmla="*/ 2147483646 h 93"/>
                  <a:gd name="T26" fmla="*/ 2147483646 w 226"/>
                  <a:gd name="T27" fmla="*/ 2147483646 h 93"/>
                  <a:gd name="T28" fmla="*/ 2147483646 w 226"/>
                  <a:gd name="T29" fmla="*/ 2147483646 h 93"/>
                  <a:gd name="T30" fmla="*/ 2147483646 w 226"/>
                  <a:gd name="T31" fmla="*/ 2147483646 h 93"/>
                  <a:gd name="T32" fmla="*/ 2147483646 w 226"/>
                  <a:gd name="T33" fmla="*/ 2147483646 h 93"/>
                  <a:gd name="T34" fmla="*/ 2147483646 w 226"/>
                  <a:gd name="T35" fmla="*/ 2147483646 h 93"/>
                  <a:gd name="T36" fmla="*/ 2147483646 w 226"/>
                  <a:gd name="T37" fmla="*/ 2147483646 h 93"/>
                  <a:gd name="T38" fmla="*/ 2147483646 w 226"/>
                  <a:gd name="T39" fmla="*/ 2147483646 h 93"/>
                  <a:gd name="T40" fmla="*/ 0 w 226"/>
                  <a:gd name="T41" fmla="*/ 2147483646 h 93"/>
                  <a:gd name="T42" fmla="*/ 2147483646 w 226"/>
                  <a:gd name="T43" fmla="*/ 2147483646 h 93"/>
                  <a:gd name="T44" fmla="*/ 2147483646 w 226"/>
                  <a:gd name="T45" fmla="*/ 2147483646 h 93"/>
                  <a:gd name="T46" fmla="*/ 2147483646 w 226"/>
                  <a:gd name="T47" fmla="*/ 2147483646 h 93"/>
                  <a:gd name="T48" fmla="*/ 2147483646 w 226"/>
                  <a:gd name="T49" fmla="*/ 2147483646 h 93"/>
                  <a:gd name="T50" fmla="*/ 2147483646 w 226"/>
                  <a:gd name="T51" fmla="*/ 2147483646 h 93"/>
                  <a:gd name="T52" fmla="*/ 2147483646 w 226"/>
                  <a:gd name="T53" fmla="*/ 2147483646 h 93"/>
                  <a:gd name="T54" fmla="*/ 2147483646 w 226"/>
                  <a:gd name="T55" fmla="*/ 2147483646 h 93"/>
                  <a:gd name="T56" fmla="*/ 2147483646 w 226"/>
                  <a:gd name="T57" fmla="*/ 2147483646 h 93"/>
                  <a:gd name="T58" fmla="*/ 2147483646 w 226"/>
                  <a:gd name="T59" fmla="*/ 2147483646 h 93"/>
                  <a:gd name="T60" fmla="*/ 2147483646 w 226"/>
                  <a:gd name="T61" fmla="*/ 2147483646 h 93"/>
                  <a:gd name="T62" fmla="*/ 2147483646 w 226"/>
                  <a:gd name="T63" fmla="*/ 2147483646 h 93"/>
                  <a:gd name="T64" fmla="*/ 2147483646 w 226"/>
                  <a:gd name="T65" fmla="*/ 2147483646 h 93"/>
                  <a:gd name="T66" fmla="*/ 2147483646 w 226"/>
                  <a:gd name="T67" fmla="*/ 2147483646 h 93"/>
                  <a:gd name="T68" fmla="*/ 2147483646 w 226"/>
                  <a:gd name="T69" fmla="*/ 2147483646 h 93"/>
                  <a:gd name="T70" fmla="*/ 2147483646 w 226"/>
                  <a:gd name="T71" fmla="*/ 2147483646 h 93"/>
                  <a:gd name="T72" fmla="*/ 2147483646 w 226"/>
                  <a:gd name="T73" fmla="*/ 2147483646 h 93"/>
                  <a:gd name="T74" fmla="*/ 2147483646 w 226"/>
                  <a:gd name="T75" fmla="*/ 2147483646 h 93"/>
                  <a:gd name="T76" fmla="*/ 2147483646 w 226"/>
                  <a:gd name="T77" fmla="*/ 2147483646 h 93"/>
                  <a:gd name="T78" fmla="*/ 2147483646 w 226"/>
                  <a:gd name="T79" fmla="*/ 2147483646 h 93"/>
                  <a:gd name="T80" fmla="*/ 2147483646 w 226"/>
                  <a:gd name="T81" fmla="*/ 2147483646 h 93"/>
                  <a:gd name="T82" fmla="*/ 2147483646 w 226"/>
                  <a:gd name="T83" fmla="*/ 2147483646 h 93"/>
                  <a:gd name="T84" fmla="*/ 2147483646 w 226"/>
                  <a:gd name="T85" fmla="*/ 2147483646 h 93"/>
                  <a:gd name="T86" fmla="*/ 2147483646 w 226"/>
                  <a:gd name="T87" fmla="*/ 2147483646 h 93"/>
                  <a:gd name="T88" fmla="*/ 2147483646 w 226"/>
                  <a:gd name="T89" fmla="*/ 0 h 93"/>
                  <a:gd name="T90" fmla="*/ 2147483646 w 226"/>
                  <a:gd name="T91" fmla="*/ 0 h 93"/>
                  <a:gd name="T92" fmla="*/ 2147483646 w 226"/>
                  <a:gd name="T93" fmla="*/ 0 h 93"/>
                  <a:gd name="T94" fmla="*/ 2147483646 w 226"/>
                  <a:gd name="T95" fmla="*/ 2147483646 h 93"/>
                  <a:gd name="T96" fmla="*/ 2147483646 w 226"/>
                  <a:gd name="T97" fmla="*/ 2147483646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26"/>
                  <a:gd name="T148" fmla="*/ 0 h 93"/>
                  <a:gd name="T149" fmla="*/ 226 w 226"/>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26" h="93">
                    <a:moveTo>
                      <a:pt x="226" y="1"/>
                    </a:moveTo>
                    <a:lnTo>
                      <a:pt x="214" y="6"/>
                    </a:lnTo>
                    <a:lnTo>
                      <a:pt x="201" y="12"/>
                    </a:lnTo>
                    <a:lnTo>
                      <a:pt x="190" y="16"/>
                    </a:lnTo>
                    <a:lnTo>
                      <a:pt x="177" y="21"/>
                    </a:lnTo>
                    <a:lnTo>
                      <a:pt x="165" y="25"/>
                    </a:lnTo>
                    <a:lnTo>
                      <a:pt x="153" y="31"/>
                    </a:lnTo>
                    <a:lnTo>
                      <a:pt x="141" y="36"/>
                    </a:lnTo>
                    <a:lnTo>
                      <a:pt x="130" y="42"/>
                    </a:lnTo>
                    <a:lnTo>
                      <a:pt x="116" y="47"/>
                    </a:lnTo>
                    <a:lnTo>
                      <a:pt x="103" y="54"/>
                    </a:lnTo>
                    <a:lnTo>
                      <a:pt x="91" y="60"/>
                    </a:lnTo>
                    <a:lnTo>
                      <a:pt x="78" y="66"/>
                    </a:lnTo>
                    <a:lnTo>
                      <a:pt x="64" y="73"/>
                    </a:lnTo>
                    <a:lnTo>
                      <a:pt x="51" y="80"/>
                    </a:lnTo>
                    <a:lnTo>
                      <a:pt x="39" y="87"/>
                    </a:lnTo>
                    <a:lnTo>
                      <a:pt x="26" y="93"/>
                    </a:lnTo>
                    <a:lnTo>
                      <a:pt x="19" y="78"/>
                    </a:lnTo>
                    <a:lnTo>
                      <a:pt x="12" y="63"/>
                    </a:lnTo>
                    <a:lnTo>
                      <a:pt x="5" y="50"/>
                    </a:lnTo>
                    <a:lnTo>
                      <a:pt x="0" y="35"/>
                    </a:lnTo>
                    <a:lnTo>
                      <a:pt x="3" y="32"/>
                    </a:lnTo>
                    <a:lnTo>
                      <a:pt x="6" y="29"/>
                    </a:lnTo>
                    <a:lnTo>
                      <a:pt x="10" y="28"/>
                    </a:lnTo>
                    <a:lnTo>
                      <a:pt x="14" y="28"/>
                    </a:lnTo>
                    <a:lnTo>
                      <a:pt x="18" y="39"/>
                    </a:lnTo>
                    <a:lnTo>
                      <a:pt x="23" y="51"/>
                    </a:lnTo>
                    <a:lnTo>
                      <a:pt x="28" y="62"/>
                    </a:lnTo>
                    <a:lnTo>
                      <a:pt x="33" y="74"/>
                    </a:lnTo>
                    <a:lnTo>
                      <a:pt x="40" y="70"/>
                    </a:lnTo>
                    <a:lnTo>
                      <a:pt x="46" y="68"/>
                    </a:lnTo>
                    <a:lnTo>
                      <a:pt x="53" y="65"/>
                    </a:lnTo>
                    <a:lnTo>
                      <a:pt x="58" y="61"/>
                    </a:lnTo>
                    <a:lnTo>
                      <a:pt x="64" y="59"/>
                    </a:lnTo>
                    <a:lnTo>
                      <a:pt x="71" y="55"/>
                    </a:lnTo>
                    <a:lnTo>
                      <a:pt x="77" y="53"/>
                    </a:lnTo>
                    <a:lnTo>
                      <a:pt x="84" y="50"/>
                    </a:lnTo>
                    <a:lnTo>
                      <a:pt x="101" y="43"/>
                    </a:lnTo>
                    <a:lnTo>
                      <a:pt x="118" y="36"/>
                    </a:lnTo>
                    <a:lnTo>
                      <a:pt x="135" y="29"/>
                    </a:lnTo>
                    <a:lnTo>
                      <a:pt x="153" y="23"/>
                    </a:lnTo>
                    <a:lnTo>
                      <a:pt x="170" y="16"/>
                    </a:lnTo>
                    <a:lnTo>
                      <a:pt x="187" y="10"/>
                    </a:lnTo>
                    <a:lnTo>
                      <a:pt x="206" y="5"/>
                    </a:lnTo>
                    <a:lnTo>
                      <a:pt x="224" y="0"/>
                    </a:lnTo>
                    <a:lnTo>
                      <a:pt x="225" y="0"/>
                    </a:lnTo>
                    <a:lnTo>
                      <a:pt x="226" y="1"/>
                    </a:lnTo>
                    <a:close/>
                  </a:path>
                </a:pathLst>
              </a:custGeom>
              <a:solidFill>
                <a:srgbClr val="000000"/>
              </a:solidFill>
              <a:ln w="9525">
                <a:solidFill>
                  <a:srgbClr val="FF0000"/>
                </a:solidFill>
                <a:round/>
                <a:headEnd/>
                <a:tailEnd/>
              </a:ln>
            </p:spPr>
            <p:txBody>
              <a:bodyPr/>
              <a:lstStyle/>
              <a:p>
                <a:endParaRPr lang="en-GB"/>
              </a:p>
            </p:txBody>
          </p:sp>
          <p:sp>
            <p:nvSpPr>
              <p:cNvPr id="87478" name="Freeform 25">
                <a:extLst>
                  <a:ext uri="{FF2B5EF4-FFF2-40B4-BE49-F238E27FC236}">
                    <a16:creationId xmlns:a16="http://schemas.microsoft.com/office/drawing/2014/main" id="{46231945-087D-42EB-9819-02734C224909}"/>
                  </a:ext>
                </a:extLst>
              </p:cNvPr>
              <p:cNvSpPr>
                <a:spLocks/>
              </p:cNvSpPr>
              <p:nvPr/>
            </p:nvSpPr>
            <p:spPr bwMode="auto">
              <a:xfrm>
                <a:off x="7739082" y="3929066"/>
                <a:ext cx="116657" cy="57590"/>
              </a:xfrm>
              <a:custGeom>
                <a:avLst/>
                <a:gdLst>
                  <a:gd name="T0" fmla="*/ 2147483646 w 226"/>
                  <a:gd name="T1" fmla="*/ 2147483646 h 93"/>
                  <a:gd name="T2" fmla="*/ 2147483646 w 226"/>
                  <a:gd name="T3" fmla="*/ 2147483646 h 93"/>
                  <a:gd name="T4" fmla="*/ 2147483646 w 226"/>
                  <a:gd name="T5" fmla="*/ 2147483646 h 93"/>
                  <a:gd name="T6" fmla="*/ 2147483646 w 226"/>
                  <a:gd name="T7" fmla="*/ 2147483646 h 93"/>
                  <a:gd name="T8" fmla="*/ 2147483646 w 226"/>
                  <a:gd name="T9" fmla="*/ 2147483646 h 93"/>
                  <a:gd name="T10" fmla="*/ 2147483646 w 226"/>
                  <a:gd name="T11" fmla="*/ 2147483646 h 93"/>
                  <a:gd name="T12" fmla="*/ 2147483646 w 226"/>
                  <a:gd name="T13" fmla="*/ 2147483646 h 93"/>
                  <a:gd name="T14" fmla="*/ 2147483646 w 226"/>
                  <a:gd name="T15" fmla="*/ 2147483646 h 93"/>
                  <a:gd name="T16" fmla="*/ 2147483646 w 226"/>
                  <a:gd name="T17" fmla="*/ 2147483646 h 93"/>
                  <a:gd name="T18" fmla="*/ 2147483646 w 226"/>
                  <a:gd name="T19" fmla="*/ 2147483646 h 93"/>
                  <a:gd name="T20" fmla="*/ 2147483646 w 226"/>
                  <a:gd name="T21" fmla="*/ 2147483646 h 93"/>
                  <a:gd name="T22" fmla="*/ 2147483646 w 226"/>
                  <a:gd name="T23" fmla="*/ 2147483646 h 93"/>
                  <a:gd name="T24" fmla="*/ 2147483646 w 226"/>
                  <a:gd name="T25" fmla="*/ 2147483646 h 93"/>
                  <a:gd name="T26" fmla="*/ 2147483646 w 226"/>
                  <a:gd name="T27" fmla="*/ 2147483646 h 93"/>
                  <a:gd name="T28" fmla="*/ 2147483646 w 226"/>
                  <a:gd name="T29" fmla="*/ 2147483646 h 93"/>
                  <a:gd name="T30" fmla="*/ 2147483646 w 226"/>
                  <a:gd name="T31" fmla="*/ 2147483646 h 93"/>
                  <a:gd name="T32" fmla="*/ 2147483646 w 226"/>
                  <a:gd name="T33" fmla="*/ 2147483646 h 93"/>
                  <a:gd name="T34" fmla="*/ 2147483646 w 226"/>
                  <a:gd name="T35" fmla="*/ 2147483646 h 93"/>
                  <a:gd name="T36" fmla="*/ 2147483646 w 226"/>
                  <a:gd name="T37" fmla="*/ 2147483646 h 93"/>
                  <a:gd name="T38" fmla="*/ 2147483646 w 226"/>
                  <a:gd name="T39" fmla="*/ 2147483646 h 93"/>
                  <a:gd name="T40" fmla="*/ 0 w 226"/>
                  <a:gd name="T41" fmla="*/ 2147483646 h 93"/>
                  <a:gd name="T42" fmla="*/ 2147483646 w 226"/>
                  <a:gd name="T43" fmla="*/ 2147483646 h 93"/>
                  <a:gd name="T44" fmla="*/ 2147483646 w 226"/>
                  <a:gd name="T45" fmla="*/ 2147483646 h 93"/>
                  <a:gd name="T46" fmla="*/ 2147483646 w 226"/>
                  <a:gd name="T47" fmla="*/ 2147483646 h 93"/>
                  <a:gd name="T48" fmla="*/ 2147483646 w 226"/>
                  <a:gd name="T49" fmla="*/ 2147483646 h 93"/>
                  <a:gd name="T50" fmla="*/ 2147483646 w 226"/>
                  <a:gd name="T51" fmla="*/ 2147483646 h 93"/>
                  <a:gd name="T52" fmla="*/ 2147483646 w 226"/>
                  <a:gd name="T53" fmla="*/ 2147483646 h 93"/>
                  <a:gd name="T54" fmla="*/ 2147483646 w 226"/>
                  <a:gd name="T55" fmla="*/ 2147483646 h 93"/>
                  <a:gd name="T56" fmla="*/ 2147483646 w 226"/>
                  <a:gd name="T57" fmla="*/ 2147483646 h 93"/>
                  <a:gd name="T58" fmla="*/ 2147483646 w 226"/>
                  <a:gd name="T59" fmla="*/ 2147483646 h 93"/>
                  <a:gd name="T60" fmla="*/ 2147483646 w 226"/>
                  <a:gd name="T61" fmla="*/ 2147483646 h 93"/>
                  <a:gd name="T62" fmla="*/ 2147483646 w 226"/>
                  <a:gd name="T63" fmla="*/ 2147483646 h 93"/>
                  <a:gd name="T64" fmla="*/ 2147483646 w 226"/>
                  <a:gd name="T65" fmla="*/ 2147483646 h 93"/>
                  <a:gd name="T66" fmla="*/ 2147483646 w 226"/>
                  <a:gd name="T67" fmla="*/ 2147483646 h 93"/>
                  <a:gd name="T68" fmla="*/ 2147483646 w 226"/>
                  <a:gd name="T69" fmla="*/ 2147483646 h 93"/>
                  <a:gd name="T70" fmla="*/ 2147483646 w 226"/>
                  <a:gd name="T71" fmla="*/ 2147483646 h 93"/>
                  <a:gd name="T72" fmla="*/ 2147483646 w 226"/>
                  <a:gd name="T73" fmla="*/ 2147483646 h 93"/>
                  <a:gd name="T74" fmla="*/ 2147483646 w 226"/>
                  <a:gd name="T75" fmla="*/ 2147483646 h 93"/>
                  <a:gd name="T76" fmla="*/ 2147483646 w 226"/>
                  <a:gd name="T77" fmla="*/ 2147483646 h 93"/>
                  <a:gd name="T78" fmla="*/ 2147483646 w 226"/>
                  <a:gd name="T79" fmla="*/ 2147483646 h 93"/>
                  <a:gd name="T80" fmla="*/ 2147483646 w 226"/>
                  <a:gd name="T81" fmla="*/ 2147483646 h 93"/>
                  <a:gd name="T82" fmla="*/ 2147483646 w 226"/>
                  <a:gd name="T83" fmla="*/ 2147483646 h 93"/>
                  <a:gd name="T84" fmla="*/ 2147483646 w 226"/>
                  <a:gd name="T85" fmla="*/ 2147483646 h 93"/>
                  <a:gd name="T86" fmla="*/ 2147483646 w 226"/>
                  <a:gd name="T87" fmla="*/ 2147483646 h 93"/>
                  <a:gd name="T88" fmla="*/ 2147483646 w 226"/>
                  <a:gd name="T89" fmla="*/ 0 h 93"/>
                  <a:gd name="T90" fmla="*/ 2147483646 w 226"/>
                  <a:gd name="T91" fmla="*/ 0 h 93"/>
                  <a:gd name="T92" fmla="*/ 2147483646 w 226"/>
                  <a:gd name="T93" fmla="*/ 0 h 93"/>
                  <a:gd name="T94" fmla="*/ 2147483646 w 226"/>
                  <a:gd name="T95" fmla="*/ 2147483646 h 93"/>
                  <a:gd name="T96" fmla="*/ 2147483646 w 226"/>
                  <a:gd name="T97" fmla="*/ 2147483646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26"/>
                  <a:gd name="T148" fmla="*/ 0 h 93"/>
                  <a:gd name="T149" fmla="*/ 226 w 226"/>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26" h="93">
                    <a:moveTo>
                      <a:pt x="226" y="1"/>
                    </a:moveTo>
                    <a:lnTo>
                      <a:pt x="214" y="6"/>
                    </a:lnTo>
                    <a:lnTo>
                      <a:pt x="201" y="12"/>
                    </a:lnTo>
                    <a:lnTo>
                      <a:pt x="190" y="16"/>
                    </a:lnTo>
                    <a:lnTo>
                      <a:pt x="177" y="21"/>
                    </a:lnTo>
                    <a:lnTo>
                      <a:pt x="165" y="25"/>
                    </a:lnTo>
                    <a:lnTo>
                      <a:pt x="153" y="31"/>
                    </a:lnTo>
                    <a:lnTo>
                      <a:pt x="141" y="36"/>
                    </a:lnTo>
                    <a:lnTo>
                      <a:pt x="130" y="42"/>
                    </a:lnTo>
                    <a:lnTo>
                      <a:pt x="116" y="47"/>
                    </a:lnTo>
                    <a:lnTo>
                      <a:pt x="103" y="54"/>
                    </a:lnTo>
                    <a:lnTo>
                      <a:pt x="91" y="60"/>
                    </a:lnTo>
                    <a:lnTo>
                      <a:pt x="78" y="66"/>
                    </a:lnTo>
                    <a:lnTo>
                      <a:pt x="64" y="73"/>
                    </a:lnTo>
                    <a:lnTo>
                      <a:pt x="51" y="80"/>
                    </a:lnTo>
                    <a:lnTo>
                      <a:pt x="39" y="87"/>
                    </a:lnTo>
                    <a:lnTo>
                      <a:pt x="26" y="93"/>
                    </a:lnTo>
                    <a:lnTo>
                      <a:pt x="19" y="78"/>
                    </a:lnTo>
                    <a:lnTo>
                      <a:pt x="12" y="63"/>
                    </a:lnTo>
                    <a:lnTo>
                      <a:pt x="5" y="50"/>
                    </a:lnTo>
                    <a:lnTo>
                      <a:pt x="0" y="35"/>
                    </a:lnTo>
                    <a:lnTo>
                      <a:pt x="3" y="32"/>
                    </a:lnTo>
                    <a:lnTo>
                      <a:pt x="6" y="29"/>
                    </a:lnTo>
                    <a:lnTo>
                      <a:pt x="10" y="28"/>
                    </a:lnTo>
                    <a:lnTo>
                      <a:pt x="14" y="28"/>
                    </a:lnTo>
                    <a:lnTo>
                      <a:pt x="18" y="39"/>
                    </a:lnTo>
                    <a:lnTo>
                      <a:pt x="23" y="51"/>
                    </a:lnTo>
                    <a:lnTo>
                      <a:pt x="28" y="62"/>
                    </a:lnTo>
                    <a:lnTo>
                      <a:pt x="33" y="74"/>
                    </a:lnTo>
                    <a:lnTo>
                      <a:pt x="40" y="70"/>
                    </a:lnTo>
                    <a:lnTo>
                      <a:pt x="46" y="68"/>
                    </a:lnTo>
                    <a:lnTo>
                      <a:pt x="53" y="65"/>
                    </a:lnTo>
                    <a:lnTo>
                      <a:pt x="58" y="61"/>
                    </a:lnTo>
                    <a:lnTo>
                      <a:pt x="64" y="59"/>
                    </a:lnTo>
                    <a:lnTo>
                      <a:pt x="71" y="55"/>
                    </a:lnTo>
                    <a:lnTo>
                      <a:pt x="77" y="53"/>
                    </a:lnTo>
                    <a:lnTo>
                      <a:pt x="84" y="50"/>
                    </a:lnTo>
                    <a:lnTo>
                      <a:pt x="101" y="43"/>
                    </a:lnTo>
                    <a:lnTo>
                      <a:pt x="118" y="36"/>
                    </a:lnTo>
                    <a:lnTo>
                      <a:pt x="135" y="29"/>
                    </a:lnTo>
                    <a:lnTo>
                      <a:pt x="153" y="23"/>
                    </a:lnTo>
                    <a:lnTo>
                      <a:pt x="170" y="16"/>
                    </a:lnTo>
                    <a:lnTo>
                      <a:pt x="187" y="10"/>
                    </a:lnTo>
                    <a:lnTo>
                      <a:pt x="206" y="5"/>
                    </a:lnTo>
                    <a:lnTo>
                      <a:pt x="224" y="0"/>
                    </a:lnTo>
                    <a:lnTo>
                      <a:pt x="225" y="0"/>
                    </a:lnTo>
                    <a:lnTo>
                      <a:pt x="226" y="1"/>
                    </a:lnTo>
                    <a:close/>
                  </a:path>
                </a:pathLst>
              </a:custGeom>
              <a:solidFill>
                <a:srgbClr val="000000"/>
              </a:solidFill>
              <a:ln w="9525">
                <a:solidFill>
                  <a:srgbClr val="FF0000"/>
                </a:solidFill>
                <a:round/>
                <a:headEnd/>
                <a:tailEnd/>
              </a:ln>
            </p:spPr>
            <p:txBody>
              <a:bodyPr/>
              <a:lstStyle/>
              <a:p>
                <a:endParaRPr lang="en-GB"/>
              </a:p>
            </p:txBody>
          </p:sp>
        </p:grpSp>
        <p:sp>
          <p:nvSpPr>
            <p:cNvPr id="87083" name="TextBox 1024">
              <a:extLst>
                <a:ext uri="{FF2B5EF4-FFF2-40B4-BE49-F238E27FC236}">
                  <a16:creationId xmlns:a16="http://schemas.microsoft.com/office/drawing/2014/main" id="{F06D866D-C2FD-4A98-8C6E-BC31CE343DAA}"/>
                </a:ext>
              </a:extLst>
            </p:cNvPr>
            <p:cNvSpPr txBox="1">
              <a:spLocks noChangeArrowheads="1"/>
            </p:cNvSpPr>
            <p:nvPr/>
          </p:nvSpPr>
          <p:spPr bwMode="auto">
            <a:xfrm>
              <a:off x="2625725" y="4979974"/>
              <a:ext cx="80645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algn="ctr" eaLnBrk="1" latinLnBrk="1" hangingPunct="1">
                <a:spcBef>
                  <a:spcPct val="0"/>
                </a:spcBef>
                <a:buClrTx/>
                <a:buSzTx/>
                <a:buFontTx/>
                <a:buNone/>
              </a:pPr>
              <a:r>
                <a:rPr kumimoji="1" lang="en-US" altLang="ko-KR" sz="900" b="1">
                  <a:solidFill>
                    <a:schemeClr val="tx1"/>
                  </a:solidFill>
                  <a:ea typeface="산돌고딕 M"/>
                  <a:cs typeface="Arial" panose="020B0604020202020204" pitchFamily="34" charset="0"/>
                </a:rPr>
                <a:t>Publication</a:t>
              </a:r>
              <a:endParaRPr kumimoji="1" lang="ko-KR" altLang="en-US" sz="900" b="1">
                <a:solidFill>
                  <a:schemeClr val="tx1"/>
                </a:solidFill>
                <a:ea typeface="산돌고딕 M"/>
                <a:cs typeface="Arial" panose="020B0604020202020204" pitchFamily="34" charset="0"/>
              </a:endParaRPr>
            </a:p>
          </p:txBody>
        </p:sp>
        <p:grpSp>
          <p:nvGrpSpPr>
            <p:cNvPr id="87084" name="그룹 664">
              <a:extLst>
                <a:ext uri="{FF2B5EF4-FFF2-40B4-BE49-F238E27FC236}">
                  <a16:creationId xmlns:a16="http://schemas.microsoft.com/office/drawing/2014/main" id="{8CE4D61B-6FE6-4799-AB09-996AA9E8F9C9}"/>
                </a:ext>
              </a:extLst>
            </p:cNvPr>
            <p:cNvGrpSpPr>
              <a:grpSpLocks/>
            </p:cNvGrpSpPr>
            <p:nvPr/>
          </p:nvGrpSpPr>
          <p:grpSpPr bwMode="auto">
            <a:xfrm>
              <a:off x="2849563" y="3829036"/>
              <a:ext cx="415925" cy="384175"/>
              <a:chOff x="8810652" y="5000636"/>
              <a:chExt cx="464358" cy="428643"/>
            </a:xfrm>
          </p:grpSpPr>
          <p:sp>
            <p:nvSpPr>
              <p:cNvPr id="1041" name="타원 1040">
                <a:extLst>
                  <a:ext uri="{FF2B5EF4-FFF2-40B4-BE49-F238E27FC236}">
                    <a16:creationId xmlns:a16="http://schemas.microsoft.com/office/drawing/2014/main" id="{3EA60311-BDA8-4FD3-95E5-48585A2EB282}"/>
                  </a:ext>
                </a:extLst>
              </p:cNvPr>
              <p:cNvSpPr/>
              <p:nvPr/>
            </p:nvSpPr>
            <p:spPr bwMode="auto">
              <a:xfrm>
                <a:off x="8810652" y="5000636"/>
                <a:ext cx="464358" cy="428643"/>
              </a:xfrm>
              <a:prstGeom prst="ellipse">
                <a:avLst/>
              </a:prstGeom>
              <a:solidFill>
                <a:srgbClr val="4F81BD"/>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eaLnBrk="1" latinLnBrk="1" hangingPunct="1">
                  <a:defRPr/>
                </a:pPr>
                <a:endParaRPr kumimoji="1" lang="ko-KR" altLang="en-US">
                  <a:solidFill>
                    <a:srgbClr val="FFFFFF"/>
                  </a:solidFill>
                  <a:latin typeface="Arial" charset="0"/>
                  <a:ea typeface="Gulim" pitchFamily="34" charset="-127"/>
                  <a:cs typeface="Gulim" pitchFamily="34" charset="-127"/>
                </a:endParaRPr>
              </a:p>
            </p:txBody>
          </p:sp>
          <p:grpSp>
            <p:nvGrpSpPr>
              <p:cNvPr id="87456" name="그룹 1041">
                <a:extLst>
                  <a:ext uri="{FF2B5EF4-FFF2-40B4-BE49-F238E27FC236}">
                    <a16:creationId xmlns:a16="http://schemas.microsoft.com/office/drawing/2014/main" id="{FAF2EAA6-4F80-4E28-845C-E3189E0AC856}"/>
                  </a:ext>
                </a:extLst>
              </p:cNvPr>
              <p:cNvGrpSpPr>
                <a:grpSpLocks noChangeAspect="1"/>
              </p:cNvGrpSpPr>
              <p:nvPr/>
            </p:nvGrpSpPr>
            <p:grpSpPr bwMode="auto">
              <a:xfrm>
                <a:off x="8916902" y="5010187"/>
                <a:ext cx="280202" cy="370642"/>
                <a:chOff x="769100" y="946311"/>
                <a:chExt cx="1120775" cy="1482557"/>
              </a:xfrm>
            </p:grpSpPr>
            <p:sp>
              <p:nvSpPr>
                <p:cNvPr id="87457" name="Freeform 205">
                  <a:extLst>
                    <a:ext uri="{FF2B5EF4-FFF2-40B4-BE49-F238E27FC236}">
                      <a16:creationId xmlns:a16="http://schemas.microsoft.com/office/drawing/2014/main" id="{661AE34B-4340-4A87-9D4E-742A030BD813}"/>
                    </a:ext>
                  </a:extLst>
                </p:cNvPr>
                <p:cNvSpPr>
                  <a:spLocks/>
                </p:cNvSpPr>
                <p:nvPr/>
              </p:nvSpPr>
              <p:spPr bwMode="auto">
                <a:xfrm rot="-876836">
                  <a:off x="881034" y="1142984"/>
                  <a:ext cx="928694" cy="1285884"/>
                </a:xfrm>
                <a:custGeom>
                  <a:avLst/>
                  <a:gdLst>
                    <a:gd name="T0" fmla="*/ 2147483646 w 421"/>
                    <a:gd name="T1" fmla="*/ 2147483646 h 460"/>
                    <a:gd name="T2" fmla="*/ 2147483646 w 421"/>
                    <a:gd name="T3" fmla="*/ 2147483646 h 460"/>
                    <a:gd name="T4" fmla="*/ 2147483646 w 421"/>
                    <a:gd name="T5" fmla="*/ 2147483646 h 460"/>
                    <a:gd name="T6" fmla="*/ 2147483646 w 421"/>
                    <a:gd name="T7" fmla="*/ 2147483646 h 460"/>
                    <a:gd name="T8" fmla="*/ 2147483646 w 421"/>
                    <a:gd name="T9" fmla="*/ 2147483646 h 460"/>
                    <a:gd name="T10" fmla="*/ 2147483646 w 421"/>
                    <a:gd name="T11" fmla="*/ 2147483646 h 460"/>
                    <a:gd name="T12" fmla="*/ 2147483646 w 421"/>
                    <a:gd name="T13" fmla="*/ 2147483646 h 460"/>
                    <a:gd name="T14" fmla="*/ 2147483646 w 421"/>
                    <a:gd name="T15" fmla="*/ 2147483646 h 460"/>
                    <a:gd name="T16" fmla="*/ 2147483646 w 421"/>
                    <a:gd name="T17" fmla="*/ 2147483646 h 460"/>
                    <a:gd name="T18" fmla="*/ 2147483646 w 421"/>
                    <a:gd name="T19" fmla="*/ 2147483646 h 460"/>
                    <a:gd name="T20" fmla="*/ 2147483646 w 421"/>
                    <a:gd name="T21" fmla="*/ 2147483646 h 460"/>
                    <a:gd name="T22" fmla="*/ 2147483646 w 421"/>
                    <a:gd name="T23" fmla="*/ 0 h 460"/>
                    <a:gd name="T24" fmla="*/ 2147483646 w 421"/>
                    <a:gd name="T25" fmla="*/ 0 h 460"/>
                    <a:gd name="T26" fmla="*/ 2147483646 w 421"/>
                    <a:gd name="T27" fmla="*/ 2147483646 h 460"/>
                    <a:gd name="T28" fmla="*/ 2147483646 w 421"/>
                    <a:gd name="T29" fmla="*/ 2147483646 h 460"/>
                    <a:gd name="T30" fmla="*/ 2147483646 w 421"/>
                    <a:gd name="T31" fmla="*/ 2147483646 h 460"/>
                    <a:gd name="T32" fmla="*/ 2147483646 w 421"/>
                    <a:gd name="T33" fmla="*/ 2147483646 h 460"/>
                    <a:gd name="T34" fmla="*/ 0 w 421"/>
                    <a:gd name="T35" fmla="*/ 2147483646 h 460"/>
                    <a:gd name="T36" fmla="*/ 0 w 421"/>
                    <a:gd name="T37" fmla="*/ 2147483646 h 460"/>
                    <a:gd name="T38" fmla="*/ 2147483646 w 421"/>
                    <a:gd name="T39" fmla="*/ 2147483646 h 460"/>
                    <a:gd name="T40" fmla="*/ 2147483646 w 421"/>
                    <a:gd name="T41" fmla="*/ 2147483646 h 460"/>
                    <a:gd name="T42" fmla="*/ 2147483646 w 421"/>
                    <a:gd name="T43" fmla="*/ 2147483646 h 460"/>
                    <a:gd name="T44" fmla="*/ 2147483646 w 421"/>
                    <a:gd name="T45" fmla="*/ 2147483646 h 460"/>
                    <a:gd name="T46" fmla="*/ 2147483646 w 421"/>
                    <a:gd name="T47" fmla="*/ 2147483646 h 460"/>
                    <a:gd name="T48" fmla="*/ 2147483646 w 421"/>
                    <a:gd name="T49" fmla="*/ 2147483646 h 460"/>
                    <a:gd name="T50" fmla="*/ 2147483646 w 421"/>
                    <a:gd name="T51" fmla="*/ 2147483646 h 460"/>
                    <a:gd name="T52" fmla="*/ 2147483646 w 421"/>
                    <a:gd name="T53" fmla="*/ 2147483646 h 460"/>
                    <a:gd name="T54" fmla="*/ 2147483646 w 421"/>
                    <a:gd name="T55" fmla="*/ 2147483646 h 460"/>
                    <a:gd name="T56" fmla="*/ 2147483646 w 421"/>
                    <a:gd name="T57" fmla="*/ 2147483646 h 460"/>
                    <a:gd name="T58" fmla="*/ 2147483646 w 421"/>
                    <a:gd name="T59" fmla="*/ 2147483646 h 46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21"/>
                    <a:gd name="T91" fmla="*/ 0 h 460"/>
                    <a:gd name="T92" fmla="*/ 421 w 421"/>
                    <a:gd name="T93" fmla="*/ 460 h 46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21" h="460">
                      <a:moveTo>
                        <a:pt x="420" y="362"/>
                      </a:moveTo>
                      <a:lnTo>
                        <a:pt x="421" y="358"/>
                      </a:lnTo>
                      <a:lnTo>
                        <a:pt x="421" y="353"/>
                      </a:lnTo>
                      <a:lnTo>
                        <a:pt x="421" y="347"/>
                      </a:lnTo>
                      <a:lnTo>
                        <a:pt x="420" y="343"/>
                      </a:lnTo>
                      <a:lnTo>
                        <a:pt x="335" y="28"/>
                      </a:lnTo>
                      <a:lnTo>
                        <a:pt x="332" y="21"/>
                      </a:lnTo>
                      <a:lnTo>
                        <a:pt x="328" y="15"/>
                      </a:lnTo>
                      <a:lnTo>
                        <a:pt x="323" y="9"/>
                      </a:lnTo>
                      <a:lnTo>
                        <a:pt x="316" y="4"/>
                      </a:lnTo>
                      <a:lnTo>
                        <a:pt x="311" y="2"/>
                      </a:lnTo>
                      <a:lnTo>
                        <a:pt x="302" y="0"/>
                      </a:lnTo>
                      <a:lnTo>
                        <a:pt x="296" y="0"/>
                      </a:lnTo>
                      <a:lnTo>
                        <a:pt x="288" y="1"/>
                      </a:lnTo>
                      <a:lnTo>
                        <a:pt x="28" y="71"/>
                      </a:lnTo>
                      <a:lnTo>
                        <a:pt x="14" y="78"/>
                      </a:lnTo>
                      <a:lnTo>
                        <a:pt x="5" y="88"/>
                      </a:lnTo>
                      <a:lnTo>
                        <a:pt x="0" y="102"/>
                      </a:lnTo>
                      <a:lnTo>
                        <a:pt x="0" y="117"/>
                      </a:lnTo>
                      <a:lnTo>
                        <a:pt x="86" y="431"/>
                      </a:lnTo>
                      <a:lnTo>
                        <a:pt x="88" y="438"/>
                      </a:lnTo>
                      <a:lnTo>
                        <a:pt x="93" y="445"/>
                      </a:lnTo>
                      <a:lnTo>
                        <a:pt x="97" y="451"/>
                      </a:lnTo>
                      <a:lnTo>
                        <a:pt x="104" y="454"/>
                      </a:lnTo>
                      <a:lnTo>
                        <a:pt x="110" y="458"/>
                      </a:lnTo>
                      <a:lnTo>
                        <a:pt x="118" y="459"/>
                      </a:lnTo>
                      <a:lnTo>
                        <a:pt x="125" y="460"/>
                      </a:lnTo>
                      <a:lnTo>
                        <a:pt x="133" y="459"/>
                      </a:lnTo>
                      <a:lnTo>
                        <a:pt x="352" y="400"/>
                      </a:lnTo>
                      <a:lnTo>
                        <a:pt x="420" y="362"/>
                      </a:lnTo>
                      <a:close/>
                    </a:path>
                  </a:pathLst>
                </a:custGeom>
                <a:solidFill>
                  <a:srgbClr val="E2B768"/>
                </a:solidFill>
                <a:ln w="6350">
                  <a:solidFill>
                    <a:srgbClr val="000000"/>
                  </a:solidFill>
                  <a:round/>
                  <a:headEnd/>
                  <a:tailEnd/>
                </a:ln>
              </p:spPr>
              <p:txBody>
                <a:bodyPr/>
                <a:lstStyle/>
                <a:p>
                  <a:endParaRPr lang="en-GB"/>
                </a:p>
              </p:txBody>
            </p:sp>
            <p:sp>
              <p:nvSpPr>
                <p:cNvPr id="87458" name="Freeform 206">
                  <a:extLst>
                    <a:ext uri="{FF2B5EF4-FFF2-40B4-BE49-F238E27FC236}">
                      <a16:creationId xmlns:a16="http://schemas.microsoft.com/office/drawing/2014/main" id="{7BC74191-FAB0-4046-98E4-B2CF7520CD89}"/>
                    </a:ext>
                  </a:extLst>
                </p:cNvPr>
                <p:cNvSpPr>
                  <a:spLocks/>
                </p:cNvSpPr>
                <p:nvPr/>
              </p:nvSpPr>
              <p:spPr bwMode="auto">
                <a:xfrm rot="-876836">
                  <a:off x="1171214" y="1757352"/>
                  <a:ext cx="490880" cy="201269"/>
                </a:xfrm>
                <a:custGeom>
                  <a:avLst/>
                  <a:gdLst>
                    <a:gd name="T0" fmla="*/ 2147483646 w 221"/>
                    <a:gd name="T1" fmla="*/ 2147483646 h 73"/>
                    <a:gd name="T2" fmla="*/ 2147483646 w 221"/>
                    <a:gd name="T3" fmla="*/ 2147483646 h 73"/>
                    <a:gd name="T4" fmla="*/ 2147483646 w 221"/>
                    <a:gd name="T5" fmla="*/ 2147483646 h 73"/>
                    <a:gd name="T6" fmla="*/ 2147483646 w 221"/>
                    <a:gd name="T7" fmla="*/ 2147483646 h 73"/>
                    <a:gd name="T8" fmla="*/ 2147483646 w 221"/>
                    <a:gd name="T9" fmla="*/ 2147483646 h 73"/>
                    <a:gd name="T10" fmla="*/ 2147483646 w 221"/>
                    <a:gd name="T11" fmla="*/ 2147483646 h 73"/>
                    <a:gd name="T12" fmla="*/ 2147483646 w 221"/>
                    <a:gd name="T13" fmla="*/ 2147483646 h 73"/>
                    <a:gd name="T14" fmla="*/ 2147483646 w 221"/>
                    <a:gd name="T15" fmla="*/ 2147483646 h 73"/>
                    <a:gd name="T16" fmla="*/ 2147483646 w 221"/>
                    <a:gd name="T17" fmla="*/ 0 h 73"/>
                    <a:gd name="T18" fmla="*/ 2147483646 w 221"/>
                    <a:gd name="T19" fmla="*/ 2147483646 h 73"/>
                    <a:gd name="T20" fmla="*/ 2147483646 w 221"/>
                    <a:gd name="T21" fmla="*/ 2147483646 h 73"/>
                    <a:gd name="T22" fmla="*/ 2147483646 w 221"/>
                    <a:gd name="T23" fmla="*/ 2147483646 h 73"/>
                    <a:gd name="T24" fmla="*/ 2147483646 w 221"/>
                    <a:gd name="T25" fmla="*/ 2147483646 h 73"/>
                    <a:gd name="T26" fmla="*/ 0 w 221"/>
                    <a:gd name="T27" fmla="*/ 2147483646 h 73"/>
                    <a:gd name="T28" fmla="*/ 2147483646 w 221"/>
                    <a:gd name="T29" fmla="*/ 2147483646 h 73"/>
                    <a:gd name="T30" fmla="*/ 2147483646 w 221"/>
                    <a:gd name="T31" fmla="*/ 2147483646 h 73"/>
                    <a:gd name="T32" fmla="*/ 2147483646 w 221"/>
                    <a:gd name="T33" fmla="*/ 2147483646 h 73"/>
                    <a:gd name="T34" fmla="*/ 2147483646 w 221"/>
                    <a:gd name="T35" fmla="*/ 2147483646 h 73"/>
                    <a:gd name="T36" fmla="*/ 2147483646 w 221"/>
                    <a:gd name="T37" fmla="*/ 2147483646 h 73"/>
                    <a:gd name="T38" fmla="*/ 2147483646 w 221"/>
                    <a:gd name="T39" fmla="*/ 2147483646 h 73"/>
                    <a:gd name="T40" fmla="*/ 2147483646 w 221"/>
                    <a:gd name="T41" fmla="*/ 2147483646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1"/>
                    <a:gd name="T64" fmla="*/ 0 h 73"/>
                    <a:gd name="T65" fmla="*/ 221 w 221"/>
                    <a:gd name="T66" fmla="*/ 73 h 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1" h="73">
                      <a:moveTo>
                        <a:pt x="215" y="18"/>
                      </a:moveTo>
                      <a:lnTo>
                        <a:pt x="219" y="17"/>
                      </a:lnTo>
                      <a:lnTo>
                        <a:pt x="220" y="14"/>
                      </a:lnTo>
                      <a:lnTo>
                        <a:pt x="221" y="11"/>
                      </a:lnTo>
                      <a:lnTo>
                        <a:pt x="221" y="7"/>
                      </a:lnTo>
                      <a:lnTo>
                        <a:pt x="220" y="4"/>
                      </a:lnTo>
                      <a:lnTo>
                        <a:pt x="218" y="2"/>
                      </a:lnTo>
                      <a:lnTo>
                        <a:pt x="214" y="0"/>
                      </a:lnTo>
                      <a:lnTo>
                        <a:pt x="211" y="2"/>
                      </a:lnTo>
                      <a:lnTo>
                        <a:pt x="7" y="56"/>
                      </a:lnTo>
                      <a:lnTo>
                        <a:pt x="3" y="57"/>
                      </a:lnTo>
                      <a:lnTo>
                        <a:pt x="1" y="59"/>
                      </a:lnTo>
                      <a:lnTo>
                        <a:pt x="0" y="63"/>
                      </a:lnTo>
                      <a:lnTo>
                        <a:pt x="1" y="66"/>
                      </a:lnTo>
                      <a:lnTo>
                        <a:pt x="2" y="70"/>
                      </a:lnTo>
                      <a:lnTo>
                        <a:pt x="4" y="72"/>
                      </a:lnTo>
                      <a:lnTo>
                        <a:pt x="8" y="73"/>
                      </a:lnTo>
                      <a:lnTo>
                        <a:pt x="11" y="73"/>
                      </a:lnTo>
                      <a:lnTo>
                        <a:pt x="215" y="18"/>
                      </a:lnTo>
                      <a:close/>
                    </a:path>
                  </a:pathLst>
                </a:custGeom>
                <a:solidFill>
                  <a:srgbClr val="8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59" name="Freeform 207">
                  <a:extLst>
                    <a:ext uri="{FF2B5EF4-FFF2-40B4-BE49-F238E27FC236}">
                      <a16:creationId xmlns:a16="http://schemas.microsoft.com/office/drawing/2014/main" id="{BB431507-BB1C-4963-8083-A5E6176297C0}"/>
                    </a:ext>
                  </a:extLst>
                </p:cNvPr>
                <p:cNvSpPr>
                  <a:spLocks/>
                </p:cNvSpPr>
                <p:nvPr/>
              </p:nvSpPr>
              <p:spPr bwMode="auto">
                <a:xfrm rot="-876836">
                  <a:off x="1263534" y="1884016"/>
                  <a:ext cx="464346" cy="173313"/>
                </a:xfrm>
                <a:custGeom>
                  <a:avLst/>
                  <a:gdLst>
                    <a:gd name="T0" fmla="*/ 2147483646 w 211"/>
                    <a:gd name="T1" fmla="*/ 2147483646 h 62"/>
                    <a:gd name="T2" fmla="*/ 2147483646 w 211"/>
                    <a:gd name="T3" fmla="*/ 2147483646 h 62"/>
                    <a:gd name="T4" fmla="*/ 2147483646 w 211"/>
                    <a:gd name="T5" fmla="*/ 2147483646 h 62"/>
                    <a:gd name="T6" fmla="*/ 2147483646 w 211"/>
                    <a:gd name="T7" fmla="*/ 2147483646 h 62"/>
                    <a:gd name="T8" fmla="*/ 2147483646 w 211"/>
                    <a:gd name="T9" fmla="*/ 2147483646 h 62"/>
                    <a:gd name="T10" fmla="*/ 2147483646 w 211"/>
                    <a:gd name="T11" fmla="*/ 2147483646 h 62"/>
                    <a:gd name="T12" fmla="*/ 2147483646 w 211"/>
                    <a:gd name="T13" fmla="*/ 2147483646 h 62"/>
                    <a:gd name="T14" fmla="*/ 2147483646 w 211"/>
                    <a:gd name="T15" fmla="*/ 0 h 62"/>
                    <a:gd name="T16" fmla="*/ 2147483646 w 211"/>
                    <a:gd name="T17" fmla="*/ 0 h 62"/>
                    <a:gd name="T18" fmla="*/ 2147483646 w 211"/>
                    <a:gd name="T19" fmla="*/ 0 h 62"/>
                    <a:gd name="T20" fmla="*/ 2147483646 w 211"/>
                    <a:gd name="T21" fmla="*/ 2147483646 h 62"/>
                    <a:gd name="T22" fmla="*/ 2147483646 w 211"/>
                    <a:gd name="T23" fmla="*/ 2147483646 h 62"/>
                    <a:gd name="T24" fmla="*/ 2147483646 w 211"/>
                    <a:gd name="T25" fmla="*/ 2147483646 h 62"/>
                    <a:gd name="T26" fmla="*/ 0 w 211"/>
                    <a:gd name="T27" fmla="*/ 2147483646 h 62"/>
                    <a:gd name="T28" fmla="*/ 0 w 211"/>
                    <a:gd name="T29" fmla="*/ 2147483646 h 62"/>
                    <a:gd name="T30" fmla="*/ 0 w 211"/>
                    <a:gd name="T31" fmla="*/ 2147483646 h 62"/>
                    <a:gd name="T32" fmla="*/ 2147483646 w 211"/>
                    <a:gd name="T33" fmla="*/ 2147483646 h 62"/>
                    <a:gd name="T34" fmla="*/ 2147483646 w 211"/>
                    <a:gd name="T35" fmla="*/ 2147483646 h 62"/>
                    <a:gd name="T36" fmla="*/ 2147483646 w 211"/>
                    <a:gd name="T37" fmla="*/ 2147483646 h 62"/>
                    <a:gd name="T38" fmla="*/ 2147483646 w 211"/>
                    <a:gd name="T39" fmla="*/ 2147483646 h 62"/>
                    <a:gd name="T40" fmla="*/ 2147483646 w 211"/>
                    <a:gd name="T41" fmla="*/ 2147483646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1"/>
                    <a:gd name="T64" fmla="*/ 0 h 62"/>
                    <a:gd name="T65" fmla="*/ 211 w 211"/>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1" h="62">
                      <a:moveTo>
                        <a:pt x="209" y="8"/>
                      </a:moveTo>
                      <a:lnTo>
                        <a:pt x="210" y="7"/>
                      </a:lnTo>
                      <a:lnTo>
                        <a:pt x="211" y="6"/>
                      </a:lnTo>
                      <a:lnTo>
                        <a:pt x="211" y="4"/>
                      </a:lnTo>
                      <a:lnTo>
                        <a:pt x="211" y="2"/>
                      </a:lnTo>
                      <a:lnTo>
                        <a:pt x="211" y="1"/>
                      </a:lnTo>
                      <a:lnTo>
                        <a:pt x="210" y="0"/>
                      </a:lnTo>
                      <a:lnTo>
                        <a:pt x="207" y="0"/>
                      </a:lnTo>
                      <a:lnTo>
                        <a:pt x="206" y="0"/>
                      </a:lnTo>
                      <a:lnTo>
                        <a:pt x="3" y="54"/>
                      </a:lnTo>
                      <a:lnTo>
                        <a:pt x="2" y="55"/>
                      </a:lnTo>
                      <a:lnTo>
                        <a:pt x="1" y="56"/>
                      </a:lnTo>
                      <a:lnTo>
                        <a:pt x="0" y="59"/>
                      </a:lnTo>
                      <a:lnTo>
                        <a:pt x="0" y="60"/>
                      </a:lnTo>
                      <a:lnTo>
                        <a:pt x="1" y="61"/>
                      </a:lnTo>
                      <a:lnTo>
                        <a:pt x="2" y="62"/>
                      </a:lnTo>
                      <a:lnTo>
                        <a:pt x="3" y="62"/>
                      </a:lnTo>
                      <a:lnTo>
                        <a:pt x="5" y="62"/>
                      </a:lnTo>
                      <a:lnTo>
                        <a:pt x="209" y="8"/>
                      </a:lnTo>
                      <a:close/>
                    </a:path>
                  </a:pathLst>
                </a:custGeom>
                <a:solidFill>
                  <a:srgbClr val="8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60" name="Freeform 208">
                  <a:extLst>
                    <a:ext uri="{FF2B5EF4-FFF2-40B4-BE49-F238E27FC236}">
                      <a16:creationId xmlns:a16="http://schemas.microsoft.com/office/drawing/2014/main" id="{D6D852C0-A2CD-4D5C-BAAF-CB11BAEA9CFB}"/>
                    </a:ext>
                  </a:extLst>
                </p:cNvPr>
                <p:cNvSpPr>
                  <a:spLocks/>
                </p:cNvSpPr>
                <p:nvPr/>
              </p:nvSpPr>
              <p:spPr bwMode="auto">
                <a:xfrm rot="-876836">
                  <a:off x="1334298" y="2007083"/>
                  <a:ext cx="490880" cy="212450"/>
                </a:xfrm>
                <a:custGeom>
                  <a:avLst/>
                  <a:gdLst>
                    <a:gd name="T0" fmla="*/ 2147483646 w 222"/>
                    <a:gd name="T1" fmla="*/ 2147483646 h 76"/>
                    <a:gd name="T2" fmla="*/ 2147483646 w 222"/>
                    <a:gd name="T3" fmla="*/ 2147483646 h 76"/>
                    <a:gd name="T4" fmla="*/ 2147483646 w 222"/>
                    <a:gd name="T5" fmla="*/ 2147483646 h 76"/>
                    <a:gd name="T6" fmla="*/ 2147483646 w 222"/>
                    <a:gd name="T7" fmla="*/ 2147483646 h 76"/>
                    <a:gd name="T8" fmla="*/ 0 w 222"/>
                    <a:gd name="T9" fmla="*/ 2147483646 h 76"/>
                    <a:gd name="T10" fmla="*/ 0 w 222"/>
                    <a:gd name="T11" fmla="*/ 2147483646 h 76"/>
                    <a:gd name="T12" fmla="*/ 0 w 222"/>
                    <a:gd name="T13" fmla="*/ 2147483646 h 76"/>
                    <a:gd name="T14" fmla="*/ 2147483646 w 222"/>
                    <a:gd name="T15" fmla="*/ 2147483646 h 76"/>
                    <a:gd name="T16" fmla="*/ 2147483646 w 222"/>
                    <a:gd name="T17" fmla="*/ 2147483646 h 76"/>
                    <a:gd name="T18" fmla="*/ 2147483646 w 222"/>
                    <a:gd name="T19" fmla="*/ 2147483646 h 76"/>
                    <a:gd name="T20" fmla="*/ 2147483646 w 222"/>
                    <a:gd name="T21" fmla="*/ 2147483646 h 76"/>
                    <a:gd name="T22" fmla="*/ 2147483646 w 222"/>
                    <a:gd name="T23" fmla="*/ 0 h 76"/>
                    <a:gd name="T24" fmla="*/ 2147483646 w 222"/>
                    <a:gd name="T25" fmla="*/ 2147483646 h 76"/>
                    <a:gd name="T26" fmla="*/ 2147483646 w 222"/>
                    <a:gd name="T27" fmla="*/ 2147483646 h 76"/>
                    <a:gd name="T28" fmla="*/ 2147483646 w 222"/>
                    <a:gd name="T29" fmla="*/ 2147483646 h 76"/>
                    <a:gd name="T30" fmla="*/ 2147483646 w 222"/>
                    <a:gd name="T31" fmla="*/ 2147483646 h 76"/>
                    <a:gd name="T32" fmla="*/ 2147483646 w 222"/>
                    <a:gd name="T33" fmla="*/ 2147483646 h 76"/>
                    <a:gd name="T34" fmla="*/ 2147483646 w 222"/>
                    <a:gd name="T35" fmla="*/ 2147483646 h 76"/>
                    <a:gd name="T36" fmla="*/ 2147483646 w 222"/>
                    <a:gd name="T37" fmla="*/ 2147483646 h 76"/>
                    <a:gd name="T38" fmla="*/ 2147483646 w 222"/>
                    <a:gd name="T39" fmla="*/ 2147483646 h 76"/>
                    <a:gd name="T40" fmla="*/ 2147483646 w 222"/>
                    <a:gd name="T41" fmla="*/ 2147483646 h 7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2"/>
                    <a:gd name="T64" fmla="*/ 0 h 76"/>
                    <a:gd name="T65" fmla="*/ 222 w 222"/>
                    <a:gd name="T66" fmla="*/ 76 h 7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2" h="76">
                      <a:moveTo>
                        <a:pt x="14" y="76"/>
                      </a:moveTo>
                      <a:lnTo>
                        <a:pt x="10" y="76"/>
                      </a:lnTo>
                      <a:lnTo>
                        <a:pt x="6" y="74"/>
                      </a:lnTo>
                      <a:lnTo>
                        <a:pt x="3" y="71"/>
                      </a:lnTo>
                      <a:lnTo>
                        <a:pt x="0" y="68"/>
                      </a:lnTo>
                      <a:lnTo>
                        <a:pt x="0" y="63"/>
                      </a:lnTo>
                      <a:lnTo>
                        <a:pt x="2" y="58"/>
                      </a:lnTo>
                      <a:lnTo>
                        <a:pt x="5" y="55"/>
                      </a:lnTo>
                      <a:lnTo>
                        <a:pt x="9" y="54"/>
                      </a:lnTo>
                      <a:lnTo>
                        <a:pt x="207" y="1"/>
                      </a:lnTo>
                      <a:lnTo>
                        <a:pt x="211" y="0"/>
                      </a:lnTo>
                      <a:lnTo>
                        <a:pt x="216" y="1"/>
                      </a:lnTo>
                      <a:lnTo>
                        <a:pt x="219" y="4"/>
                      </a:lnTo>
                      <a:lnTo>
                        <a:pt x="221" y="9"/>
                      </a:lnTo>
                      <a:lnTo>
                        <a:pt x="222" y="13"/>
                      </a:lnTo>
                      <a:lnTo>
                        <a:pt x="221" y="17"/>
                      </a:lnTo>
                      <a:lnTo>
                        <a:pt x="217" y="20"/>
                      </a:lnTo>
                      <a:lnTo>
                        <a:pt x="213" y="23"/>
                      </a:lnTo>
                      <a:lnTo>
                        <a:pt x="14" y="76"/>
                      </a:lnTo>
                      <a:close/>
                    </a:path>
                  </a:pathLst>
                </a:custGeom>
                <a:solidFill>
                  <a:srgbClr val="8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61" name="Freeform 223">
                  <a:extLst>
                    <a:ext uri="{FF2B5EF4-FFF2-40B4-BE49-F238E27FC236}">
                      <a16:creationId xmlns:a16="http://schemas.microsoft.com/office/drawing/2014/main" id="{F7E7BC17-8C8D-4DF6-824C-D6E89D076680}"/>
                    </a:ext>
                  </a:extLst>
                </p:cNvPr>
                <p:cNvSpPr>
                  <a:spLocks/>
                </p:cNvSpPr>
                <p:nvPr/>
              </p:nvSpPr>
              <p:spPr bwMode="auto">
                <a:xfrm>
                  <a:off x="1154084" y="1779571"/>
                  <a:ext cx="266700" cy="112713"/>
                </a:xfrm>
                <a:custGeom>
                  <a:avLst/>
                  <a:gdLst>
                    <a:gd name="T0" fmla="*/ 2147483646 w 336"/>
                    <a:gd name="T1" fmla="*/ 0 h 143"/>
                    <a:gd name="T2" fmla="*/ 2147483646 w 336"/>
                    <a:gd name="T3" fmla="*/ 2147483646 h 143"/>
                    <a:gd name="T4" fmla="*/ 2147483646 w 336"/>
                    <a:gd name="T5" fmla="*/ 2147483646 h 143"/>
                    <a:gd name="T6" fmla="*/ 2147483646 w 336"/>
                    <a:gd name="T7" fmla="*/ 2147483646 h 143"/>
                    <a:gd name="T8" fmla="*/ 2147483646 w 336"/>
                    <a:gd name="T9" fmla="*/ 2147483646 h 143"/>
                    <a:gd name="T10" fmla="*/ 2147483646 w 336"/>
                    <a:gd name="T11" fmla="*/ 2147483646 h 143"/>
                    <a:gd name="T12" fmla="*/ 2147483646 w 336"/>
                    <a:gd name="T13" fmla="*/ 2147483646 h 143"/>
                    <a:gd name="T14" fmla="*/ 2147483646 w 336"/>
                    <a:gd name="T15" fmla="*/ 2147483646 h 143"/>
                    <a:gd name="T16" fmla="*/ 2147483646 w 336"/>
                    <a:gd name="T17" fmla="*/ 2147483646 h 143"/>
                    <a:gd name="T18" fmla="*/ 2147483646 w 336"/>
                    <a:gd name="T19" fmla="*/ 2147483646 h 143"/>
                    <a:gd name="T20" fmla="*/ 2147483646 w 336"/>
                    <a:gd name="T21" fmla="*/ 2147483646 h 143"/>
                    <a:gd name="T22" fmla="*/ 2147483646 w 336"/>
                    <a:gd name="T23" fmla="*/ 2147483646 h 143"/>
                    <a:gd name="T24" fmla="*/ 2147483646 w 336"/>
                    <a:gd name="T25" fmla="*/ 2147483646 h 143"/>
                    <a:gd name="T26" fmla="*/ 2147483646 w 336"/>
                    <a:gd name="T27" fmla="*/ 2147483646 h 143"/>
                    <a:gd name="T28" fmla="*/ 2147483646 w 336"/>
                    <a:gd name="T29" fmla="*/ 2147483646 h 143"/>
                    <a:gd name="T30" fmla="*/ 2147483646 w 336"/>
                    <a:gd name="T31" fmla="*/ 2147483646 h 143"/>
                    <a:gd name="T32" fmla="*/ 0 w 336"/>
                    <a:gd name="T33" fmla="*/ 2147483646 h 143"/>
                    <a:gd name="T34" fmla="*/ 2147483646 w 336"/>
                    <a:gd name="T35" fmla="*/ 2147483646 h 143"/>
                    <a:gd name="T36" fmla="*/ 2147483646 w 336"/>
                    <a:gd name="T37" fmla="*/ 2147483646 h 143"/>
                    <a:gd name="T38" fmla="*/ 2147483646 w 336"/>
                    <a:gd name="T39" fmla="*/ 2147483646 h 143"/>
                    <a:gd name="T40" fmla="*/ 2147483646 w 336"/>
                    <a:gd name="T41" fmla="*/ 2147483646 h 143"/>
                    <a:gd name="T42" fmla="*/ 2147483646 w 336"/>
                    <a:gd name="T43" fmla="*/ 2147483646 h 143"/>
                    <a:gd name="T44" fmla="*/ 2147483646 w 336"/>
                    <a:gd name="T45" fmla="*/ 2147483646 h 143"/>
                    <a:gd name="T46" fmla="*/ 2147483646 w 336"/>
                    <a:gd name="T47" fmla="*/ 2147483646 h 143"/>
                    <a:gd name="T48" fmla="*/ 2147483646 w 336"/>
                    <a:gd name="T49" fmla="*/ 2147483646 h 143"/>
                    <a:gd name="T50" fmla="*/ 2147483646 w 336"/>
                    <a:gd name="T51" fmla="*/ 2147483646 h 143"/>
                    <a:gd name="T52" fmla="*/ 2147483646 w 336"/>
                    <a:gd name="T53" fmla="*/ 2147483646 h 143"/>
                    <a:gd name="T54" fmla="*/ 2147483646 w 336"/>
                    <a:gd name="T55" fmla="*/ 2147483646 h 143"/>
                    <a:gd name="T56" fmla="*/ 2147483646 w 336"/>
                    <a:gd name="T57" fmla="*/ 2147483646 h 143"/>
                    <a:gd name="T58" fmla="*/ 2147483646 w 336"/>
                    <a:gd name="T59" fmla="*/ 2147483646 h 143"/>
                    <a:gd name="T60" fmla="*/ 2147483646 w 336"/>
                    <a:gd name="T61" fmla="*/ 2147483646 h 143"/>
                    <a:gd name="T62" fmla="*/ 2147483646 w 336"/>
                    <a:gd name="T63" fmla="*/ 2147483646 h 143"/>
                    <a:gd name="T64" fmla="*/ 2147483646 w 336"/>
                    <a:gd name="T65" fmla="*/ 2147483646 h 143"/>
                    <a:gd name="T66" fmla="*/ 2147483646 w 336"/>
                    <a:gd name="T67" fmla="*/ 2147483646 h 143"/>
                    <a:gd name="T68" fmla="*/ 2147483646 w 336"/>
                    <a:gd name="T69" fmla="*/ 2147483646 h 143"/>
                    <a:gd name="T70" fmla="*/ 2147483646 w 336"/>
                    <a:gd name="T71" fmla="*/ 2147483646 h 143"/>
                    <a:gd name="T72" fmla="*/ 2147483646 w 336"/>
                    <a:gd name="T73" fmla="*/ 2147483646 h 143"/>
                    <a:gd name="T74" fmla="*/ 2147483646 w 336"/>
                    <a:gd name="T75" fmla="*/ 2147483646 h 143"/>
                    <a:gd name="T76" fmla="*/ 2147483646 w 336"/>
                    <a:gd name="T77" fmla="*/ 2147483646 h 143"/>
                    <a:gd name="T78" fmla="*/ 2147483646 w 336"/>
                    <a:gd name="T79" fmla="*/ 2147483646 h 143"/>
                    <a:gd name="T80" fmla="*/ 2147483646 w 336"/>
                    <a:gd name="T81" fmla="*/ 2147483646 h 143"/>
                    <a:gd name="T82" fmla="*/ 2147483646 w 336"/>
                    <a:gd name="T83" fmla="*/ 2147483646 h 143"/>
                    <a:gd name="T84" fmla="*/ 2147483646 w 336"/>
                    <a:gd name="T85" fmla="*/ 2147483646 h 143"/>
                    <a:gd name="T86" fmla="*/ 2147483646 w 336"/>
                    <a:gd name="T87" fmla="*/ 2147483646 h 143"/>
                    <a:gd name="T88" fmla="*/ 2147483646 w 336"/>
                    <a:gd name="T89" fmla="*/ 2147483646 h 143"/>
                    <a:gd name="T90" fmla="*/ 2147483646 w 336"/>
                    <a:gd name="T91" fmla="*/ 2147483646 h 143"/>
                    <a:gd name="T92" fmla="*/ 2147483646 w 336"/>
                    <a:gd name="T93" fmla="*/ 2147483646 h 143"/>
                    <a:gd name="T94" fmla="*/ 2147483646 w 336"/>
                    <a:gd name="T95" fmla="*/ 2147483646 h 143"/>
                    <a:gd name="T96" fmla="*/ 2147483646 w 336"/>
                    <a:gd name="T97" fmla="*/ 2147483646 h 143"/>
                    <a:gd name="T98" fmla="*/ 2147483646 w 336"/>
                    <a:gd name="T99" fmla="*/ 2147483646 h 143"/>
                    <a:gd name="T100" fmla="*/ 2147483646 w 336"/>
                    <a:gd name="T101" fmla="*/ 2147483646 h 143"/>
                    <a:gd name="T102" fmla="*/ 2147483646 w 336"/>
                    <a:gd name="T103" fmla="*/ 2147483646 h 143"/>
                    <a:gd name="T104" fmla="*/ 2147483646 w 336"/>
                    <a:gd name="T105" fmla="*/ 2147483646 h 143"/>
                    <a:gd name="T106" fmla="*/ 2147483646 w 336"/>
                    <a:gd name="T107" fmla="*/ 2147483646 h 143"/>
                    <a:gd name="T108" fmla="*/ 2147483646 w 336"/>
                    <a:gd name="T109" fmla="*/ 2147483646 h 143"/>
                    <a:gd name="T110" fmla="*/ 2147483646 w 336"/>
                    <a:gd name="T111" fmla="*/ 2147483646 h 143"/>
                    <a:gd name="T112" fmla="*/ 2147483646 w 336"/>
                    <a:gd name="T113" fmla="*/ 0 h 14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36"/>
                    <a:gd name="T172" fmla="*/ 0 h 143"/>
                    <a:gd name="T173" fmla="*/ 336 w 336"/>
                    <a:gd name="T174" fmla="*/ 143 h 14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36" h="143">
                      <a:moveTo>
                        <a:pt x="167" y="0"/>
                      </a:moveTo>
                      <a:lnTo>
                        <a:pt x="161" y="7"/>
                      </a:lnTo>
                      <a:lnTo>
                        <a:pt x="154" y="15"/>
                      </a:lnTo>
                      <a:lnTo>
                        <a:pt x="146" y="23"/>
                      </a:lnTo>
                      <a:lnTo>
                        <a:pt x="136" y="31"/>
                      </a:lnTo>
                      <a:lnTo>
                        <a:pt x="124" y="41"/>
                      </a:lnTo>
                      <a:lnTo>
                        <a:pt x="111" y="50"/>
                      </a:lnTo>
                      <a:lnTo>
                        <a:pt x="97" y="58"/>
                      </a:lnTo>
                      <a:lnTo>
                        <a:pt x="81" y="67"/>
                      </a:lnTo>
                      <a:lnTo>
                        <a:pt x="70" y="73"/>
                      </a:lnTo>
                      <a:lnTo>
                        <a:pt x="58" y="77"/>
                      </a:lnTo>
                      <a:lnTo>
                        <a:pt x="48" y="82"/>
                      </a:lnTo>
                      <a:lnTo>
                        <a:pt x="38" y="84"/>
                      </a:lnTo>
                      <a:lnTo>
                        <a:pt x="27" y="88"/>
                      </a:lnTo>
                      <a:lnTo>
                        <a:pt x="18" y="89"/>
                      </a:lnTo>
                      <a:lnTo>
                        <a:pt x="9" y="90"/>
                      </a:lnTo>
                      <a:lnTo>
                        <a:pt x="0" y="91"/>
                      </a:lnTo>
                      <a:lnTo>
                        <a:pt x="11" y="101"/>
                      </a:lnTo>
                      <a:lnTo>
                        <a:pt x="23" y="107"/>
                      </a:lnTo>
                      <a:lnTo>
                        <a:pt x="35" y="116"/>
                      </a:lnTo>
                      <a:lnTo>
                        <a:pt x="48" y="121"/>
                      </a:lnTo>
                      <a:lnTo>
                        <a:pt x="59" y="127"/>
                      </a:lnTo>
                      <a:lnTo>
                        <a:pt x="72" y="132"/>
                      </a:lnTo>
                      <a:lnTo>
                        <a:pt x="86" y="135"/>
                      </a:lnTo>
                      <a:lnTo>
                        <a:pt x="99" y="139"/>
                      </a:lnTo>
                      <a:lnTo>
                        <a:pt x="114" y="141"/>
                      </a:lnTo>
                      <a:lnTo>
                        <a:pt x="127" y="142"/>
                      </a:lnTo>
                      <a:lnTo>
                        <a:pt x="142" y="143"/>
                      </a:lnTo>
                      <a:lnTo>
                        <a:pt x="156" y="143"/>
                      </a:lnTo>
                      <a:lnTo>
                        <a:pt x="171" y="143"/>
                      </a:lnTo>
                      <a:lnTo>
                        <a:pt x="185" y="142"/>
                      </a:lnTo>
                      <a:lnTo>
                        <a:pt x="200" y="140"/>
                      </a:lnTo>
                      <a:lnTo>
                        <a:pt x="214" y="137"/>
                      </a:lnTo>
                      <a:lnTo>
                        <a:pt x="229" y="135"/>
                      </a:lnTo>
                      <a:lnTo>
                        <a:pt x="244" y="132"/>
                      </a:lnTo>
                      <a:lnTo>
                        <a:pt x="259" y="128"/>
                      </a:lnTo>
                      <a:lnTo>
                        <a:pt x="274" y="124"/>
                      </a:lnTo>
                      <a:lnTo>
                        <a:pt x="289" y="119"/>
                      </a:lnTo>
                      <a:lnTo>
                        <a:pt x="305" y="113"/>
                      </a:lnTo>
                      <a:lnTo>
                        <a:pt x="320" y="107"/>
                      </a:lnTo>
                      <a:lnTo>
                        <a:pt x="336" y="102"/>
                      </a:lnTo>
                      <a:lnTo>
                        <a:pt x="325" y="101"/>
                      </a:lnTo>
                      <a:lnTo>
                        <a:pt x="313" y="99"/>
                      </a:lnTo>
                      <a:lnTo>
                        <a:pt x="301" y="96"/>
                      </a:lnTo>
                      <a:lnTo>
                        <a:pt x="290" y="94"/>
                      </a:lnTo>
                      <a:lnTo>
                        <a:pt x="280" y="90"/>
                      </a:lnTo>
                      <a:lnTo>
                        <a:pt x="268" y="86"/>
                      </a:lnTo>
                      <a:lnTo>
                        <a:pt x="258" y="80"/>
                      </a:lnTo>
                      <a:lnTo>
                        <a:pt x="248" y="74"/>
                      </a:lnTo>
                      <a:lnTo>
                        <a:pt x="238" y="66"/>
                      </a:lnTo>
                      <a:lnTo>
                        <a:pt x="227" y="57"/>
                      </a:lnTo>
                      <a:lnTo>
                        <a:pt x="215" y="48"/>
                      </a:lnTo>
                      <a:lnTo>
                        <a:pt x="205" y="37"/>
                      </a:lnTo>
                      <a:lnTo>
                        <a:pt x="194" y="27"/>
                      </a:lnTo>
                      <a:lnTo>
                        <a:pt x="184" y="18"/>
                      </a:lnTo>
                      <a:lnTo>
                        <a:pt x="175" y="8"/>
                      </a:lnTo>
                      <a:lnTo>
                        <a:pt x="16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62" name="Freeform 224">
                  <a:extLst>
                    <a:ext uri="{FF2B5EF4-FFF2-40B4-BE49-F238E27FC236}">
                      <a16:creationId xmlns:a16="http://schemas.microsoft.com/office/drawing/2014/main" id="{E4E54AA3-F37E-41AA-BACE-9D77AED60C84}"/>
                    </a:ext>
                  </a:extLst>
                </p:cNvPr>
                <p:cNvSpPr>
                  <a:spLocks/>
                </p:cNvSpPr>
                <p:nvPr/>
              </p:nvSpPr>
              <p:spPr bwMode="auto">
                <a:xfrm>
                  <a:off x="923896" y="1165208"/>
                  <a:ext cx="295275" cy="212725"/>
                </a:xfrm>
                <a:custGeom>
                  <a:avLst/>
                  <a:gdLst>
                    <a:gd name="T0" fmla="*/ 2147483646 w 374"/>
                    <a:gd name="T1" fmla="*/ 2147483646 h 268"/>
                    <a:gd name="T2" fmla="*/ 2147483646 w 374"/>
                    <a:gd name="T3" fmla="*/ 2147483646 h 268"/>
                    <a:gd name="T4" fmla="*/ 2147483646 w 374"/>
                    <a:gd name="T5" fmla="*/ 2147483646 h 268"/>
                    <a:gd name="T6" fmla="*/ 2147483646 w 374"/>
                    <a:gd name="T7" fmla="*/ 2147483646 h 268"/>
                    <a:gd name="T8" fmla="*/ 2147483646 w 374"/>
                    <a:gd name="T9" fmla="*/ 2147483646 h 268"/>
                    <a:gd name="T10" fmla="*/ 2147483646 w 374"/>
                    <a:gd name="T11" fmla="*/ 2147483646 h 268"/>
                    <a:gd name="T12" fmla="*/ 2147483646 w 374"/>
                    <a:gd name="T13" fmla="*/ 2147483646 h 268"/>
                    <a:gd name="T14" fmla="*/ 2147483646 w 374"/>
                    <a:gd name="T15" fmla="*/ 2147483646 h 268"/>
                    <a:gd name="T16" fmla="*/ 2147483646 w 374"/>
                    <a:gd name="T17" fmla="*/ 2147483646 h 268"/>
                    <a:gd name="T18" fmla="*/ 2147483646 w 374"/>
                    <a:gd name="T19" fmla="*/ 2147483646 h 268"/>
                    <a:gd name="T20" fmla="*/ 2147483646 w 374"/>
                    <a:gd name="T21" fmla="*/ 2147483646 h 268"/>
                    <a:gd name="T22" fmla="*/ 2147483646 w 374"/>
                    <a:gd name="T23" fmla="*/ 2147483646 h 268"/>
                    <a:gd name="T24" fmla="*/ 2147483646 w 374"/>
                    <a:gd name="T25" fmla="*/ 2147483646 h 268"/>
                    <a:gd name="T26" fmla="*/ 2147483646 w 374"/>
                    <a:gd name="T27" fmla="*/ 2147483646 h 268"/>
                    <a:gd name="T28" fmla="*/ 2147483646 w 374"/>
                    <a:gd name="T29" fmla="*/ 2147483646 h 268"/>
                    <a:gd name="T30" fmla="*/ 2147483646 w 374"/>
                    <a:gd name="T31" fmla="*/ 2147483646 h 268"/>
                    <a:gd name="T32" fmla="*/ 2147483646 w 374"/>
                    <a:gd name="T33" fmla="*/ 2147483646 h 268"/>
                    <a:gd name="T34" fmla="*/ 2147483646 w 374"/>
                    <a:gd name="T35" fmla="*/ 2147483646 h 268"/>
                    <a:gd name="T36" fmla="*/ 2147483646 w 374"/>
                    <a:gd name="T37" fmla="*/ 2147483646 h 268"/>
                    <a:gd name="T38" fmla="*/ 2147483646 w 374"/>
                    <a:gd name="T39" fmla="*/ 2147483646 h 268"/>
                    <a:gd name="T40" fmla="*/ 2147483646 w 374"/>
                    <a:gd name="T41" fmla="*/ 2147483646 h 268"/>
                    <a:gd name="T42" fmla="*/ 2147483646 w 374"/>
                    <a:gd name="T43" fmla="*/ 2147483646 h 268"/>
                    <a:gd name="T44" fmla="*/ 2147483646 w 374"/>
                    <a:gd name="T45" fmla="*/ 2147483646 h 268"/>
                    <a:gd name="T46" fmla="*/ 2147483646 w 374"/>
                    <a:gd name="T47" fmla="*/ 2147483646 h 268"/>
                    <a:gd name="T48" fmla="*/ 2147483646 w 374"/>
                    <a:gd name="T49" fmla="*/ 2147483646 h 268"/>
                    <a:gd name="T50" fmla="*/ 2147483646 w 374"/>
                    <a:gd name="T51" fmla="*/ 2147483646 h 268"/>
                    <a:gd name="T52" fmla="*/ 2147483646 w 374"/>
                    <a:gd name="T53" fmla="*/ 2147483646 h 268"/>
                    <a:gd name="T54" fmla="*/ 0 w 374"/>
                    <a:gd name="T55" fmla="*/ 2147483646 h 268"/>
                    <a:gd name="T56" fmla="*/ 2147483646 w 374"/>
                    <a:gd name="T57" fmla="*/ 2147483646 h 268"/>
                    <a:gd name="T58" fmla="*/ 2147483646 w 374"/>
                    <a:gd name="T59" fmla="*/ 2147483646 h 268"/>
                    <a:gd name="T60" fmla="*/ 2147483646 w 374"/>
                    <a:gd name="T61" fmla="*/ 2147483646 h 268"/>
                    <a:gd name="T62" fmla="*/ 2147483646 w 374"/>
                    <a:gd name="T63" fmla="*/ 2147483646 h 2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4"/>
                    <a:gd name="T97" fmla="*/ 0 h 268"/>
                    <a:gd name="T98" fmla="*/ 374 w 374"/>
                    <a:gd name="T99" fmla="*/ 268 h 2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4" h="268">
                      <a:moveTo>
                        <a:pt x="50" y="229"/>
                      </a:moveTo>
                      <a:lnTo>
                        <a:pt x="66" y="240"/>
                      </a:lnTo>
                      <a:lnTo>
                        <a:pt x="83" y="249"/>
                      </a:lnTo>
                      <a:lnTo>
                        <a:pt x="102" y="257"/>
                      </a:lnTo>
                      <a:lnTo>
                        <a:pt x="121" y="263"/>
                      </a:lnTo>
                      <a:lnTo>
                        <a:pt x="141" y="266"/>
                      </a:lnTo>
                      <a:lnTo>
                        <a:pt x="161" y="268"/>
                      </a:lnTo>
                      <a:lnTo>
                        <a:pt x="183" y="268"/>
                      </a:lnTo>
                      <a:lnTo>
                        <a:pt x="205" y="266"/>
                      </a:lnTo>
                      <a:lnTo>
                        <a:pt x="242" y="258"/>
                      </a:lnTo>
                      <a:lnTo>
                        <a:pt x="277" y="245"/>
                      </a:lnTo>
                      <a:lnTo>
                        <a:pt x="307" y="229"/>
                      </a:lnTo>
                      <a:lnTo>
                        <a:pt x="332" y="207"/>
                      </a:lnTo>
                      <a:lnTo>
                        <a:pt x="352" y="184"/>
                      </a:lnTo>
                      <a:lnTo>
                        <a:pt x="367" y="158"/>
                      </a:lnTo>
                      <a:lnTo>
                        <a:pt x="374" y="130"/>
                      </a:lnTo>
                      <a:lnTo>
                        <a:pt x="374" y="101"/>
                      </a:lnTo>
                      <a:lnTo>
                        <a:pt x="370" y="85"/>
                      </a:lnTo>
                      <a:lnTo>
                        <a:pt x="364" y="69"/>
                      </a:lnTo>
                      <a:lnTo>
                        <a:pt x="357" y="55"/>
                      </a:lnTo>
                      <a:lnTo>
                        <a:pt x="347" y="41"/>
                      </a:lnTo>
                      <a:lnTo>
                        <a:pt x="335" y="29"/>
                      </a:lnTo>
                      <a:lnTo>
                        <a:pt x="323" y="18"/>
                      </a:lnTo>
                      <a:lnTo>
                        <a:pt x="308" y="8"/>
                      </a:lnTo>
                      <a:lnTo>
                        <a:pt x="292" y="0"/>
                      </a:lnTo>
                      <a:lnTo>
                        <a:pt x="294" y="101"/>
                      </a:lnTo>
                      <a:lnTo>
                        <a:pt x="291" y="107"/>
                      </a:lnTo>
                      <a:lnTo>
                        <a:pt x="282" y="119"/>
                      </a:lnTo>
                      <a:lnTo>
                        <a:pt x="272" y="129"/>
                      </a:lnTo>
                      <a:lnTo>
                        <a:pt x="263" y="137"/>
                      </a:lnTo>
                      <a:lnTo>
                        <a:pt x="251" y="145"/>
                      </a:lnTo>
                      <a:lnTo>
                        <a:pt x="240" y="151"/>
                      </a:lnTo>
                      <a:lnTo>
                        <a:pt x="227" y="157"/>
                      </a:lnTo>
                      <a:lnTo>
                        <a:pt x="214" y="160"/>
                      </a:lnTo>
                      <a:lnTo>
                        <a:pt x="201" y="162"/>
                      </a:lnTo>
                      <a:lnTo>
                        <a:pt x="185" y="164"/>
                      </a:lnTo>
                      <a:lnTo>
                        <a:pt x="167" y="165"/>
                      </a:lnTo>
                      <a:lnTo>
                        <a:pt x="151" y="164"/>
                      </a:lnTo>
                      <a:lnTo>
                        <a:pt x="134" y="159"/>
                      </a:lnTo>
                      <a:lnTo>
                        <a:pt x="119" y="152"/>
                      </a:lnTo>
                      <a:lnTo>
                        <a:pt x="104" y="142"/>
                      </a:lnTo>
                      <a:lnTo>
                        <a:pt x="91" y="128"/>
                      </a:lnTo>
                      <a:lnTo>
                        <a:pt x="80" y="108"/>
                      </a:lnTo>
                      <a:lnTo>
                        <a:pt x="78" y="105"/>
                      </a:lnTo>
                      <a:lnTo>
                        <a:pt x="81" y="14"/>
                      </a:lnTo>
                      <a:lnTo>
                        <a:pt x="73" y="18"/>
                      </a:lnTo>
                      <a:lnTo>
                        <a:pt x="66" y="23"/>
                      </a:lnTo>
                      <a:lnTo>
                        <a:pt x="59" y="29"/>
                      </a:lnTo>
                      <a:lnTo>
                        <a:pt x="52" y="35"/>
                      </a:lnTo>
                      <a:lnTo>
                        <a:pt x="45" y="40"/>
                      </a:lnTo>
                      <a:lnTo>
                        <a:pt x="39" y="46"/>
                      </a:lnTo>
                      <a:lnTo>
                        <a:pt x="34" y="52"/>
                      </a:lnTo>
                      <a:lnTo>
                        <a:pt x="28" y="59"/>
                      </a:lnTo>
                      <a:lnTo>
                        <a:pt x="14" y="81"/>
                      </a:lnTo>
                      <a:lnTo>
                        <a:pt x="5" y="104"/>
                      </a:lnTo>
                      <a:lnTo>
                        <a:pt x="0" y="127"/>
                      </a:lnTo>
                      <a:lnTo>
                        <a:pt x="1" y="150"/>
                      </a:lnTo>
                      <a:lnTo>
                        <a:pt x="4" y="161"/>
                      </a:lnTo>
                      <a:lnTo>
                        <a:pt x="6" y="173"/>
                      </a:lnTo>
                      <a:lnTo>
                        <a:pt x="10" y="183"/>
                      </a:lnTo>
                      <a:lnTo>
                        <a:pt x="16" y="194"/>
                      </a:lnTo>
                      <a:lnTo>
                        <a:pt x="23" y="203"/>
                      </a:lnTo>
                      <a:lnTo>
                        <a:pt x="31" y="212"/>
                      </a:lnTo>
                      <a:lnTo>
                        <a:pt x="39" y="221"/>
                      </a:lnTo>
                      <a:lnTo>
                        <a:pt x="50" y="2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63" name="Freeform 225">
                  <a:extLst>
                    <a:ext uri="{FF2B5EF4-FFF2-40B4-BE49-F238E27FC236}">
                      <a16:creationId xmlns:a16="http://schemas.microsoft.com/office/drawing/2014/main" id="{769536B6-3F7A-469B-AC4B-7664F8D56796}"/>
                    </a:ext>
                  </a:extLst>
                </p:cNvPr>
                <p:cNvSpPr>
                  <a:spLocks/>
                </p:cNvSpPr>
                <p:nvPr/>
              </p:nvSpPr>
              <p:spPr bwMode="auto">
                <a:xfrm>
                  <a:off x="809596" y="1071546"/>
                  <a:ext cx="1012825" cy="757238"/>
                </a:xfrm>
                <a:custGeom>
                  <a:avLst/>
                  <a:gdLst>
                    <a:gd name="T0" fmla="*/ 2147483646 w 1276"/>
                    <a:gd name="T1" fmla="*/ 2147483646 h 954"/>
                    <a:gd name="T2" fmla="*/ 2147483646 w 1276"/>
                    <a:gd name="T3" fmla="*/ 2147483646 h 954"/>
                    <a:gd name="T4" fmla="*/ 2147483646 w 1276"/>
                    <a:gd name="T5" fmla="*/ 2147483646 h 954"/>
                    <a:gd name="T6" fmla="*/ 2147483646 w 1276"/>
                    <a:gd name="T7" fmla="*/ 2147483646 h 954"/>
                    <a:gd name="T8" fmla="*/ 2147483646 w 1276"/>
                    <a:gd name="T9" fmla="*/ 2147483646 h 954"/>
                    <a:gd name="T10" fmla="*/ 2147483646 w 1276"/>
                    <a:gd name="T11" fmla="*/ 2147483646 h 954"/>
                    <a:gd name="T12" fmla="*/ 2147483646 w 1276"/>
                    <a:gd name="T13" fmla="*/ 2147483646 h 954"/>
                    <a:gd name="T14" fmla="*/ 2147483646 w 1276"/>
                    <a:gd name="T15" fmla="*/ 2147483646 h 954"/>
                    <a:gd name="T16" fmla="*/ 2147483646 w 1276"/>
                    <a:gd name="T17" fmla="*/ 2147483646 h 954"/>
                    <a:gd name="T18" fmla="*/ 2147483646 w 1276"/>
                    <a:gd name="T19" fmla="*/ 2147483646 h 954"/>
                    <a:gd name="T20" fmla="*/ 2147483646 w 1276"/>
                    <a:gd name="T21" fmla="*/ 2147483646 h 954"/>
                    <a:gd name="T22" fmla="*/ 2147483646 w 1276"/>
                    <a:gd name="T23" fmla="*/ 2147483646 h 954"/>
                    <a:gd name="T24" fmla="*/ 2147483646 w 1276"/>
                    <a:gd name="T25" fmla="*/ 2147483646 h 954"/>
                    <a:gd name="T26" fmla="*/ 2147483646 w 1276"/>
                    <a:gd name="T27" fmla="*/ 2147483646 h 954"/>
                    <a:gd name="T28" fmla="*/ 2147483646 w 1276"/>
                    <a:gd name="T29" fmla="*/ 2147483646 h 954"/>
                    <a:gd name="T30" fmla="*/ 2147483646 w 1276"/>
                    <a:gd name="T31" fmla="*/ 2147483646 h 954"/>
                    <a:gd name="T32" fmla="*/ 2147483646 w 1276"/>
                    <a:gd name="T33" fmla="*/ 2147483646 h 954"/>
                    <a:gd name="T34" fmla="*/ 2147483646 w 1276"/>
                    <a:gd name="T35" fmla="*/ 2147483646 h 954"/>
                    <a:gd name="T36" fmla="*/ 2147483646 w 1276"/>
                    <a:gd name="T37" fmla="*/ 2147483646 h 954"/>
                    <a:gd name="T38" fmla="*/ 2147483646 w 1276"/>
                    <a:gd name="T39" fmla="*/ 2147483646 h 954"/>
                    <a:gd name="T40" fmla="*/ 0 w 1276"/>
                    <a:gd name="T41" fmla="*/ 2147483646 h 954"/>
                    <a:gd name="T42" fmla="*/ 2147483646 w 1276"/>
                    <a:gd name="T43" fmla="*/ 2147483646 h 954"/>
                    <a:gd name="T44" fmla="*/ 2147483646 w 1276"/>
                    <a:gd name="T45" fmla="*/ 2147483646 h 954"/>
                    <a:gd name="T46" fmla="*/ 2147483646 w 1276"/>
                    <a:gd name="T47" fmla="*/ 2147483646 h 954"/>
                    <a:gd name="T48" fmla="*/ 2147483646 w 1276"/>
                    <a:gd name="T49" fmla="*/ 2147483646 h 954"/>
                    <a:gd name="T50" fmla="*/ 2147483646 w 1276"/>
                    <a:gd name="T51" fmla="*/ 2147483646 h 954"/>
                    <a:gd name="T52" fmla="*/ 2147483646 w 1276"/>
                    <a:gd name="T53" fmla="*/ 2147483646 h 954"/>
                    <a:gd name="T54" fmla="*/ 2147483646 w 1276"/>
                    <a:gd name="T55" fmla="*/ 2147483646 h 954"/>
                    <a:gd name="T56" fmla="*/ 2147483646 w 1276"/>
                    <a:gd name="T57" fmla="*/ 2147483646 h 954"/>
                    <a:gd name="T58" fmla="*/ 2147483646 w 1276"/>
                    <a:gd name="T59" fmla="*/ 2147483646 h 954"/>
                    <a:gd name="T60" fmla="*/ 2147483646 w 1276"/>
                    <a:gd name="T61" fmla="*/ 2147483646 h 954"/>
                    <a:gd name="T62" fmla="*/ 2147483646 w 1276"/>
                    <a:gd name="T63" fmla="*/ 2147483646 h 954"/>
                    <a:gd name="T64" fmla="*/ 2147483646 w 1276"/>
                    <a:gd name="T65" fmla="*/ 2147483646 h 954"/>
                    <a:gd name="T66" fmla="*/ 2147483646 w 1276"/>
                    <a:gd name="T67" fmla="*/ 2147483646 h 954"/>
                    <a:gd name="T68" fmla="*/ 2147483646 w 1276"/>
                    <a:gd name="T69" fmla="*/ 2147483646 h 954"/>
                    <a:gd name="T70" fmla="*/ 2147483646 w 1276"/>
                    <a:gd name="T71" fmla="*/ 2147483646 h 954"/>
                    <a:gd name="T72" fmla="*/ 2147483646 w 1276"/>
                    <a:gd name="T73" fmla="*/ 2147483646 h 954"/>
                    <a:gd name="T74" fmla="*/ 2147483646 w 1276"/>
                    <a:gd name="T75" fmla="*/ 2147483646 h 954"/>
                    <a:gd name="T76" fmla="*/ 2147483646 w 1276"/>
                    <a:gd name="T77" fmla="*/ 2147483646 h 954"/>
                    <a:gd name="T78" fmla="*/ 2147483646 w 1276"/>
                    <a:gd name="T79" fmla="*/ 2147483646 h 954"/>
                    <a:gd name="T80" fmla="*/ 2147483646 w 1276"/>
                    <a:gd name="T81" fmla="*/ 2147483646 h 954"/>
                    <a:gd name="T82" fmla="*/ 2147483646 w 1276"/>
                    <a:gd name="T83" fmla="*/ 2147483646 h 954"/>
                    <a:gd name="T84" fmla="*/ 2147483646 w 1276"/>
                    <a:gd name="T85" fmla="*/ 2147483646 h 954"/>
                    <a:gd name="T86" fmla="*/ 2147483646 w 1276"/>
                    <a:gd name="T87" fmla="*/ 2147483646 h 954"/>
                    <a:gd name="T88" fmla="*/ 2147483646 w 1276"/>
                    <a:gd name="T89" fmla="*/ 2147483646 h 954"/>
                    <a:gd name="T90" fmla="*/ 2147483646 w 1276"/>
                    <a:gd name="T91" fmla="*/ 2147483646 h 954"/>
                    <a:gd name="T92" fmla="*/ 2147483646 w 1276"/>
                    <a:gd name="T93" fmla="*/ 2147483646 h 954"/>
                    <a:gd name="T94" fmla="*/ 2147483646 w 1276"/>
                    <a:gd name="T95" fmla="*/ 2147483646 h 95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276"/>
                    <a:gd name="T145" fmla="*/ 0 h 954"/>
                    <a:gd name="T146" fmla="*/ 1276 w 1276"/>
                    <a:gd name="T147" fmla="*/ 954 h 95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276" h="954">
                      <a:moveTo>
                        <a:pt x="990" y="481"/>
                      </a:moveTo>
                      <a:lnTo>
                        <a:pt x="974" y="460"/>
                      </a:lnTo>
                      <a:lnTo>
                        <a:pt x="958" y="435"/>
                      </a:lnTo>
                      <a:lnTo>
                        <a:pt x="941" y="407"/>
                      </a:lnTo>
                      <a:lnTo>
                        <a:pt x="924" y="376"/>
                      </a:lnTo>
                      <a:lnTo>
                        <a:pt x="907" y="343"/>
                      </a:lnTo>
                      <a:lnTo>
                        <a:pt x="891" y="308"/>
                      </a:lnTo>
                      <a:lnTo>
                        <a:pt x="875" y="272"/>
                      </a:lnTo>
                      <a:lnTo>
                        <a:pt x="860" y="237"/>
                      </a:lnTo>
                      <a:lnTo>
                        <a:pt x="845" y="201"/>
                      </a:lnTo>
                      <a:lnTo>
                        <a:pt x="830" y="165"/>
                      </a:lnTo>
                      <a:lnTo>
                        <a:pt x="817" y="132"/>
                      </a:lnTo>
                      <a:lnTo>
                        <a:pt x="805" y="99"/>
                      </a:lnTo>
                      <a:lnTo>
                        <a:pt x="794" y="69"/>
                      </a:lnTo>
                      <a:lnTo>
                        <a:pt x="785" y="43"/>
                      </a:lnTo>
                      <a:lnTo>
                        <a:pt x="777" y="20"/>
                      </a:lnTo>
                      <a:lnTo>
                        <a:pt x="770" y="0"/>
                      </a:lnTo>
                      <a:lnTo>
                        <a:pt x="762" y="6"/>
                      </a:lnTo>
                      <a:lnTo>
                        <a:pt x="753" y="13"/>
                      </a:lnTo>
                      <a:lnTo>
                        <a:pt x="742" y="20"/>
                      </a:lnTo>
                      <a:lnTo>
                        <a:pt x="731" y="28"/>
                      </a:lnTo>
                      <a:lnTo>
                        <a:pt x="719" y="36"/>
                      </a:lnTo>
                      <a:lnTo>
                        <a:pt x="705" y="45"/>
                      </a:lnTo>
                      <a:lnTo>
                        <a:pt x="692" y="56"/>
                      </a:lnTo>
                      <a:lnTo>
                        <a:pt x="677" y="65"/>
                      </a:lnTo>
                      <a:lnTo>
                        <a:pt x="662" y="75"/>
                      </a:lnTo>
                      <a:lnTo>
                        <a:pt x="646" y="87"/>
                      </a:lnTo>
                      <a:lnTo>
                        <a:pt x="628" y="97"/>
                      </a:lnTo>
                      <a:lnTo>
                        <a:pt x="610" y="109"/>
                      </a:lnTo>
                      <a:lnTo>
                        <a:pt x="591" y="120"/>
                      </a:lnTo>
                      <a:lnTo>
                        <a:pt x="573" y="130"/>
                      </a:lnTo>
                      <a:lnTo>
                        <a:pt x="553" y="142"/>
                      </a:lnTo>
                      <a:lnTo>
                        <a:pt x="534" y="154"/>
                      </a:lnTo>
                      <a:lnTo>
                        <a:pt x="542" y="167"/>
                      </a:lnTo>
                      <a:lnTo>
                        <a:pt x="549" y="182"/>
                      </a:lnTo>
                      <a:lnTo>
                        <a:pt x="553" y="198"/>
                      </a:lnTo>
                      <a:lnTo>
                        <a:pt x="557" y="215"/>
                      </a:lnTo>
                      <a:lnTo>
                        <a:pt x="558" y="233"/>
                      </a:lnTo>
                      <a:lnTo>
                        <a:pt x="557" y="251"/>
                      </a:lnTo>
                      <a:lnTo>
                        <a:pt x="553" y="270"/>
                      </a:lnTo>
                      <a:lnTo>
                        <a:pt x="548" y="287"/>
                      </a:lnTo>
                      <a:lnTo>
                        <a:pt x="541" y="305"/>
                      </a:lnTo>
                      <a:lnTo>
                        <a:pt x="531" y="321"/>
                      </a:lnTo>
                      <a:lnTo>
                        <a:pt x="520" y="337"/>
                      </a:lnTo>
                      <a:lnTo>
                        <a:pt x="507" y="352"/>
                      </a:lnTo>
                      <a:lnTo>
                        <a:pt x="492" y="366"/>
                      </a:lnTo>
                      <a:lnTo>
                        <a:pt x="476" y="378"/>
                      </a:lnTo>
                      <a:lnTo>
                        <a:pt x="459" y="390"/>
                      </a:lnTo>
                      <a:lnTo>
                        <a:pt x="440" y="400"/>
                      </a:lnTo>
                      <a:lnTo>
                        <a:pt x="420" y="408"/>
                      </a:lnTo>
                      <a:lnTo>
                        <a:pt x="399" y="416"/>
                      </a:lnTo>
                      <a:lnTo>
                        <a:pt x="377" y="422"/>
                      </a:lnTo>
                      <a:lnTo>
                        <a:pt x="354" y="426"/>
                      </a:lnTo>
                      <a:lnTo>
                        <a:pt x="353" y="426"/>
                      </a:lnTo>
                      <a:lnTo>
                        <a:pt x="352" y="426"/>
                      </a:lnTo>
                      <a:lnTo>
                        <a:pt x="349" y="426"/>
                      </a:lnTo>
                      <a:lnTo>
                        <a:pt x="348" y="426"/>
                      </a:lnTo>
                      <a:lnTo>
                        <a:pt x="347" y="511"/>
                      </a:lnTo>
                      <a:lnTo>
                        <a:pt x="308" y="510"/>
                      </a:lnTo>
                      <a:lnTo>
                        <a:pt x="308" y="428"/>
                      </a:lnTo>
                      <a:lnTo>
                        <a:pt x="288" y="427"/>
                      </a:lnTo>
                      <a:lnTo>
                        <a:pt x="270" y="423"/>
                      </a:lnTo>
                      <a:lnTo>
                        <a:pt x="251" y="420"/>
                      </a:lnTo>
                      <a:lnTo>
                        <a:pt x="233" y="414"/>
                      </a:lnTo>
                      <a:lnTo>
                        <a:pt x="216" y="407"/>
                      </a:lnTo>
                      <a:lnTo>
                        <a:pt x="200" y="400"/>
                      </a:lnTo>
                      <a:lnTo>
                        <a:pt x="183" y="391"/>
                      </a:lnTo>
                      <a:lnTo>
                        <a:pt x="168" y="381"/>
                      </a:lnTo>
                      <a:lnTo>
                        <a:pt x="162" y="375"/>
                      </a:lnTo>
                      <a:lnTo>
                        <a:pt x="155" y="369"/>
                      </a:lnTo>
                      <a:lnTo>
                        <a:pt x="149" y="362"/>
                      </a:lnTo>
                      <a:lnTo>
                        <a:pt x="142" y="355"/>
                      </a:lnTo>
                      <a:lnTo>
                        <a:pt x="137" y="349"/>
                      </a:lnTo>
                      <a:lnTo>
                        <a:pt x="132" y="343"/>
                      </a:lnTo>
                      <a:lnTo>
                        <a:pt x="127" y="334"/>
                      </a:lnTo>
                      <a:lnTo>
                        <a:pt x="122" y="328"/>
                      </a:lnTo>
                      <a:lnTo>
                        <a:pt x="103" y="334"/>
                      </a:lnTo>
                      <a:lnTo>
                        <a:pt x="83" y="340"/>
                      </a:lnTo>
                      <a:lnTo>
                        <a:pt x="66" y="346"/>
                      </a:lnTo>
                      <a:lnTo>
                        <a:pt x="50" y="352"/>
                      </a:lnTo>
                      <a:lnTo>
                        <a:pt x="35" y="356"/>
                      </a:lnTo>
                      <a:lnTo>
                        <a:pt x="21" y="360"/>
                      </a:lnTo>
                      <a:lnTo>
                        <a:pt x="9" y="363"/>
                      </a:lnTo>
                      <a:lnTo>
                        <a:pt x="0" y="367"/>
                      </a:lnTo>
                      <a:lnTo>
                        <a:pt x="3" y="374"/>
                      </a:lnTo>
                      <a:lnTo>
                        <a:pt x="6" y="383"/>
                      </a:lnTo>
                      <a:lnTo>
                        <a:pt x="11" y="393"/>
                      </a:lnTo>
                      <a:lnTo>
                        <a:pt x="16" y="405"/>
                      </a:lnTo>
                      <a:lnTo>
                        <a:pt x="23" y="419"/>
                      </a:lnTo>
                      <a:lnTo>
                        <a:pt x="30" y="434"/>
                      </a:lnTo>
                      <a:lnTo>
                        <a:pt x="39" y="451"/>
                      </a:lnTo>
                      <a:lnTo>
                        <a:pt x="51" y="470"/>
                      </a:lnTo>
                      <a:lnTo>
                        <a:pt x="64" y="491"/>
                      </a:lnTo>
                      <a:lnTo>
                        <a:pt x="77" y="514"/>
                      </a:lnTo>
                      <a:lnTo>
                        <a:pt x="94" y="540"/>
                      </a:lnTo>
                      <a:lnTo>
                        <a:pt x="111" y="566"/>
                      </a:lnTo>
                      <a:lnTo>
                        <a:pt x="132" y="596"/>
                      </a:lnTo>
                      <a:lnTo>
                        <a:pt x="153" y="628"/>
                      </a:lnTo>
                      <a:lnTo>
                        <a:pt x="178" y="662"/>
                      </a:lnTo>
                      <a:lnTo>
                        <a:pt x="204" y="699"/>
                      </a:lnTo>
                      <a:lnTo>
                        <a:pt x="211" y="708"/>
                      </a:lnTo>
                      <a:lnTo>
                        <a:pt x="217" y="716"/>
                      </a:lnTo>
                      <a:lnTo>
                        <a:pt x="224" y="725"/>
                      </a:lnTo>
                      <a:lnTo>
                        <a:pt x="230" y="734"/>
                      </a:lnTo>
                      <a:lnTo>
                        <a:pt x="236" y="744"/>
                      </a:lnTo>
                      <a:lnTo>
                        <a:pt x="242" y="753"/>
                      </a:lnTo>
                      <a:lnTo>
                        <a:pt x="249" y="762"/>
                      </a:lnTo>
                      <a:lnTo>
                        <a:pt x="255" y="771"/>
                      </a:lnTo>
                      <a:lnTo>
                        <a:pt x="270" y="792"/>
                      </a:lnTo>
                      <a:lnTo>
                        <a:pt x="285" y="813"/>
                      </a:lnTo>
                      <a:lnTo>
                        <a:pt x="300" y="833"/>
                      </a:lnTo>
                      <a:lnTo>
                        <a:pt x="315" y="854"/>
                      </a:lnTo>
                      <a:lnTo>
                        <a:pt x="330" y="874"/>
                      </a:lnTo>
                      <a:lnTo>
                        <a:pt x="346" y="893"/>
                      </a:lnTo>
                      <a:lnTo>
                        <a:pt x="361" y="912"/>
                      </a:lnTo>
                      <a:lnTo>
                        <a:pt x="377" y="930"/>
                      </a:lnTo>
                      <a:lnTo>
                        <a:pt x="384" y="934"/>
                      </a:lnTo>
                      <a:lnTo>
                        <a:pt x="392" y="937"/>
                      </a:lnTo>
                      <a:lnTo>
                        <a:pt x="404" y="941"/>
                      </a:lnTo>
                      <a:lnTo>
                        <a:pt x="417" y="943"/>
                      </a:lnTo>
                      <a:lnTo>
                        <a:pt x="434" y="943"/>
                      </a:lnTo>
                      <a:lnTo>
                        <a:pt x="452" y="941"/>
                      </a:lnTo>
                      <a:lnTo>
                        <a:pt x="474" y="934"/>
                      </a:lnTo>
                      <a:lnTo>
                        <a:pt x="497" y="923"/>
                      </a:lnTo>
                      <a:lnTo>
                        <a:pt x="519" y="911"/>
                      </a:lnTo>
                      <a:lnTo>
                        <a:pt x="537" y="898"/>
                      </a:lnTo>
                      <a:lnTo>
                        <a:pt x="552" y="886"/>
                      </a:lnTo>
                      <a:lnTo>
                        <a:pt x="563" y="876"/>
                      </a:lnTo>
                      <a:lnTo>
                        <a:pt x="571" y="867"/>
                      </a:lnTo>
                      <a:lnTo>
                        <a:pt x="575" y="859"/>
                      </a:lnTo>
                      <a:lnTo>
                        <a:pt x="578" y="854"/>
                      </a:lnTo>
                      <a:lnTo>
                        <a:pt x="579" y="853"/>
                      </a:lnTo>
                      <a:lnTo>
                        <a:pt x="581" y="848"/>
                      </a:lnTo>
                      <a:lnTo>
                        <a:pt x="586" y="838"/>
                      </a:lnTo>
                      <a:lnTo>
                        <a:pt x="589" y="828"/>
                      </a:lnTo>
                      <a:lnTo>
                        <a:pt x="591" y="823"/>
                      </a:lnTo>
                      <a:lnTo>
                        <a:pt x="612" y="846"/>
                      </a:lnTo>
                      <a:lnTo>
                        <a:pt x="614" y="850"/>
                      </a:lnTo>
                      <a:lnTo>
                        <a:pt x="621" y="857"/>
                      </a:lnTo>
                      <a:lnTo>
                        <a:pt x="632" y="867"/>
                      </a:lnTo>
                      <a:lnTo>
                        <a:pt x="644" y="880"/>
                      </a:lnTo>
                      <a:lnTo>
                        <a:pt x="658" y="893"/>
                      </a:lnTo>
                      <a:lnTo>
                        <a:pt x="674" y="907"/>
                      </a:lnTo>
                      <a:lnTo>
                        <a:pt x="691" y="921"/>
                      </a:lnTo>
                      <a:lnTo>
                        <a:pt x="705" y="933"/>
                      </a:lnTo>
                      <a:lnTo>
                        <a:pt x="731" y="945"/>
                      </a:lnTo>
                      <a:lnTo>
                        <a:pt x="759" y="952"/>
                      </a:lnTo>
                      <a:lnTo>
                        <a:pt x="786" y="954"/>
                      </a:lnTo>
                      <a:lnTo>
                        <a:pt x="815" y="953"/>
                      </a:lnTo>
                      <a:lnTo>
                        <a:pt x="839" y="950"/>
                      </a:lnTo>
                      <a:lnTo>
                        <a:pt x="860" y="946"/>
                      </a:lnTo>
                      <a:lnTo>
                        <a:pt x="873" y="943"/>
                      </a:lnTo>
                      <a:lnTo>
                        <a:pt x="878" y="941"/>
                      </a:lnTo>
                      <a:lnTo>
                        <a:pt x="880" y="943"/>
                      </a:lnTo>
                      <a:lnTo>
                        <a:pt x="889" y="938"/>
                      </a:lnTo>
                      <a:lnTo>
                        <a:pt x="897" y="934"/>
                      </a:lnTo>
                      <a:lnTo>
                        <a:pt x="906" y="929"/>
                      </a:lnTo>
                      <a:lnTo>
                        <a:pt x="914" y="923"/>
                      </a:lnTo>
                      <a:lnTo>
                        <a:pt x="923" y="919"/>
                      </a:lnTo>
                      <a:lnTo>
                        <a:pt x="933" y="914"/>
                      </a:lnTo>
                      <a:lnTo>
                        <a:pt x="942" y="910"/>
                      </a:lnTo>
                      <a:lnTo>
                        <a:pt x="951" y="905"/>
                      </a:lnTo>
                      <a:lnTo>
                        <a:pt x="977" y="890"/>
                      </a:lnTo>
                      <a:lnTo>
                        <a:pt x="1004" y="874"/>
                      </a:lnTo>
                      <a:lnTo>
                        <a:pt x="1030" y="857"/>
                      </a:lnTo>
                      <a:lnTo>
                        <a:pt x="1056" y="839"/>
                      </a:lnTo>
                      <a:lnTo>
                        <a:pt x="1080" y="822"/>
                      </a:lnTo>
                      <a:lnTo>
                        <a:pt x="1103" y="805"/>
                      </a:lnTo>
                      <a:lnTo>
                        <a:pt x="1126" y="786"/>
                      </a:lnTo>
                      <a:lnTo>
                        <a:pt x="1148" y="768"/>
                      </a:lnTo>
                      <a:lnTo>
                        <a:pt x="1168" y="751"/>
                      </a:lnTo>
                      <a:lnTo>
                        <a:pt x="1187" y="733"/>
                      </a:lnTo>
                      <a:lnTo>
                        <a:pt x="1206" y="717"/>
                      </a:lnTo>
                      <a:lnTo>
                        <a:pt x="1223" y="701"/>
                      </a:lnTo>
                      <a:lnTo>
                        <a:pt x="1238" y="686"/>
                      </a:lnTo>
                      <a:lnTo>
                        <a:pt x="1253" y="673"/>
                      </a:lnTo>
                      <a:lnTo>
                        <a:pt x="1264" y="661"/>
                      </a:lnTo>
                      <a:lnTo>
                        <a:pt x="1276" y="649"/>
                      </a:lnTo>
                      <a:lnTo>
                        <a:pt x="1263" y="647"/>
                      </a:lnTo>
                      <a:lnTo>
                        <a:pt x="1251" y="644"/>
                      </a:lnTo>
                      <a:lnTo>
                        <a:pt x="1236" y="641"/>
                      </a:lnTo>
                      <a:lnTo>
                        <a:pt x="1221" y="636"/>
                      </a:lnTo>
                      <a:lnTo>
                        <a:pt x="1204" y="632"/>
                      </a:lnTo>
                      <a:lnTo>
                        <a:pt x="1187" y="625"/>
                      </a:lnTo>
                      <a:lnTo>
                        <a:pt x="1169" y="618"/>
                      </a:lnTo>
                      <a:lnTo>
                        <a:pt x="1150" y="609"/>
                      </a:lnTo>
                      <a:lnTo>
                        <a:pt x="1132" y="598"/>
                      </a:lnTo>
                      <a:lnTo>
                        <a:pt x="1112" y="587"/>
                      </a:lnTo>
                      <a:lnTo>
                        <a:pt x="1093" y="574"/>
                      </a:lnTo>
                      <a:lnTo>
                        <a:pt x="1072" y="559"/>
                      </a:lnTo>
                      <a:lnTo>
                        <a:pt x="1052" y="543"/>
                      </a:lnTo>
                      <a:lnTo>
                        <a:pt x="1032" y="525"/>
                      </a:lnTo>
                      <a:lnTo>
                        <a:pt x="1011" y="504"/>
                      </a:lnTo>
                      <a:lnTo>
                        <a:pt x="990" y="4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64" name="Freeform 226">
                  <a:extLst>
                    <a:ext uri="{FF2B5EF4-FFF2-40B4-BE49-F238E27FC236}">
                      <a16:creationId xmlns:a16="http://schemas.microsoft.com/office/drawing/2014/main" id="{C09045EB-46DB-42C6-96C1-7393DB60379C}"/>
                    </a:ext>
                  </a:extLst>
                </p:cNvPr>
                <p:cNvSpPr>
                  <a:spLocks/>
                </p:cNvSpPr>
                <p:nvPr/>
              </p:nvSpPr>
              <p:spPr bwMode="auto">
                <a:xfrm>
                  <a:off x="963584" y="976296"/>
                  <a:ext cx="214313" cy="163513"/>
                </a:xfrm>
                <a:custGeom>
                  <a:avLst/>
                  <a:gdLst>
                    <a:gd name="T0" fmla="*/ 2147483646 w 271"/>
                    <a:gd name="T1" fmla="*/ 2147483646 h 207"/>
                    <a:gd name="T2" fmla="*/ 2147483646 w 271"/>
                    <a:gd name="T3" fmla="*/ 2147483646 h 207"/>
                    <a:gd name="T4" fmla="*/ 2147483646 w 271"/>
                    <a:gd name="T5" fmla="*/ 2147483646 h 207"/>
                    <a:gd name="T6" fmla="*/ 2147483646 w 271"/>
                    <a:gd name="T7" fmla="*/ 2147483646 h 207"/>
                    <a:gd name="T8" fmla="*/ 2147483646 w 271"/>
                    <a:gd name="T9" fmla="*/ 2147483646 h 207"/>
                    <a:gd name="T10" fmla="*/ 2147483646 w 271"/>
                    <a:gd name="T11" fmla="*/ 2147483646 h 207"/>
                    <a:gd name="T12" fmla="*/ 2147483646 w 271"/>
                    <a:gd name="T13" fmla="*/ 2147483646 h 207"/>
                    <a:gd name="T14" fmla="*/ 2147483646 w 271"/>
                    <a:gd name="T15" fmla="*/ 2147483646 h 207"/>
                    <a:gd name="T16" fmla="*/ 2147483646 w 271"/>
                    <a:gd name="T17" fmla="*/ 2147483646 h 207"/>
                    <a:gd name="T18" fmla="*/ 2147483646 w 271"/>
                    <a:gd name="T19" fmla="*/ 2147483646 h 207"/>
                    <a:gd name="T20" fmla="*/ 2147483646 w 271"/>
                    <a:gd name="T21" fmla="*/ 2147483646 h 207"/>
                    <a:gd name="T22" fmla="*/ 2147483646 w 271"/>
                    <a:gd name="T23" fmla="*/ 2147483646 h 207"/>
                    <a:gd name="T24" fmla="*/ 2147483646 w 271"/>
                    <a:gd name="T25" fmla="*/ 2147483646 h 207"/>
                    <a:gd name="T26" fmla="*/ 2147483646 w 271"/>
                    <a:gd name="T27" fmla="*/ 2147483646 h 207"/>
                    <a:gd name="T28" fmla="*/ 2147483646 w 271"/>
                    <a:gd name="T29" fmla="*/ 2147483646 h 207"/>
                    <a:gd name="T30" fmla="*/ 2147483646 w 271"/>
                    <a:gd name="T31" fmla="*/ 2147483646 h 207"/>
                    <a:gd name="T32" fmla="*/ 2147483646 w 271"/>
                    <a:gd name="T33" fmla="*/ 2147483646 h 207"/>
                    <a:gd name="T34" fmla="*/ 2147483646 w 271"/>
                    <a:gd name="T35" fmla="*/ 2147483646 h 207"/>
                    <a:gd name="T36" fmla="*/ 2147483646 w 271"/>
                    <a:gd name="T37" fmla="*/ 2147483646 h 207"/>
                    <a:gd name="T38" fmla="*/ 2147483646 w 271"/>
                    <a:gd name="T39" fmla="*/ 2147483646 h 207"/>
                    <a:gd name="T40" fmla="*/ 2147483646 w 271"/>
                    <a:gd name="T41" fmla="*/ 2147483646 h 207"/>
                    <a:gd name="T42" fmla="*/ 2147483646 w 271"/>
                    <a:gd name="T43" fmla="*/ 2147483646 h 207"/>
                    <a:gd name="T44" fmla="*/ 2147483646 w 271"/>
                    <a:gd name="T45" fmla="*/ 2147483646 h 207"/>
                    <a:gd name="T46" fmla="*/ 2147483646 w 271"/>
                    <a:gd name="T47" fmla="*/ 2147483646 h 207"/>
                    <a:gd name="T48" fmla="*/ 2147483646 w 271"/>
                    <a:gd name="T49" fmla="*/ 2147483646 h 207"/>
                    <a:gd name="T50" fmla="*/ 2147483646 w 271"/>
                    <a:gd name="T51" fmla="*/ 2147483646 h 207"/>
                    <a:gd name="T52" fmla="*/ 2147483646 w 271"/>
                    <a:gd name="T53" fmla="*/ 2147483646 h 207"/>
                    <a:gd name="T54" fmla="*/ 2147483646 w 271"/>
                    <a:gd name="T55" fmla="*/ 2147483646 h 207"/>
                    <a:gd name="T56" fmla="*/ 2147483646 w 271"/>
                    <a:gd name="T57" fmla="*/ 2147483646 h 207"/>
                    <a:gd name="T58" fmla="*/ 2147483646 w 271"/>
                    <a:gd name="T59" fmla="*/ 2147483646 h 207"/>
                    <a:gd name="T60" fmla="*/ 2147483646 w 271"/>
                    <a:gd name="T61" fmla="*/ 0 h 207"/>
                    <a:gd name="T62" fmla="*/ 2147483646 w 271"/>
                    <a:gd name="T63" fmla="*/ 0 h 207"/>
                    <a:gd name="T64" fmla="*/ 2147483646 w 271"/>
                    <a:gd name="T65" fmla="*/ 2147483646 h 207"/>
                    <a:gd name="T66" fmla="*/ 2147483646 w 271"/>
                    <a:gd name="T67" fmla="*/ 2147483646 h 207"/>
                    <a:gd name="T68" fmla="*/ 2147483646 w 271"/>
                    <a:gd name="T69" fmla="*/ 2147483646 h 207"/>
                    <a:gd name="T70" fmla="*/ 2147483646 w 271"/>
                    <a:gd name="T71" fmla="*/ 2147483646 h 207"/>
                    <a:gd name="T72" fmla="*/ 2147483646 w 271"/>
                    <a:gd name="T73" fmla="*/ 2147483646 h 207"/>
                    <a:gd name="T74" fmla="*/ 2147483646 w 271"/>
                    <a:gd name="T75" fmla="*/ 2147483646 h 207"/>
                    <a:gd name="T76" fmla="*/ 2147483646 w 271"/>
                    <a:gd name="T77" fmla="*/ 2147483646 h 207"/>
                    <a:gd name="T78" fmla="*/ 0 w 271"/>
                    <a:gd name="T79" fmla="*/ 2147483646 h 207"/>
                    <a:gd name="T80" fmla="*/ 0 w 271"/>
                    <a:gd name="T81" fmla="*/ 2147483646 h 207"/>
                    <a:gd name="T82" fmla="*/ 2147483646 w 271"/>
                    <a:gd name="T83" fmla="*/ 2147483646 h 207"/>
                    <a:gd name="T84" fmla="*/ 2147483646 w 271"/>
                    <a:gd name="T85" fmla="*/ 2147483646 h 207"/>
                    <a:gd name="T86" fmla="*/ 2147483646 w 271"/>
                    <a:gd name="T87" fmla="*/ 2147483646 h 207"/>
                    <a:gd name="T88" fmla="*/ 2147483646 w 271"/>
                    <a:gd name="T89" fmla="*/ 2147483646 h 207"/>
                    <a:gd name="T90" fmla="*/ 2147483646 w 271"/>
                    <a:gd name="T91" fmla="*/ 2147483646 h 207"/>
                    <a:gd name="T92" fmla="*/ 2147483646 w 271"/>
                    <a:gd name="T93" fmla="*/ 2147483646 h 207"/>
                    <a:gd name="T94" fmla="*/ 2147483646 w 271"/>
                    <a:gd name="T95" fmla="*/ 2147483646 h 207"/>
                    <a:gd name="T96" fmla="*/ 2147483646 w 271"/>
                    <a:gd name="T97" fmla="*/ 2147483646 h 20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1"/>
                    <a:gd name="T148" fmla="*/ 0 h 207"/>
                    <a:gd name="T149" fmla="*/ 271 w 271"/>
                    <a:gd name="T150" fmla="*/ 207 h 20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1" h="207">
                      <a:moveTo>
                        <a:pt x="34" y="178"/>
                      </a:moveTo>
                      <a:lnTo>
                        <a:pt x="46" y="186"/>
                      </a:lnTo>
                      <a:lnTo>
                        <a:pt x="59" y="193"/>
                      </a:lnTo>
                      <a:lnTo>
                        <a:pt x="72" y="199"/>
                      </a:lnTo>
                      <a:lnTo>
                        <a:pt x="86" y="202"/>
                      </a:lnTo>
                      <a:lnTo>
                        <a:pt x="101" y="206"/>
                      </a:lnTo>
                      <a:lnTo>
                        <a:pt x="117" y="207"/>
                      </a:lnTo>
                      <a:lnTo>
                        <a:pt x="132" y="207"/>
                      </a:lnTo>
                      <a:lnTo>
                        <a:pt x="148" y="206"/>
                      </a:lnTo>
                      <a:lnTo>
                        <a:pt x="175" y="200"/>
                      </a:lnTo>
                      <a:lnTo>
                        <a:pt x="200" y="191"/>
                      </a:lnTo>
                      <a:lnTo>
                        <a:pt x="222" y="178"/>
                      </a:lnTo>
                      <a:lnTo>
                        <a:pt x="241" y="163"/>
                      </a:lnTo>
                      <a:lnTo>
                        <a:pt x="255" y="146"/>
                      </a:lnTo>
                      <a:lnTo>
                        <a:pt x="265" y="127"/>
                      </a:lnTo>
                      <a:lnTo>
                        <a:pt x="271" y="106"/>
                      </a:lnTo>
                      <a:lnTo>
                        <a:pt x="271" y="86"/>
                      </a:lnTo>
                      <a:lnTo>
                        <a:pt x="269" y="78"/>
                      </a:lnTo>
                      <a:lnTo>
                        <a:pt x="267" y="70"/>
                      </a:lnTo>
                      <a:lnTo>
                        <a:pt x="264" y="63"/>
                      </a:lnTo>
                      <a:lnTo>
                        <a:pt x="260" y="55"/>
                      </a:lnTo>
                      <a:lnTo>
                        <a:pt x="255" y="48"/>
                      </a:lnTo>
                      <a:lnTo>
                        <a:pt x="250" y="41"/>
                      </a:lnTo>
                      <a:lnTo>
                        <a:pt x="243" y="34"/>
                      </a:lnTo>
                      <a:lnTo>
                        <a:pt x="236" y="28"/>
                      </a:lnTo>
                      <a:lnTo>
                        <a:pt x="225" y="20"/>
                      </a:lnTo>
                      <a:lnTo>
                        <a:pt x="212" y="14"/>
                      </a:lnTo>
                      <a:lnTo>
                        <a:pt x="198" y="8"/>
                      </a:lnTo>
                      <a:lnTo>
                        <a:pt x="184" y="4"/>
                      </a:lnTo>
                      <a:lnTo>
                        <a:pt x="169" y="2"/>
                      </a:lnTo>
                      <a:lnTo>
                        <a:pt x="153" y="0"/>
                      </a:lnTo>
                      <a:lnTo>
                        <a:pt x="138" y="0"/>
                      </a:lnTo>
                      <a:lnTo>
                        <a:pt x="122" y="2"/>
                      </a:lnTo>
                      <a:lnTo>
                        <a:pt x="94" y="7"/>
                      </a:lnTo>
                      <a:lnTo>
                        <a:pt x="70" y="17"/>
                      </a:lnTo>
                      <a:lnTo>
                        <a:pt x="48" y="29"/>
                      </a:lnTo>
                      <a:lnTo>
                        <a:pt x="30" y="44"/>
                      </a:lnTo>
                      <a:lnTo>
                        <a:pt x="15" y="61"/>
                      </a:lnTo>
                      <a:lnTo>
                        <a:pt x="4" y="80"/>
                      </a:lnTo>
                      <a:lnTo>
                        <a:pt x="0" y="101"/>
                      </a:lnTo>
                      <a:lnTo>
                        <a:pt x="0" y="121"/>
                      </a:lnTo>
                      <a:lnTo>
                        <a:pt x="1" y="129"/>
                      </a:lnTo>
                      <a:lnTo>
                        <a:pt x="3" y="138"/>
                      </a:lnTo>
                      <a:lnTo>
                        <a:pt x="7" y="144"/>
                      </a:lnTo>
                      <a:lnTo>
                        <a:pt x="10" y="153"/>
                      </a:lnTo>
                      <a:lnTo>
                        <a:pt x="16" y="159"/>
                      </a:lnTo>
                      <a:lnTo>
                        <a:pt x="21" y="166"/>
                      </a:lnTo>
                      <a:lnTo>
                        <a:pt x="27" y="172"/>
                      </a:lnTo>
                      <a:lnTo>
                        <a:pt x="34" y="1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65" name="Freeform 227">
                  <a:extLst>
                    <a:ext uri="{FF2B5EF4-FFF2-40B4-BE49-F238E27FC236}">
                      <a16:creationId xmlns:a16="http://schemas.microsoft.com/office/drawing/2014/main" id="{17520442-DBEB-415D-96E5-989B71EC718A}"/>
                    </a:ext>
                  </a:extLst>
                </p:cNvPr>
                <p:cNvSpPr>
                  <a:spLocks/>
                </p:cNvSpPr>
                <p:nvPr/>
              </p:nvSpPr>
              <p:spPr bwMode="auto">
                <a:xfrm>
                  <a:off x="1017559" y="1160446"/>
                  <a:ext cx="106363" cy="103188"/>
                </a:xfrm>
                <a:custGeom>
                  <a:avLst/>
                  <a:gdLst>
                    <a:gd name="T0" fmla="*/ 2147483646 w 135"/>
                    <a:gd name="T1" fmla="*/ 2147483646 h 130"/>
                    <a:gd name="T2" fmla="*/ 0 w 135"/>
                    <a:gd name="T3" fmla="*/ 2147483646 h 130"/>
                    <a:gd name="T4" fmla="*/ 2147483646 w 135"/>
                    <a:gd name="T5" fmla="*/ 2147483646 h 130"/>
                    <a:gd name="T6" fmla="*/ 2147483646 w 135"/>
                    <a:gd name="T7" fmla="*/ 2147483646 h 130"/>
                    <a:gd name="T8" fmla="*/ 2147483646 w 135"/>
                    <a:gd name="T9" fmla="*/ 2147483646 h 130"/>
                    <a:gd name="T10" fmla="*/ 2147483646 w 135"/>
                    <a:gd name="T11" fmla="*/ 2147483646 h 130"/>
                    <a:gd name="T12" fmla="*/ 2147483646 w 135"/>
                    <a:gd name="T13" fmla="*/ 2147483646 h 130"/>
                    <a:gd name="T14" fmla="*/ 2147483646 w 135"/>
                    <a:gd name="T15" fmla="*/ 2147483646 h 130"/>
                    <a:gd name="T16" fmla="*/ 2147483646 w 135"/>
                    <a:gd name="T17" fmla="*/ 2147483646 h 130"/>
                    <a:gd name="T18" fmla="*/ 2147483646 w 135"/>
                    <a:gd name="T19" fmla="*/ 2147483646 h 130"/>
                    <a:gd name="T20" fmla="*/ 2147483646 w 135"/>
                    <a:gd name="T21" fmla="*/ 2147483646 h 130"/>
                    <a:gd name="T22" fmla="*/ 2147483646 w 135"/>
                    <a:gd name="T23" fmla="*/ 2147483646 h 130"/>
                    <a:gd name="T24" fmla="*/ 2147483646 w 135"/>
                    <a:gd name="T25" fmla="*/ 2147483646 h 130"/>
                    <a:gd name="T26" fmla="*/ 2147483646 w 135"/>
                    <a:gd name="T27" fmla="*/ 2147483646 h 130"/>
                    <a:gd name="T28" fmla="*/ 2147483646 w 135"/>
                    <a:gd name="T29" fmla="*/ 2147483646 h 130"/>
                    <a:gd name="T30" fmla="*/ 2147483646 w 135"/>
                    <a:gd name="T31" fmla="*/ 2147483646 h 130"/>
                    <a:gd name="T32" fmla="*/ 2147483646 w 135"/>
                    <a:gd name="T33" fmla="*/ 2147483646 h 130"/>
                    <a:gd name="T34" fmla="*/ 2147483646 w 135"/>
                    <a:gd name="T35" fmla="*/ 2147483646 h 130"/>
                    <a:gd name="T36" fmla="*/ 2147483646 w 135"/>
                    <a:gd name="T37" fmla="*/ 0 h 130"/>
                    <a:gd name="T38" fmla="*/ 2147483646 w 135"/>
                    <a:gd name="T39" fmla="*/ 2147483646 h 130"/>
                    <a:gd name="T40" fmla="*/ 2147483646 w 135"/>
                    <a:gd name="T41" fmla="*/ 2147483646 h 130"/>
                    <a:gd name="T42" fmla="*/ 2147483646 w 135"/>
                    <a:gd name="T43" fmla="*/ 2147483646 h 130"/>
                    <a:gd name="T44" fmla="*/ 2147483646 w 135"/>
                    <a:gd name="T45" fmla="*/ 2147483646 h 130"/>
                    <a:gd name="T46" fmla="*/ 2147483646 w 135"/>
                    <a:gd name="T47" fmla="*/ 2147483646 h 130"/>
                    <a:gd name="T48" fmla="*/ 2147483646 w 135"/>
                    <a:gd name="T49" fmla="*/ 2147483646 h 130"/>
                    <a:gd name="T50" fmla="*/ 2147483646 w 135"/>
                    <a:gd name="T51" fmla="*/ 2147483646 h 130"/>
                    <a:gd name="T52" fmla="*/ 2147483646 w 135"/>
                    <a:gd name="T53" fmla="*/ 2147483646 h 130"/>
                    <a:gd name="T54" fmla="*/ 2147483646 w 135"/>
                    <a:gd name="T55" fmla="*/ 2147483646 h 130"/>
                    <a:gd name="T56" fmla="*/ 2147483646 w 135"/>
                    <a:gd name="T57" fmla="*/ 2147483646 h 130"/>
                    <a:gd name="T58" fmla="*/ 2147483646 w 135"/>
                    <a:gd name="T59" fmla="*/ 2147483646 h 130"/>
                    <a:gd name="T60" fmla="*/ 2147483646 w 135"/>
                    <a:gd name="T61" fmla="*/ 2147483646 h 130"/>
                    <a:gd name="T62" fmla="*/ 2147483646 w 135"/>
                    <a:gd name="T63" fmla="*/ 2147483646 h 130"/>
                    <a:gd name="T64" fmla="*/ 2147483646 w 135"/>
                    <a:gd name="T65" fmla="*/ 2147483646 h 130"/>
                    <a:gd name="T66" fmla="*/ 2147483646 w 135"/>
                    <a:gd name="T67" fmla="*/ 2147483646 h 130"/>
                    <a:gd name="T68" fmla="*/ 2147483646 w 135"/>
                    <a:gd name="T69" fmla="*/ 2147483646 h 13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5"/>
                    <a:gd name="T106" fmla="*/ 0 h 130"/>
                    <a:gd name="T107" fmla="*/ 135 w 135"/>
                    <a:gd name="T108" fmla="*/ 130 h 13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5" h="130">
                      <a:moveTo>
                        <a:pt x="2" y="6"/>
                      </a:moveTo>
                      <a:lnTo>
                        <a:pt x="0" y="102"/>
                      </a:lnTo>
                      <a:lnTo>
                        <a:pt x="4" y="111"/>
                      </a:lnTo>
                      <a:lnTo>
                        <a:pt x="11" y="118"/>
                      </a:lnTo>
                      <a:lnTo>
                        <a:pt x="18" y="122"/>
                      </a:lnTo>
                      <a:lnTo>
                        <a:pt x="26" y="127"/>
                      </a:lnTo>
                      <a:lnTo>
                        <a:pt x="37" y="129"/>
                      </a:lnTo>
                      <a:lnTo>
                        <a:pt x="48" y="130"/>
                      </a:lnTo>
                      <a:lnTo>
                        <a:pt x="61" y="130"/>
                      </a:lnTo>
                      <a:lnTo>
                        <a:pt x="76" y="129"/>
                      </a:lnTo>
                      <a:lnTo>
                        <a:pt x="85" y="128"/>
                      </a:lnTo>
                      <a:lnTo>
                        <a:pt x="94" y="126"/>
                      </a:lnTo>
                      <a:lnTo>
                        <a:pt x="102" y="122"/>
                      </a:lnTo>
                      <a:lnTo>
                        <a:pt x="109" y="119"/>
                      </a:lnTo>
                      <a:lnTo>
                        <a:pt x="116" y="114"/>
                      </a:lnTo>
                      <a:lnTo>
                        <a:pt x="123" y="109"/>
                      </a:lnTo>
                      <a:lnTo>
                        <a:pt x="129" y="103"/>
                      </a:lnTo>
                      <a:lnTo>
                        <a:pt x="135" y="96"/>
                      </a:lnTo>
                      <a:lnTo>
                        <a:pt x="132" y="0"/>
                      </a:lnTo>
                      <a:lnTo>
                        <a:pt x="127" y="2"/>
                      </a:lnTo>
                      <a:lnTo>
                        <a:pt x="121" y="4"/>
                      </a:lnTo>
                      <a:lnTo>
                        <a:pt x="115" y="6"/>
                      </a:lnTo>
                      <a:lnTo>
                        <a:pt x="109" y="7"/>
                      </a:lnTo>
                      <a:lnTo>
                        <a:pt x="104" y="8"/>
                      </a:lnTo>
                      <a:lnTo>
                        <a:pt x="98" y="9"/>
                      </a:lnTo>
                      <a:lnTo>
                        <a:pt x="92" y="11"/>
                      </a:lnTo>
                      <a:lnTo>
                        <a:pt x="85" y="12"/>
                      </a:lnTo>
                      <a:lnTo>
                        <a:pt x="75" y="13"/>
                      </a:lnTo>
                      <a:lnTo>
                        <a:pt x="63" y="13"/>
                      </a:lnTo>
                      <a:lnTo>
                        <a:pt x="53" y="13"/>
                      </a:lnTo>
                      <a:lnTo>
                        <a:pt x="42" y="13"/>
                      </a:lnTo>
                      <a:lnTo>
                        <a:pt x="32" y="12"/>
                      </a:lnTo>
                      <a:lnTo>
                        <a:pt x="22" y="11"/>
                      </a:lnTo>
                      <a:lnTo>
                        <a:pt x="12" y="8"/>
                      </a:lnTo>
                      <a:lnTo>
                        <a:pt x="2"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66" name="Freeform 228">
                  <a:extLst>
                    <a:ext uri="{FF2B5EF4-FFF2-40B4-BE49-F238E27FC236}">
                      <a16:creationId xmlns:a16="http://schemas.microsoft.com/office/drawing/2014/main" id="{C568DFCA-A05C-4318-B1B2-83FA6681107E}"/>
                    </a:ext>
                  </a:extLst>
                </p:cNvPr>
                <p:cNvSpPr>
                  <a:spLocks/>
                </p:cNvSpPr>
                <p:nvPr/>
              </p:nvSpPr>
              <p:spPr bwMode="auto">
                <a:xfrm>
                  <a:off x="769100" y="946311"/>
                  <a:ext cx="1120775" cy="979488"/>
                </a:xfrm>
                <a:custGeom>
                  <a:avLst/>
                  <a:gdLst>
                    <a:gd name="T0" fmla="*/ 2147483646 w 1412"/>
                    <a:gd name="T1" fmla="*/ 2147483646 h 1236"/>
                    <a:gd name="T2" fmla="*/ 2147483646 w 1412"/>
                    <a:gd name="T3" fmla="*/ 2147483646 h 1236"/>
                    <a:gd name="T4" fmla="*/ 2147483646 w 1412"/>
                    <a:gd name="T5" fmla="*/ 2147483646 h 1236"/>
                    <a:gd name="T6" fmla="*/ 2147483646 w 1412"/>
                    <a:gd name="T7" fmla="*/ 2147483646 h 1236"/>
                    <a:gd name="T8" fmla="*/ 2147483646 w 1412"/>
                    <a:gd name="T9" fmla="*/ 2147483646 h 1236"/>
                    <a:gd name="T10" fmla="*/ 2147483646 w 1412"/>
                    <a:gd name="T11" fmla="*/ 2147483646 h 1236"/>
                    <a:gd name="T12" fmla="*/ 2147483646 w 1412"/>
                    <a:gd name="T13" fmla="*/ 2147483646 h 1236"/>
                    <a:gd name="T14" fmla="*/ 2147483646 w 1412"/>
                    <a:gd name="T15" fmla="*/ 2147483646 h 1236"/>
                    <a:gd name="T16" fmla="*/ 2147483646 w 1412"/>
                    <a:gd name="T17" fmla="*/ 2147483646 h 1236"/>
                    <a:gd name="T18" fmla="*/ 2147483646 w 1412"/>
                    <a:gd name="T19" fmla="*/ 2147483646 h 1236"/>
                    <a:gd name="T20" fmla="*/ 2147483646 w 1412"/>
                    <a:gd name="T21" fmla="*/ 2147483646 h 1236"/>
                    <a:gd name="T22" fmla="*/ 2147483646 w 1412"/>
                    <a:gd name="T23" fmla="*/ 2147483646 h 1236"/>
                    <a:gd name="T24" fmla="*/ 2147483646 w 1412"/>
                    <a:gd name="T25" fmla="*/ 2147483646 h 1236"/>
                    <a:gd name="T26" fmla="*/ 2147483646 w 1412"/>
                    <a:gd name="T27" fmla="*/ 2147483646 h 1236"/>
                    <a:gd name="T28" fmla="*/ 2147483646 w 1412"/>
                    <a:gd name="T29" fmla="*/ 2147483646 h 1236"/>
                    <a:gd name="T30" fmla="*/ 2147483646 w 1412"/>
                    <a:gd name="T31" fmla="*/ 2147483646 h 1236"/>
                    <a:gd name="T32" fmla="*/ 2147483646 w 1412"/>
                    <a:gd name="T33" fmla="*/ 2147483646 h 1236"/>
                    <a:gd name="T34" fmla="*/ 2147483646 w 1412"/>
                    <a:gd name="T35" fmla="*/ 2147483646 h 1236"/>
                    <a:gd name="T36" fmla="*/ 2147483646 w 1412"/>
                    <a:gd name="T37" fmla="*/ 2147483646 h 1236"/>
                    <a:gd name="T38" fmla="*/ 2147483646 w 1412"/>
                    <a:gd name="T39" fmla="*/ 2147483646 h 1236"/>
                    <a:gd name="T40" fmla="*/ 2147483646 w 1412"/>
                    <a:gd name="T41" fmla="*/ 0 h 1236"/>
                    <a:gd name="T42" fmla="*/ 2147483646 w 1412"/>
                    <a:gd name="T43" fmla="*/ 2147483646 h 1236"/>
                    <a:gd name="T44" fmla="*/ 2147483646 w 1412"/>
                    <a:gd name="T45" fmla="*/ 2147483646 h 1236"/>
                    <a:gd name="T46" fmla="*/ 2147483646 w 1412"/>
                    <a:gd name="T47" fmla="*/ 2147483646 h 1236"/>
                    <a:gd name="T48" fmla="*/ 2147483646 w 1412"/>
                    <a:gd name="T49" fmla="*/ 2147483646 h 1236"/>
                    <a:gd name="T50" fmla="*/ 2147483646 w 1412"/>
                    <a:gd name="T51" fmla="*/ 2147483646 h 1236"/>
                    <a:gd name="T52" fmla="*/ 2147483646 w 1412"/>
                    <a:gd name="T53" fmla="*/ 2147483646 h 1236"/>
                    <a:gd name="T54" fmla="*/ 2147483646 w 1412"/>
                    <a:gd name="T55" fmla="*/ 2147483646 h 1236"/>
                    <a:gd name="T56" fmla="*/ 2147483646 w 1412"/>
                    <a:gd name="T57" fmla="*/ 2147483646 h 1236"/>
                    <a:gd name="T58" fmla="*/ 2147483646 w 1412"/>
                    <a:gd name="T59" fmla="*/ 2147483646 h 1236"/>
                    <a:gd name="T60" fmla="*/ 2147483646 w 1412"/>
                    <a:gd name="T61" fmla="*/ 2147483646 h 1236"/>
                    <a:gd name="T62" fmla="*/ 2147483646 w 1412"/>
                    <a:gd name="T63" fmla="*/ 2147483646 h 1236"/>
                    <a:gd name="T64" fmla="*/ 2147483646 w 1412"/>
                    <a:gd name="T65" fmla="*/ 2147483646 h 1236"/>
                    <a:gd name="T66" fmla="*/ 2147483646 w 1412"/>
                    <a:gd name="T67" fmla="*/ 2147483646 h 1236"/>
                    <a:gd name="T68" fmla="*/ 2147483646 w 1412"/>
                    <a:gd name="T69" fmla="*/ 2147483646 h 1236"/>
                    <a:gd name="T70" fmla="*/ 2147483646 w 1412"/>
                    <a:gd name="T71" fmla="*/ 2147483646 h 1236"/>
                    <a:gd name="T72" fmla="*/ 2147483646 w 1412"/>
                    <a:gd name="T73" fmla="*/ 2147483646 h 1236"/>
                    <a:gd name="T74" fmla="*/ 2147483646 w 1412"/>
                    <a:gd name="T75" fmla="*/ 2147483646 h 1236"/>
                    <a:gd name="T76" fmla="*/ 2147483646 w 1412"/>
                    <a:gd name="T77" fmla="*/ 2147483646 h 1236"/>
                    <a:gd name="T78" fmla="*/ 2147483646 w 1412"/>
                    <a:gd name="T79" fmla="*/ 2147483646 h 1236"/>
                    <a:gd name="T80" fmla="*/ 2147483646 w 1412"/>
                    <a:gd name="T81" fmla="*/ 2147483646 h 1236"/>
                    <a:gd name="T82" fmla="*/ 2147483646 w 1412"/>
                    <a:gd name="T83" fmla="*/ 2147483646 h 1236"/>
                    <a:gd name="T84" fmla="*/ 2147483646 w 1412"/>
                    <a:gd name="T85" fmla="*/ 2147483646 h 1236"/>
                    <a:gd name="T86" fmla="*/ 2147483646 w 1412"/>
                    <a:gd name="T87" fmla="*/ 2147483646 h 1236"/>
                    <a:gd name="T88" fmla="*/ 2147483646 w 1412"/>
                    <a:gd name="T89" fmla="*/ 2147483646 h 1236"/>
                    <a:gd name="T90" fmla="*/ 2147483646 w 1412"/>
                    <a:gd name="T91" fmla="*/ 2147483646 h 1236"/>
                    <a:gd name="T92" fmla="*/ 2147483646 w 1412"/>
                    <a:gd name="T93" fmla="*/ 2147483646 h 1236"/>
                    <a:gd name="T94" fmla="*/ 2147483646 w 1412"/>
                    <a:gd name="T95" fmla="*/ 2147483646 h 1236"/>
                    <a:gd name="T96" fmla="*/ 2147483646 w 1412"/>
                    <a:gd name="T97" fmla="*/ 2147483646 h 1236"/>
                    <a:gd name="T98" fmla="*/ 2147483646 w 1412"/>
                    <a:gd name="T99" fmla="*/ 2147483646 h 1236"/>
                    <a:gd name="T100" fmla="*/ 2147483646 w 1412"/>
                    <a:gd name="T101" fmla="*/ 2147483646 h 1236"/>
                    <a:gd name="T102" fmla="*/ 2147483646 w 1412"/>
                    <a:gd name="T103" fmla="*/ 2147483646 h 1236"/>
                    <a:gd name="T104" fmla="*/ 2147483646 w 1412"/>
                    <a:gd name="T105" fmla="*/ 2147483646 h 12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12"/>
                    <a:gd name="T160" fmla="*/ 0 h 1236"/>
                    <a:gd name="T161" fmla="*/ 1412 w 1412"/>
                    <a:gd name="T162" fmla="*/ 1236 h 12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12" h="1236">
                      <a:moveTo>
                        <a:pt x="1363" y="771"/>
                      </a:moveTo>
                      <a:lnTo>
                        <a:pt x="1361" y="771"/>
                      </a:lnTo>
                      <a:lnTo>
                        <a:pt x="1357" y="771"/>
                      </a:lnTo>
                      <a:lnTo>
                        <a:pt x="1347" y="771"/>
                      </a:lnTo>
                      <a:lnTo>
                        <a:pt x="1337" y="770"/>
                      </a:lnTo>
                      <a:lnTo>
                        <a:pt x="1323" y="768"/>
                      </a:lnTo>
                      <a:lnTo>
                        <a:pt x="1307" y="765"/>
                      </a:lnTo>
                      <a:lnTo>
                        <a:pt x="1289" y="761"/>
                      </a:lnTo>
                      <a:lnTo>
                        <a:pt x="1268" y="755"/>
                      </a:lnTo>
                      <a:lnTo>
                        <a:pt x="1246" y="747"/>
                      </a:lnTo>
                      <a:lnTo>
                        <a:pt x="1223" y="736"/>
                      </a:lnTo>
                      <a:lnTo>
                        <a:pt x="1199" y="724"/>
                      </a:lnTo>
                      <a:lnTo>
                        <a:pt x="1172" y="709"/>
                      </a:lnTo>
                      <a:lnTo>
                        <a:pt x="1147" y="690"/>
                      </a:lnTo>
                      <a:lnTo>
                        <a:pt x="1120" y="668"/>
                      </a:lnTo>
                      <a:lnTo>
                        <a:pt x="1093" y="643"/>
                      </a:lnTo>
                      <a:lnTo>
                        <a:pt x="1066" y="614"/>
                      </a:lnTo>
                      <a:lnTo>
                        <a:pt x="1048" y="591"/>
                      </a:lnTo>
                      <a:lnTo>
                        <a:pt x="1029" y="561"/>
                      </a:lnTo>
                      <a:lnTo>
                        <a:pt x="1011" y="528"/>
                      </a:lnTo>
                      <a:lnTo>
                        <a:pt x="992" y="491"/>
                      </a:lnTo>
                      <a:lnTo>
                        <a:pt x="973" y="452"/>
                      </a:lnTo>
                      <a:lnTo>
                        <a:pt x="954" y="411"/>
                      </a:lnTo>
                      <a:lnTo>
                        <a:pt x="937" y="369"/>
                      </a:lnTo>
                      <a:lnTo>
                        <a:pt x="921" y="327"/>
                      </a:lnTo>
                      <a:lnTo>
                        <a:pt x="905" y="288"/>
                      </a:lnTo>
                      <a:lnTo>
                        <a:pt x="891" y="250"/>
                      </a:lnTo>
                      <a:lnTo>
                        <a:pt x="877" y="214"/>
                      </a:lnTo>
                      <a:lnTo>
                        <a:pt x="867" y="184"/>
                      </a:lnTo>
                      <a:lnTo>
                        <a:pt x="858" y="158"/>
                      </a:lnTo>
                      <a:lnTo>
                        <a:pt x="851" y="138"/>
                      </a:lnTo>
                      <a:lnTo>
                        <a:pt x="846" y="126"/>
                      </a:lnTo>
                      <a:lnTo>
                        <a:pt x="845" y="121"/>
                      </a:lnTo>
                      <a:lnTo>
                        <a:pt x="836" y="93"/>
                      </a:lnTo>
                      <a:lnTo>
                        <a:pt x="832" y="96"/>
                      </a:lnTo>
                      <a:lnTo>
                        <a:pt x="825" y="103"/>
                      </a:lnTo>
                      <a:lnTo>
                        <a:pt x="817" y="108"/>
                      </a:lnTo>
                      <a:lnTo>
                        <a:pt x="814" y="112"/>
                      </a:lnTo>
                      <a:lnTo>
                        <a:pt x="813" y="113"/>
                      </a:lnTo>
                      <a:lnTo>
                        <a:pt x="808" y="115"/>
                      </a:lnTo>
                      <a:lnTo>
                        <a:pt x="801" y="121"/>
                      </a:lnTo>
                      <a:lnTo>
                        <a:pt x="793" y="127"/>
                      </a:lnTo>
                      <a:lnTo>
                        <a:pt x="781" y="135"/>
                      </a:lnTo>
                      <a:lnTo>
                        <a:pt x="769" y="144"/>
                      </a:lnTo>
                      <a:lnTo>
                        <a:pt x="754" y="156"/>
                      </a:lnTo>
                      <a:lnTo>
                        <a:pt x="738" y="167"/>
                      </a:lnTo>
                      <a:lnTo>
                        <a:pt x="719" y="180"/>
                      </a:lnTo>
                      <a:lnTo>
                        <a:pt x="698" y="193"/>
                      </a:lnTo>
                      <a:lnTo>
                        <a:pt x="678" y="208"/>
                      </a:lnTo>
                      <a:lnTo>
                        <a:pt x="655" y="221"/>
                      </a:lnTo>
                      <a:lnTo>
                        <a:pt x="630" y="236"/>
                      </a:lnTo>
                      <a:lnTo>
                        <a:pt x="606" y="252"/>
                      </a:lnTo>
                      <a:lnTo>
                        <a:pt x="580" y="267"/>
                      </a:lnTo>
                      <a:lnTo>
                        <a:pt x="553" y="282"/>
                      </a:lnTo>
                      <a:lnTo>
                        <a:pt x="548" y="277"/>
                      </a:lnTo>
                      <a:lnTo>
                        <a:pt x="541" y="271"/>
                      </a:lnTo>
                      <a:lnTo>
                        <a:pt x="534" y="265"/>
                      </a:lnTo>
                      <a:lnTo>
                        <a:pt x="527" y="261"/>
                      </a:lnTo>
                      <a:lnTo>
                        <a:pt x="519" y="256"/>
                      </a:lnTo>
                      <a:lnTo>
                        <a:pt x="511" y="251"/>
                      </a:lnTo>
                      <a:lnTo>
                        <a:pt x="503" y="247"/>
                      </a:lnTo>
                      <a:lnTo>
                        <a:pt x="495" y="243"/>
                      </a:lnTo>
                      <a:lnTo>
                        <a:pt x="508" y="231"/>
                      </a:lnTo>
                      <a:lnTo>
                        <a:pt x="521" y="217"/>
                      </a:lnTo>
                      <a:lnTo>
                        <a:pt x="531" y="203"/>
                      </a:lnTo>
                      <a:lnTo>
                        <a:pt x="539" y="187"/>
                      </a:lnTo>
                      <a:lnTo>
                        <a:pt x="546" y="171"/>
                      </a:lnTo>
                      <a:lnTo>
                        <a:pt x="550" y="154"/>
                      </a:lnTo>
                      <a:lnTo>
                        <a:pt x="552" y="137"/>
                      </a:lnTo>
                      <a:lnTo>
                        <a:pt x="551" y="120"/>
                      </a:lnTo>
                      <a:lnTo>
                        <a:pt x="549" y="108"/>
                      </a:lnTo>
                      <a:lnTo>
                        <a:pt x="545" y="97"/>
                      </a:lnTo>
                      <a:lnTo>
                        <a:pt x="541" y="85"/>
                      </a:lnTo>
                      <a:lnTo>
                        <a:pt x="535" y="75"/>
                      </a:lnTo>
                      <a:lnTo>
                        <a:pt x="527" y="65"/>
                      </a:lnTo>
                      <a:lnTo>
                        <a:pt x="519" y="54"/>
                      </a:lnTo>
                      <a:lnTo>
                        <a:pt x="511" y="45"/>
                      </a:lnTo>
                      <a:lnTo>
                        <a:pt x="500" y="37"/>
                      </a:lnTo>
                      <a:lnTo>
                        <a:pt x="485" y="27"/>
                      </a:lnTo>
                      <a:lnTo>
                        <a:pt x="469" y="17"/>
                      </a:lnTo>
                      <a:lnTo>
                        <a:pt x="452" y="10"/>
                      </a:lnTo>
                      <a:lnTo>
                        <a:pt x="435" y="5"/>
                      </a:lnTo>
                      <a:lnTo>
                        <a:pt x="416" y="1"/>
                      </a:lnTo>
                      <a:lnTo>
                        <a:pt x="397" y="0"/>
                      </a:lnTo>
                      <a:lnTo>
                        <a:pt x="377" y="0"/>
                      </a:lnTo>
                      <a:lnTo>
                        <a:pt x="356" y="1"/>
                      </a:lnTo>
                      <a:lnTo>
                        <a:pt x="322" y="9"/>
                      </a:lnTo>
                      <a:lnTo>
                        <a:pt x="289" y="21"/>
                      </a:lnTo>
                      <a:lnTo>
                        <a:pt x="262" y="38"/>
                      </a:lnTo>
                      <a:lnTo>
                        <a:pt x="239" y="59"/>
                      </a:lnTo>
                      <a:lnTo>
                        <a:pt x="219" y="83"/>
                      </a:lnTo>
                      <a:lnTo>
                        <a:pt x="206" y="110"/>
                      </a:lnTo>
                      <a:lnTo>
                        <a:pt x="199" y="137"/>
                      </a:lnTo>
                      <a:lnTo>
                        <a:pt x="199" y="166"/>
                      </a:lnTo>
                      <a:lnTo>
                        <a:pt x="202" y="178"/>
                      </a:lnTo>
                      <a:lnTo>
                        <a:pt x="205" y="190"/>
                      </a:lnTo>
                      <a:lnTo>
                        <a:pt x="210" y="201"/>
                      </a:lnTo>
                      <a:lnTo>
                        <a:pt x="216" y="212"/>
                      </a:lnTo>
                      <a:lnTo>
                        <a:pt x="223" y="222"/>
                      </a:lnTo>
                      <a:lnTo>
                        <a:pt x="231" y="233"/>
                      </a:lnTo>
                      <a:lnTo>
                        <a:pt x="240" y="242"/>
                      </a:lnTo>
                      <a:lnTo>
                        <a:pt x="250" y="250"/>
                      </a:lnTo>
                      <a:lnTo>
                        <a:pt x="251" y="251"/>
                      </a:lnTo>
                      <a:lnTo>
                        <a:pt x="254" y="251"/>
                      </a:lnTo>
                      <a:lnTo>
                        <a:pt x="255" y="252"/>
                      </a:lnTo>
                      <a:lnTo>
                        <a:pt x="256" y="254"/>
                      </a:lnTo>
                      <a:lnTo>
                        <a:pt x="246" y="259"/>
                      </a:lnTo>
                      <a:lnTo>
                        <a:pt x="235" y="266"/>
                      </a:lnTo>
                      <a:lnTo>
                        <a:pt x="226" y="273"/>
                      </a:lnTo>
                      <a:lnTo>
                        <a:pt x="217" y="280"/>
                      </a:lnTo>
                      <a:lnTo>
                        <a:pt x="208" y="288"/>
                      </a:lnTo>
                      <a:lnTo>
                        <a:pt x="199" y="296"/>
                      </a:lnTo>
                      <a:lnTo>
                        <a:pt x="191" y="304"/>
                      </a:lnTo>
                      <a:lnTo>
                        <a:pt x="185" y="314"/>
                      </a:lnTo>
                      <a:lnTo>
                        <a:pt x="175" y="327"/>
                      </a:lnTo>
                      <a:lnTo>
                        <a:pt x="166" y="341"/>
                      </a:lnTo>
                      <a:lnTo>
                        <a:pt x="160" y="356"/>
                      </a:lnTo>
                      <a:lnTo>
                        <a:pt x="155" y="371"/>
                      </a:lnTo>
                      <a:lnTo>
                        <a:pt x="151" y="386"/>
                      </a:lnTo>
                      <a:lnTo>
                        <a:pt x="149" y="402"/>
                      </a:lnTo>
                      <a:lnTo>
                        <a:pt x="149" y="417"/>
                      </a:lnTo>
                      <a:lnTo>
                        <a:pt x="150" y="433"/>
                      </a:lnTo>
                      <a:lnTo>
                        <a:pt x="151" y="438"/>
                      </a:lnTo>
                      <a:lnTo>
                        <a:pt x="152" y="441"/>
                      </a:lnTo>
                      <a:lnTo>
                        <a:pt x="152" y="446"/>
                      </a:lnTo>
                      <a:lnTo>
                        <a:pt x="153" y="451"/>
                      </a:lnTo>
                      <a:lnTo>
                        <a:pt x="125" y="460"/>
                      </a:lnTo>
                      <a:lnTo>
                        <a:pt x="98" y="468"/>
                      </a:lnTo>
                      <a:lnTo>
                        <a:pt x="75" y="476"/>
                      </a:lnTo>
                      <a:lnTo>
                        <a:pt x="55" y="482"/>
                      </a:lnTo>
                      <a:lnTo>
                        <a:pt x="38" y="486"/>
                      </a:lnTo>
                      <a:lnTo>
                        <a:pt x="27" y="490"/>
                      </a:lnTo>
                      <a:lnTo>
                        <a:pt x="19" y="492"/>
                      </a:lnTo>
                      <a:lnTo>
                        <a:pt x="16" y="493"/>
                      </a:lnTo>
                      <a:lnTo>
                        <a:pt x="0" y="498"/>
                      </a:lnTo>
                      <a:lnTo>
                        <a:pt x="1" y="515"/>
                      </a:lnTo>
                      <a:lnTo>
                        <a:pt x="1" y="518"/>
                      </a:lnTo>
                      <a:lnTo>
                        <a:pt x="2" y="522"/>
                      </a:lnTo>
                      <a:lnTo>
                        <a:pt x="5" y="529"/>
                      </a:lnTo>
                      <a:lnTo>
                        <a:pt x="7" y="537"/>
                      </a:lnTo>
                      <a:lnTo>
                        <a:pt x="12" y="549"/>
                      </a:lnTo>
                      <a:lnTo>
                        <a:pt x="17" y="562"/>
                      </a:lnTo>
                      <a:lnTo>
                        <a:pt x="24" y="579"/>
                      </a:lnTo>
                      <a:lnTo>
                        <a:pt x="34" y="598"/>
                      </a:lnTo>
                      <a:lnTo>
                        <a:pt x="46" y="621"/>
                      </a:lnTo>
                      <a:lnTo>
                        <a:pt x="60" y="648"/>
                      </a:lnTo>
                      <a:lnTo>
                        <a:pt x="78" y="677"/>
                      </a:lnTo>
                      <a:lnTo>
                        <a:pt x="99" y="710"/>
                      </a:lnTo>
                      <a:lnTo>
                        <a:pt x="122" y="747"/>
                      </a:lnTo>
                      <a:lnTo>
                        <a:pt x="150" y="787"/>
                      </a:lnTo>
                      <a:lnTo>
                        <a:pt x="182" y="832"/>
                      </a:lnTo>
                      <a:lnTo>
                        <a:pt x="218" y="882"/>
                      </a:lnTo>
                      <a:lnTo>
                        <a:pt x="224" y="891"/>
                      </a:lnTo>
                      <a:lnTo>
                        <a:pt x="231" y="899"/>
                      </a:lnTo>
                      <a:lnTo>
                        <a:pt x="236" y="908"/>
                      </a:lnTo>
                      <a:lnTo>
                        <a:pt x="243" y="917"/>
                      </a:lnTo>
                      <a:lnTo>
                        <a:pt x="249" y="927"/>
                      </a:lnTo>
                      <a:lnTo>
                        <a:pt x="256" y="936"/>
                      </a:lnTo>
                      <a:lnTo>
                        <a:pt x="262" y="945"/>
                      </a:lnTo>
                      <a:lnTo>
                        <a:pt x="269" y="954"/>
                      </a:lnTo>
                      <a:lnTo>
                        <a:pt x="284" y="975"/>
                      </a:lnTo>
                      <a:lnTo>
                        <a:pt x="299" y="996"/>
                      </a:lnTo>
                      <a:lnTo>
                        <a:pt x="314" y="1017"/>
                      </a:lnTo>
                      <a:lnTo>
                        <a:pt x="329" y="1037"/>
                      </a:lnTo>
                      <a:lnTo>
                        <a:pt x="344" y="1058"/>
                      </a:lnTo>
                      <a:lnTo>
                        <a:pt x="360" y="1078"/>
                      </a:lnTo>
                      <a:lnTo>
                        <a:pt x="375" y="1096"/>
                      </a:lnTo>
                      <a:lnTo>
                        <a:pt x="391" y="1114"/>
                      </a:lnTo>
                      <a:lnTo>
                        <a:pt x="391" y="1116"/>
                      </a:lnTo>
                      <a:lnTo>
                        <a:pt x="392" y="1117"/>
                      </a:lnTo>
                      <a:lnTo>
                        <a:pt x="394" y="1119"/>
                      </a:lnTo>
                      <a:lnTo>
                        <a:pt x="395" y="1120"/>
                      </a:lnTo>
                      <a:lnTo>
                        <a:pt x="415" y="1140"/>
                      </a:lnTo>
                      <a:lnTo>
                        <a:pt x="436" y="1158"/>
                      </a:lnTo>
                      <a:lnTo>
                        <a:pt x="456" y="1176"/>
                      </a:lnTo>
                      <a:lnTo>
                        <a:pt x="478" y="1191"/>
                      </a:lnTo>
                      <a:lnTo>
                        <a:pt x="500" y="1203"/>
                      </a:lnTo>
                      <a:lnTo>
                        <a:pt x="523" y="1215"/>
                      </a:lnTo>
                      <a:lnTo>
                        <a:pt x="548" y="1224"/>
                      </a:lnTo>
                      <a:lnTo>
                        <a:pt x="572" y="1230"/>
                      </a:lnTo>
                      <a:lnTo>
                        <a:pt x="598" y="1233"/>
                      </a:lnTo>
                      <a:lnTo>
                        <a:pt x="624" y="1236"/>
                      </a:lnTo>
                      <a:lnTo>
                        <a:pt x="650" y="1236"/>
                      </a:lnTo>
                      <a:lnTo>
                        <a:pt x="675" y="1233"/>
                      </a:lnTo>
                      <a:lnTo>
                        <a:pt x="702" y="1230"/>
                      </a:lnTo>
                      <a:lnTo>
                        <a:pt x="728" y="1224"/>
                      </a:lnTo>
                      <a:lnTo>
                        <a:pt x="755" y="1217"/>
                      </a:lnTo>
                      <a:lnTo>
                        <a:pt x="781" y="1209"/>
                      </a:lnTo>
                      <a:lnTo>
                        <a:pt x="809" y="1199"/>
                      </a:lnTo>
                      <a:lnTo>
                        <a:pt x="837" y="1188"/>
                      </a:lnTo>
                      <a:lnTo>
                        <a:pt x="864" y="1176"/>
                      </a:lnTo>
                      <a:lnTo>
                        <a:pt x="893" y="1162"/>
                      </a:lnTo>
                      <a:lnTo>
                        <a:pt x="923" y="1148"/>
                      </a:lnTo>
                      <a:lnTo>
                        <a:pt x="953" y="1133"/>
                      </a:lnTo>
                      <a:lnTo>
                        <a:pt x="983" y="1117"/>
                      </a:lnTo>
                      <a:lnTo>
                        <a:pt x="1015" y="1100"/>
                      </a:lnTo>
                      <a:lnTo>
                        <a:pt x="1052" y="1079"/>
                      </a:lnTo>
                      <a:lnTo>
                        <a:pt x="1088" y="1057"/>
                      </a:lnTo>
                      <a:lnTo>
                        <a:pt x="1123" y="1033"/>
                      </a:lnTo>
                      <a:lnTo>
                        <a:pt x="1156" y="1010"/>
                      </a:lnTo>
                      <a:lnTo>
                        <a:pt x="1187" y="985"/>
                      </a:lnTo>
                      <a:lnTo>
                        <a:pt x="1217" y="961"/>
                      </a:lnTo>
                      <a:lnTo>
                        <a:pt x="1245" y="937"/>
                      </a:lnTo>
                      <a:lnTo>
                        <a:pt x="1271" y="914"/>
                      </a:lnTo>
                      <a:lnTo>
                        <a:pt x="1294" y="893"/>
                      </a:lnTo>
                      <a:lnTo>
                        <a:pt x="1315" y="872"/>
                      </a:lnTo>
                      <a:lnTo>
                        <a:pt x="1333" y="854"/>
                      </a:lnTo>
                      <a:lnTo>
                        <a:pt x="1348" y="838"/>
                      </a:lnTo>
                      <a:lnTo>
                        <a:pt x="1361" y="825"/>
                      </a:lnTo>
                      <a:lnTo>
                        <a:pt x="1372" y="815"/>
                      </a:lnTo>
                      <a:lnTo>
                        <a:pt x="1377" y="808"/>
                      </a:lnTo>
                      <a:lnTo>
                        <a:pt x="1381" y="804"/>
                      </a:lnTo>
                      <a:lnTo>
                        <a:pt x="1412" y="768"/>
                      </a:lnTo>
                      <a:lnTo>
                        <a:pt x="1363" y="77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67" name="Freeform 229">
                  <a:extLst>
                    <a:ext uri="{FF2B5EF4-FFF2-40B4-BE49-F238E27FC236}">
                      <a16:creationId xmlns:a16="http://schemas.microsoft.com/office/drawing/2014/main" id="{ACEDBE2F-7AA8-4AEB-9234-439EF6153724}"/>
                    </a:ext>
                  </a:extLst>
                </p:cNvPr>
                <p:cNvSpPr>
                  <a:spLocks/>
                </p:cNvSpPr>
                <p:nvPr/>
              </p:nvSpPr>
              <p:spPr bwMode="auto">
                <a:xfrm>
                  <a:off x="963584" y="976296"/>
                  <a:ext cx="214313" cy="163513"/>
                </a:xfrm>
                <a:custGeom>
                  <a:avLst/>
                  <a:gdLst>
                    <a:gd name="T0" fmla="*/ 0 w 271"/>
                    <a:gd name="T1" fmla="*/ 2147483646 h 207"/>
                    <a:gd name="T2" fmla="*/ 0 w 271"/>
                    <a:gd name="T3" fmla="*/ 2147483646 h 207"/>
                    <a:gd name="T4" fmla="*/ 2147483646 w 271"/>
                    <a:gd name="T5" fmla="*/ 2147483646 h 207"/>
                    <a:gd name="T6" fmla="*/ 2147483646 w 271"/>
                    <a:gd name="T7" fmla="*/ 2147483646 h 207"/>
                    <a:gd name="T8" fmla="*/ 2147483646 w 271"/>
                    <a:gd name="T9" fmla="*/ 2147483646 h 207"/>
                    <a:gd name="T10" fmla="*/ 2147483646 w 271"/>
                    <a:gd name="T11" fmla="*/ 2147483646 h 207"/>
                    <a:gd name="T12" fmla="*/ 2147483646 w 271"/>
                    <a:gd name="T13" fmla="*/ 2147483646 h 207"/>
                    <a:gd name="T14" fmla="*/ 2147483646 w 271"/>
                    <a:gd name="T15" fmla="*/ 2147483646 h 207"/>
                    <a:gd name="T16" fmla="*/ 2147483646 w 271"/>
                    <a:gd name="T17" fmla="*/ 2147483646 h 207"/>
                    <a:gd name="T18" fmla="*/ 2147483646 w 271"/>
                    <a:gd name="T19" fmla="*/ 0 h 207"/>
                    <a:gd name="T20" fmla="*/ 2147483646 w 271"/>
                    <a:gd name="T21" fmla="*/ 0 h 207"/>
                    <a:gd name="T22" fmla="*/ 2147483646 w 271"/>
                    <a:gd name="T23" fmla="*/ 2147483646 h 207"/>
                    <a:gd name="T24" fmla="*/ 2147483646 w 271"/>
                    <a:gd name="T25" fmla="*/ 2147483646 h 207"/>
                    <a:gd name="T26" fmla="*/ 2147483646 w 271"/>
                    <a:gd name="T27" fmla="*/ 2147483646 h 207"/>
                    <a:gd name="T28" fmla="*/ 2147483646 w 271"/>
                    <a:gd name="T29" fmla="*/ 2147483646 h 207"/>
                    <a:gd name="T30" fmla="*/ 2147483646 w 271"/>
                    <a:gd name="T31" fmla="*/ 2147483646 h 207"/>
                    <a:gd name="T32" fmla="*/ 2147483646 w 271"/>
                    <a:gd name="T33" fmla="*/ 2147483646 h 207"/>
                    <a:gd name="T34" fmla="*/ 2147483646 w 271"/>
                    <a:gd name="T35" fmla="*/ 2147483646 h 207"/>
                    <a:gd name="T36" fmla="*/ 2147483646 w 271"/>
                    <a:gd name="T37" fmla="*/ 2147483646 h 207"/>
                    <a:gd name="T38" fmla="*/ 2147483646 w 271"/>
                    <a:gd name="T39" fmla="*/ 2147483646 h 207"/>
                    <a:gd name="T40" fmla="*/ 2147483646 w 271"/>
                    <a:gd name="T41" fmla="*/ 2147483646 h 207"/>
                    <a:gd name="T42" fmla="*/ 2147483646 w 271"/>
                    <a:gd name="T43" fmla="*/ 2147483646 h 207"/>
                    <a:gd name="T44" fmla="*/ 2147483646 w 271"/>
                    <a:gd name="T45" fmla="*/ 2147483646 h 207"/>
                    <a:gd name="T46" fmla="*/ 2147483646 w 271"/>
                    <a:gd name="T47" fmla="*/ 2147483646 h 207"/>
                    <a:gd name="T48" fmla="*/ 2147483646 w 271"/>
                    <a:gd name="T49" fmla="*/ 2147483646 h 207"/>
                    <a:gd name="T50" fmla="*/ 2147483646 w 271"/>
                    <a:gd name="T51" fmla="*/ 2147483646 h 207"/>
                    <a:gd name="T52" fmla="*/ 2147483646 w 271"/>
                    <a:gd name="T53" fmla="*/ 2147483646 h 207"/>
                    <a:gd name="T54" fmla="*/ 2147483646 w 271"/>
                    <a:gd name="T55" fmla="*/ 2147483646 h 207"/>
                    <a:gd name="T56" fmla="*/ 2147483646 w 271"/>
                    <a:gd name="T57" fmla="*/ 2147483646 h 207"/>
                    <a:gd name="T58" fmla="*/ 2147483646 w 271"/>
                    <a:gd name="T59" fmla="*/ 2147483646 h 207"/>
                    <a:gd name="T60" fmla="*/ 2147483646 w 271"/>
                    <a:gd name="T61" fmla="*/ 2147483646 h 207"/>
                    <a:gd name="T62" fmla="*/ 2147483646 w 271"/>
                    <a:gd name="T63" fmla="*/ 2147483646 h 207"/>
                    <a:gd name="T64" fmla="*/ 2147483646 w 271"/>
                    <a:gd name="T65" fmla="*/ 2147483646 h 207"/>
                    <a:gd name="T66" fmla="*/ 2147483646 w 271"/>
                    <a:gd name="T67" fmla="*/ 2147483646 h 207"/>
                    <a:gd name="T68" fmla="*/ 2147483646 w 271"/>
                    <a:gd name="T69" fmla="*/ 2147483646 h 207"/>
                    <a:gd name="T70" fmla="*/ 2147483646 w 271"/>
                    <a:gd name="T71" fmla="*/ 2147483646 h 207"/>
                    <a:gd name="T72" fmla="*/ 2147483646 w 271"/>
                    <a:gd name="T73" fmla="*/ 2147483646 h 207"/>
                    <a:gd name="T74" fmla="*/ 2147483646 w 271"/>
                    <a:gd name="T75" fmla="*/ 2147483646 h 207"/>
                    <a:gd name="T76" fmla="*/ 2147483646 w 271"/>
                    <a:gd name="T77" fmla="*/ 2147483646 h 207"/>
                    <a:gd name="T78" fmla="*/ 2147483646 w 271"/>
                    <a:gd name="T79" fmla="*/ 2147483646 h 207"/>
                    <a:gd name="T80" fmla="*/ 2147483646 w 271"/>
                    <a:gd name="T81" fmla="*/ 2147483646 h 207"/>
                    <a:gd name="T82" fmla="*/ 2147483646 w 271"/>
                    <a:gd name="T83" fmla="*/ 2147483646 h 207"/>
                    <a:gd name="T84" fmla="*/ 2147483646 w 271"/>
                    <a:gd name="T85" fmla="*/ 2147483646 h 207"/>
                    <a:gd name="T86" fmla="*/ 2147483646 w 271"/>
                    <a:gd name="T87" fmla="*/ 2147483646 h 207"/>
                    <a:gd name="T88" fmla="*/ 2147483646 w 271"/>
                    <a:gd name="T89" fmla="*/ 2147483646 h 207"/>
                    <a:gd name="T90" fmla="*/ 2147483646 w 271"/>
                    <a:gd name="T91" fmla="*/ 2147483646 h 207"/>
                    <a:gd name="T92" fmla="*/ 2147483646 w 271"/>
                    <a:gd name="T93" fmla="*/ 2147483646 h 207"/>
                    <a:gd name="T94" fmla="*/ 2147483646 w 271"/>
                    <a:gd name="T95" fmla="*/ 2147483646 h 207"/>
                    <a:gd name="T96" fmla="*/ 0 w 271"/>
                    <a:gd name="T97" fmla="*/ 2147483646 h 20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1"/>
                    <a:gd name="T148" fmla="*/ 0 h 207"/>
                    <a:gd name="T149" fmla="*/ 271 w 271"/>
                    <a:gd name="T150" fmla="*/ 207 h 20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1" h="207">
                      <a:moveTo>
                        <a:pt x="0" y="121"/>
                      </a:moveTo>
                      <a:lnTo>
                        <a:pt x="0" y="101"/>
                      </a:lnTo>
                      <a:lnTo>
                        <a:pt x="4" y="80"/>
                      </a:lnTo>
                      <a:lnTo>
                        <a:pt x="15" y="61"/>
                      </a:lnTo>
                      <a:lnTo>
                        <a:pt x="30" y="44"/>
                      </a:lnTo>
                      <a:lnTo>
                        <a:pt x="48" y="29"/>
                      </a:lnTo>
                      <a:lnTo>
                        <a:pt x="70" y="17"/>
                      </a:lnTo>
                      <a:lnTo>
                        <a:pt x="94" y="7"/>
                      </a:lnTo>
                      <a:lnTo>
                        <a:pt x="122" y="2"/>
                      </a:lnTo>
                      <a:lnTo>
                        <a:pt x="138" y="0"/>
                      </a:lnTo>
                      <a:lnTo>
                        <a:pt x="153" y="0"/>
                      </a:lnTo>
                      <a:lnTo>
                        <a:pt x="169" y="2"/>
                      </a:lnTo>
                      <a:lnTo>
                        <a:pt x="184" y="4"/>
                      </a:lnTo>
                      <a:lnTo>
                        <a:pt x="198" y="8"/>
                      </a:lnTo>
                      <a:lnTo>
                        <a:pt x="212" y="14"/>
                      </a:lnTo>
                      <a:lnTo>
                        <a:pt x="225" y="20"/>
                      </a:lnTo>
                      <a:lnTo>
                        <a:pt x="236" y="28"/>
                      </a:lnTo>
                      <a:lnTo>
                        <a:pt x="243" y="34"/>
                      </a:lnTo>
                      <a:lnTo>
                        <a:pt x="250" y="41"/>
                      </a:lnTo>
                      <a:lnTo>
                        <a:pt x="255" y="48"/>
                      </a:lnTo>
                      <a:lnTo>
                        <a:pt x="260" y="55"/>
                      </a:lnTo>
                      <a:lnTo>
                        <a:pt x="264" y="63"/>
                      </a:lnTo>
                      <a:lnTo>
                        <a:pt x="267" y="70"/>
                      </a:lnTo>
                      <a:lnTo>
                        <a:pt x="269" y="78"/>
                      </a:lnTo>
                      <a:lnTo>
                        <a:pt x="271" y="86"/>
                      </a:lnTo>
                      <a:lnTo>
                        <a:pt x="271" y="106"/>
                      </a:lnTo>
                      <a:lnTo>
                        <a:pt x="265" y="127"/>
                      </a:lnTo>
                      <a:lnTo>
                        <a:pt x="255" y="146"/>
                      </a:lnTo>
                      <a:lnTo>
                        <a:pt x="241" y="163"/>
                      </a:lnTo>
                      <a:lnTo>
                        <a:pt x="222" y="178"/>
                      </a:lnTo>
                      <a:lnTo>
                        <a:pt x="200" y="191"/>
                      </a:lnTo>
                      <a:lnTo>
                        <a:pt x="175" y="200"/>
                      </a:lnTo>
                      <a:lnTo>
                        <a:pt x="148" y="206"/>
                      </a:lnTo>
                      <a:lnTo>
                        <a:pt x="132" y="207"/>
                      </a:lnTo>
                      <a:lnTo>
                        <a:pt x="117" y="207"/>
                      </a:lnTo>
                      <a:lnTo>
                        <a:pt x="101" y="206"/>
                      </a:lnTo>
                      <a:lnTo>
                        <a:pt x="86" y="202"/>
                      </a:lnTo>
                      <a:lnTo>
                        <a:pt x="72" y="199"/>
                      </a:lnTo>
                      <a:lnTo>
                        <a:pt x="59" y="193"/>
                      </a:lnTo>
                      <a:lnTo>
                        <a:pt x="46" y="186"/>
                      </a:lnTo>
                      <a:lnTo>
                        <a:pt x="34" y="178"/>
                      </a:lnTo>
                      <a:lnTo>
                        <a:pt x="27" y="172"/>
                      </a:lnTo>
                      <a:lnTo>
                        <a:pt x="21" y="166"/>
                      </a:lnTo>
                      <a:lnTo>
                        <a:pt x="16" y="159"/>
                      </a:lnTo>
                      <a:lnTo>
                        <a:pt x="10" y="153"/>
                      </a:lnTo>
                      <a:lnTo>
                        <a:pt x="7" y="144"/>
                      </a:lnTo>
                      <a:lnTo>
                        <a:pt x="3" y="138"/>
                      </a:lnTo>
                      <a:lnTo>
                        <a:pt x="1" y="129"/>
                      </a:lnTo>
                      <a:lnTo>
                        <a:pt x="0" y="121"/>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68" name="Freeform 230">
                  <a:extLst>
                    <a:ext uri="{FF2B5EF4-FFF2-40B4-BE49-F238E27FC236}">
                      <a16:creationId xmlns:a16="http://schemas.microsoft.com/office/drawing/2014/main" id="{8C9A9033-FB5F-4238-A324-C84F3E50F60C}"/>
                    </a:ext>
                  </a:extLst>
                </p:cNvPr>
                <p:cNvSpPr>
                  <a:spLocks/>
                </p:cNvSpPr>
                <p:nvPr/>
              </p:nvSpPr>
              <p:spPr bwMode="auto">
                <a:xfrm>
                  <a:off x="1017559" y="1160446"/>
                  <a:ext cx="106363" cy="103188"/>
                </a:xfrm>
                <a:custGeom>
                  <a:avLst/>
                  <a:gdLst>
                    <a:gd name="T0" fmla="*/ 2147483646 w 135"/>
                    <a:gd name="T1" fmla="*/ 2147483646 h 130"/>
                    <a:gd name="T2" fmla="*/ 2147483646 w 135"/>
                    <a:gd name="T3" fmla="*/ 2147483646 h 130"/>
                    <a:gd name="T4" fmla="*/ 2147483646 w 135"/>
                    <a:gd name="T5" fmla="*/ 2147483646 h 130"/>
                    <a:gd name="T6" fmla="*/ 2147483646 w 135"/>
                    <a:gd name="T7" fmla="*/ 2147483646 h 130"/>
                    <a:gd name="T8" fmla="*/ 2147483646 w 135"/>
                    <a:gd name="T9" fmla="*/ 2147483646 h 130"/>
                    <a:gd name="T10" fmla="*/ 2147483646 w 135"/>
                    <a:gd name="T11" fmla="*/ 2147483646 h 130"/>
                    <a:gd name="T12" fmla="*/ 2147483646 w 135"/>
                    <a:gd name="T13" fmla="*/ 2147483646 h 130"/>
                    <a:gd name="T14" fmla="*/ 2147483646 w 135"/>
                    <a:gd name="T15" fmla="*/ 2147483646 h 130"/>
                    <a:gd name="T16" fmla="*/ 2147483646 w 135"/>
                    <a:gd name="T17" fmla="*/ 2147483646 h 130"/>
                    <a:gd name="T18" fmla="*/ 2147483646 w 135"/>
                    <a:gd name="T19" fmla="*/ 2147483646 h 130"/>
                    <a:gd name="T20" fmla="*/ 2147483646 w 135"/>
                    <a:gd name="T21" fmla="*/ 2147483646 h 130"/>
                    <a:gd name="T22" fmla="*/ 2147483646 w 135"/>
                    <a:gd name="T23" fmla="*/ 2147483646 h 130"/>
                    <a:gd name="T24" fmla="*/ 2147483646 w 135"/>
                    <a:gd name="T25" fmla="*/ 2147483646 h 130"/>
                    <a:gd name="T26" fmla="*/ 2147483646 w 135"/>
                    <a:gd name="T27" fmla="*/ 2147483646 h 130"/>
                    <a:gd name="T28" fmla="*/ 2147483646 w 135"/>
                    <a:gd name="T29" fmla="*/ 2147483646 h 130"/>
                    <a:gd name="T30" fmla="*/ 2147483646 w 135"/>
                    <a:gd name="T31" fmla="*/ 2147483646 h 130"/>
                    <a:gd name="T32" fmla="*/ 0 w 135"/>
                    <a:gd name="T33" fmla="*/ 2147483646 h 130"/>
                    <a:gd name="T34" fmla="*/ 2147483646 w 135"/>
                    <a:gd name="T35" fmla="*/ 2147483646 h 130"/>
                    <a:gd name="T36" fmla="*/ 2147483646 w 135"/>
                    <a:gd name="T37" fmla="*/ 2147483646 h 130"/>
                    <a:gd name="T38" fmla="*/ 2147483646 w 135"/>
                    <a:gd name="T39" fmla="*/ 2147483646 h 130"/>
                    <a:gd name="T40" fmla="*/ 2147483646 w 135"/>
                    <a:gd name="T41" fmla="*/ 2147483646 h 130"/>
                    <a:gd name="T42" fmla="*/ 2147483646 w 135"/>
                    <a:gd name="T43" fmla="*/ 2147483646 h 130"/>
                    <a:gd name="T44" fmla="*/ 2147483646 w 135"/>
                    <a:gd name="T45" fmla="*/ 2147483646 h 130"/>
                    <a:gd name="T46" fmla="*/ 2147483646 w 135"/>
                    <a:gd name="T47" fmla="*/ 2147483646 h 130"/>
                    <a:gd name="T48" fmla="*/ 2147483646 w 135"/>
                    <a:gd name="T49" fmla="*/ 2147483646 h 130"/>
                    <a:gd name="T50" fmla="*/ 2147483646 w 135"/>
                    <a:gd name="T51" fmla="*/ 2147483646 h 130"/>
                    <a:gd name="T52" fmla="*/ 2147483646 w 135"/>
                    <a:gd name="T53" fmla="*/ 2147483646 h 130"/>
                    <a:gd name="T54" fmla="*/ 2147483646 w 135"/>
                    <a:gd name="T55" fmla="*/ 2147483646 h 130"/>
                    <a:gd name="T56" fmla="*/ 2147483646 w 135"/>
                    <a:gd name="T57" fmla="*/ 2147483646 h 130"/>
                    <a:gd name="T58" fmla="*/ 2147483646 w 135"/>
                    <a:gd name="T59" fmla="*/ 2147483646 h 130"/>
                    <a:gd name="T60" fmla="*/ 2147483646 w 135"/>
                    <a:gd name="T61" fmla="*/ 2147483646 h 130"/>
                    <a:gd name="T62" fmla="*/ 2147483646 w 135"/>
                    <a:gd name="T63" fmla="*/ 2147483646 h 130"/>
                    <a:gd name="T64" fmla="*/ 2147483646 w 135"/>
                    <a:gd name="T65" fmla="*/ 2147483646 h 130"/>
                    <a:gd name="T66" fmla="*/ 2147483646 w 135"/>
                    <a:gd name="T67" fmla="*/ 0 h 130"/>
                    <a:gd name="T68" fmla="*/ 2147483646 w 135"/>
                    <a:gd name="T69" fmla="*/ 2147483646 h 13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5"/>
                    <a:gd name="T106" fmla="*/ 0 h 130"/>
                    <a:gd name="T107" fmla="*/ 135 w 135"/>
                    <a:gd name="T108" fmla="*/ 130 h 13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5" h="130">
                      <a:moveTo>
                        <a:pt x="135" y="96"/>
                      </a:moveTo>
                      <a:lnTo>
                        <a:pt x="129" y="103"/>
                      </a:lnTo>
                      <a:lnTo>
                        <a:pt x="123" y="109"/>
                      </a:lnTo>
                      <a:lnTo>
                        <a:pt x="116" y="114"/>
                      </a:lnTo>
                      <a:lnTo>
                        <a:pt x="109" y="119"/>
                      </a:lnTo>
                      <a:lnTo>
                        <a:pt x="102" y="122"/>
                      </a:lnTo>
                      <a:lnTo>
                        <a:pt x="94" y="126"/>
                      </a:lnTo>
                      <a:lnTo>
                        <a:pt x="85" y="128"/>
                      </a:lnTo>
                      <a:lnTo>
                        <a:pt x="76" y="129"/>
                      </a:lnTo>
                      <a:lnTo>
                        <a:pt x="61" y="130"/>
                      </a:lnTo>
                      <a:lnTo>
                        <a:pt x="48" y="130"/>
                      </a:lnTo>
                      <a:lnTo>
                        <a:pt x="37" y="129"/>
                      </a:lnTo>
                      <a:lnTo>
                        <a:pt x="26" y="127"/>
                      </a:lnTo>
                      <a:lnTo>
                        <a:pt x="18" y="122"/>
                      </a:lnTo>
                      <a:lnTo>
                        <a:pt x="11" y="118"/>
                      </a:lnTo>
                      <a:lnTo>
                        <a:pt x="4" y="111"/>
                      </a:lnTo>
                      <a:lnTo>
                        <a:pt x="0" y="102"/>
                      </a:lnTo>
                      <a:lnTo>
                        <a:pt x="2" y="6"/>
                      </a:lnTo>
                      <a:lnTo>
                        <a:pt x="12" y="8"/>
                      </a:lnTo>
                      <a:lnTo>
                        <a:pt x="22" y="11"/>
                      </a:lnTo>
                      <a:lnTo>
                        <a:pt x="32" y="12"/>
                      </a:lnTo>
                      <a:lnTo>
                        <a:pt x="42" y="13"/>
                      </a:lnTo>
                      <a:lnTo>
                        <a:pt x="53" y="13"/>
                      </a:lnTo>
                      <a:lnTo>
                        <a:pt x="63" y="13"/>
                      </a:lnTo>
                      <a:lnTo>
                        <a:pt x="75" y="13"/>
                      </a:lnTo>
                      <a:lnTo>
                        <a:pt x="85" y="12"/>
                      </a:lnTo>
                      <a:lnTo>
                        <a:pt x="92" y="11"/>
                      </a:lnTo>
                      <a:lnTo>
                        <a:pt x="98" y="9"/>
                      </a:lnTo>
                      <a:lnTo>
                        <a:pt x="104" y="8"/>
                      </a:lnTo>
                      <a:lnTo>
                        <a:pt x="109" y="7"/>
                      </a:lnTo>
                      <a:lnTo>
                        <a:pt x="115" y="6"/>
                      </a:lnTo>
                      <a:lnTo>
                        <a:pt x="121" y="4"/>
                      </a:lnTo>
                      <a:lnTo>
                        <a:pt x="127" y="2"/>
                      </a:lnTo>
                      <a:lnTo>
                        <a:pt x="132" y="0"/>
                      </a:lnTo>
                      <a:lnTo>
                        <a:pt x="135" y="96"/>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69" name="Freeform 231">
                  <a:extLst>
                    <a:ext uri="{FF2B5EF4-FFF2-40B4-BE49-F238E27FC236}">
                      <a16:creationId xmlns:a16="http://schemas.microsoft.com/office/drawing/2014/main" id="{9A9CD52A-7903-461D-9114-29A2D7821356}"/>
                    </a:ext>
                  </a:extLst>
                </p:cNvPr>
                <p:cNvSpPr>
                  <a:spLocks/>
                </p:cNvSpPr>
                <p:nvPr/>
              </p:nvSpPr>
              <p:spPr bwMode="auto">
                <a:xfrm>
                  <a:off x="923896" y="1165208"/>
                  <a:ext cx="295275" cy="212725"/>
                </a:xfrm>
                <a:custGeom>
                  <a:avLst/>
                  <a:gdLst>
                    <a:gd name="T0" fmla="*/ 2147483646 w 374"/>
                    <a:gd name="T1" fmla="*/ 2147483646 h 268"/>
                    <a:gd name="T2" fmla="*/ 2147483646 w 374"/>
                    <a:gd name="T3" fmla="*/ 2147483646 h 268"/>
                    <a:gd name="T4" fmla="*/ 2147483646 w 374"/>
                    <a:gd name="T5" fmla="*/ 2147483646 h 268"/>
                    <a:gd name="T6" fmla="*/ 2147483646 w 374"/>
                    <a:gd name="T7" fmla="*/ 2147483646 h 268"/>
                    <a:gd name="T8" fmla="*/ 2147483646 w 374"/>
                    <a:gd name="T9" fmla="*/ 2147483646 h 268"/>
                    <a:gd name="T10" fmla="*/ 2147483646 w 374"/>
                    <a:gd name="T11" fmla="*/ 2147483646 h 268"/>
                    <a:gd name="T12" fmla="*/ 2147483646 w 374"/>
                    <a:gd name="T13" fmla="*/ 2147483646 h 268"/>
                    <a:gd name="T14" fmla="*/ 2147483646 w 374"/>
                    <a:gd name="T15" fmla="*/ 2147483646 h 268"/>
                    <a:gd name="T16" fmla="*/ 2147483646 w 374"/>
                    <a:gd name="T17" fmla="*/ 2147483646 h 268"/>
                    <a:gd name="T18" fmla="*/ 2147483646 w 374"/>
                    <a:gd name="T19" fmla="*/ 2147483646 h 268"/>
                    <a:gd name="T20" fmla="*/ 2147483646 w 374"/>
                    <a:gd name="T21" fmla="*/ 2147483646 h 268"/>
                    <a:gd name="T22" fmla="*/ 2147483646 w 374"/>
                    <a:gd name="T23" fmla="*/ 2147483646 h 268"/>
                    <a:gd name="T24" fmla="*/ 2147483646 w 374"/>
                    <a:gd name="T25" fmla="*/ 2147483646 h 268"/>
                    <a:gd name="T26" fmla="*/ 2147483646 w 374"/>
                    <a:gd name="T27" fmla="*/ 2147483646 h 268"/>
                    <a:gd name="T28" fmla="*/ 2147483646 w 374"/>
                    <a:gd name="T29" fmla="*/ 2147483646 h 268"/>
                    <a:gd name="T30" fmla="*/ 2147483646 w 374"/>
                    <a:gd name="T31" fmla="*/ 2147483646 h 268"/>
                    <a:gd name="T32" fmla="*/ 2147483646 w 374"/>
                    <a:gd name="T33" fmla="*/ 2147483646 h 268"/>
                    <a:gd name="T34" fmla="*/ 2147483646 w 374"/>
                    <a:gd name="T35" fmla="*/ 2147483646 h 268"/>
                    <a:gd name="T36" fmla="*/ 2147483646 w 374"/>
                    <a:gd name="T37" fmla="*/ 2147483646 h 268"/>
                    <a:gd name="T38" fmla="*/ 2147483646 w 374"/>
                    <a:gd name="T39" fmla="*/ 2147483646 h 268"/>
                    <a:gd name="T40" fmla="*/ 2147483646 w 374"/>
                    <a:gd name="T41" fmla="*/ 2147483646 h 268"/>
                    <a:gd name="T42" fmla="*/ 2147483646 w 374"/>
                    <a:gd name="T43" fmla="*/ 2147483646 h 268"/>
                    <a:gd name="T44" fmla="*/ 2147483646 w 374"/>
                    <a:gd name="T45" fmla="*/ 2147483646 h 268"/>
                    <a:gd name="T46" fmla="*/ 2147483646 w 374"/>
                    <a:gd name="T47" fmla="*/ 2147483646 h 268"/>
                    <a:gd name="T48" fmla="*/ 2147483646 w 374"/>
                    <a:gd name="T49" fmla="*/ 2147483646 h 268"/>
                    <a:gd name="T50" fmla="*/ 2147483646 w 374"/>
                    <a:gd name="T51" fmla="*/ 2147483646 h 268"/>
                    <a:gd name="T52" fmla="*/ 2147483646 w 374"/>
                    <a:gd name="T53" fmla="*/ 2147483646 h 268"/>
                    <a:gd name="T54" fmla="*/ 2147483646 w 374"/>
                    <a:gd name="T55" fmla="*/ 2147483646 h 268"/>
                    <a:gd name="T56" fmla="*/ 2147483646 w 374"/>
                    <a:gd name="T57" fmla="*/ 2147483646 h 268"/>
                    <a:gd name="T58" fmla="*/ 2147483646 w 374"/>
                    <a:gd name="T59" fmla="*/ 2147483646 h 268"/>
                    <a:gd name="T60" fmla="*/ 0 w 374"/>
                    <a:gd name="T61" fmla="*/ 2147483646 h 268"/>
                    <a:gd name="T62" fmla="*/ 2147483646 w 374"/>
                    <a:gd name="T63" fmla="*/ 2147483646 h 2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4"/>
                    <a:gd name="T97" fmla="*/ 0 h 268"/>
                    <a:gd name="T98" fmla="*/ 374 w 374"/>
                    <a:gd name="T99" fmla="*/ 268 h 2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4" h="268">
                      <a:moveTo>
                        <a:pt x="28" y="59"/>
                      </a:moveTo>
                      <a:lnTo>
                        <a:pt x="34" y="52"/>
                      </a:lnTo>
                      <a:lnTo>
                        <a:pt x="39" y="46"/>
                      </a:lnTo>
                      <a:lnTo>
                        <a:pt x="45" y="40"/>
                      </a:lnTo>
                      <a:lnTo>
                        <a:pt x="52" y="35"/>
                      </a:lnTo>
                      <a:lnTo>
                        <a:pt x="59" y="29"/>
                      </a:lnTo>
                      <a:lnTo>
                        <a:pt x="66" y="23"/>
                      </a:lnTo>
                      <a:lnTo>
                        <a:pt x="73" y="18"/>
                      </a:lnTo>
                      <a:lnTo>
                        <a:pt x="81" y="14"/>
                      </a:lnTo>
                      <a:lnTo>
                        <a:pt x="78" y="105"/>
                      </a:lnTo>
                      <a:lnTo>
                        <a:pt x="80" y="108"/>
                      </a:lnTo>
                      <a:lnTo>
                        <a:pt x="91" y="128"/>
                      </a:lnTo>
                      <a:lnTo>
                        <a:pt x="104" y="142"/>
                      </a:lnTo>
                      <a:lnTo>
                        <a:pt x="119" y="152"/>
                      </a:lnTo>
                      <a:lnTo>
                        <a:pt x="134" y="159"/>
                      </a:lnTo>
                      <a:lnTo>
                        <a:pt x="151" y="164"/>
                      </a:lnTo>
                      <a:lnTo>
                        <a:pt x="167" y="165"/>
                      </a:lnTo>
                      <a:lnTo>
                        <a:pt x="185" y="164"/>
                      </a:lnTo>
                      <a:lnTo>
                        <a:pt x="201" y="162"/>
                      </a:lnTo>
                      <a:lnTo>
                        <a:pt x="214" y="160"/>
                      </a:lnTo>
                      <a:lnTo>
                        <a:pt x="227" y="157"/>
                      </a:lnTo>
                      <a:lnTo>
                        <a:pt x="240" y="151"/>
                      </a:lnTo>
                      <a:lnTo>
                        <a:pt x="251" y="145"/>
                      </a:lnTo>
                      <a:lnTo>
                        <a:pt x="263" y="137"/>
                      </a:lnTo>
                      <a:lnTo>
                        <a:pt x="272" y="129"/>
                      </a:lnTo>
                      <a:lnTo>
                        <a:pt x="282" y="119"/>
                      </a:lnTo>
                      <a:lnTo>
                        <a:pt x="291" y="107"/>
                      </a:lnTo>
                      <a:lnTo>
                        <a:pt x="294" y="101"/>
                      </a:lnTo>
                      <a:lnTo>
                        <a:pt x="292" y="0"/>
                      </a:lnTo>
                      <a:lnTo>
                        <a:pt x="308" y="8"/>
                      </a:lnTo>
                      <a:lnTo>
                        <a:pt x="323" y="18"/>
                      </a:lnTo>
                      <a:lnTo>
                        <a:pt x="335" y="29"/>
                      </a:lnTo>
                      <a:lnTo>
                        <a:pt x="347" y="41"/>
                      </a:lnTo>
                      <a:lnTo>
                        <a:pt x="357" y="55"/>
                      </a:lnTo>
                      <a:lnTo>
                        <a:pt x="364" y="69"/>
                      </a:lnTo>
                      <a:lnTo>
                        <a:pt x="370" y="85"/>
                      </a:lnTo>
                      <a:lnTo>
                        <a:pt x="374" y="101"/>
                      </a:lnTo>
                      <a:lnTo>
                        <a:pt x="374" y="130"/>
                      </a:lnTo>
                      <a:lnTo>
                        <a:pt x="367" y="158"/>
                      </a:lnTo>
                      <a:lnTo>
                        <a:pt x="352" y="184"/>
                      </a:lnTo>
                      <a:lnTo>
                        <a:pt x="332" y="207"/>
                      </a:lnTo>
                      <a:lnTo>
                        <a:pt x="307" y="229"/>
                      </a:lnTo>
                      <a:lnTo>
                        <a:pt x="277" y="245"/>
                      </a:lnTo>
                      <a:lnTo>
                        <a:pt x="242" y="258"/>
                      </a:lnTo>
                      <a:lnTo>
                        <a:pt x="205" y="266"/>
                      </a:lnTo>
                      <a:lnTo>
                        <a:pt x="183" y="268"/>
                      </a:lnTo>
                      <a:lnTo>
                        <a:pt x="161" y="268"/>
                      </a:lnTo>
                      <a:lnTo>
                        <a:pt x="141" y="266"/>
                      </a:lnTo>
                      <a:lnTo>
                        <a:pt x="121" y="263"/>
                      </a:lnTo>
                      <a:lnTo>
                        <a:pt x="102" y="257"/>
                      </a:lnTo>
                      <a:lnTo>
                        <a:pt x="83" y="249"/>
                      </a:lnTo>
                      <a:lnTo>
                        <a:pt x="66" y="240"/>
                      </a:lnTo>
                      <a:lnTo>
                        <a:pt x="50" y="229"/>
                      </a:lnTo>
                      <a:lnTo>
                        <a:pt x="39" y="221"/>
                      </a:lnTo>
                      <a:lnTo>
                        <a:pt x="31" y="212"/>
                      </a:lnTo>
                      <a:lnTo>
                        <a:pt x="23" y="203"/>
                      </a:lnTo>
                      <a:lnTo>
                        <a:pt x="16" y="194"/>
                      </a:lnTo>
                      <a:lnTo>
                        <a:pt x="10" y="183"/>
                      </a:lnTo>
                      <a:lnTo>
                        <a:pt x="6" y="173"/>
                      </a:lnTo>
                      <a:lnTo>
                        <a:pt x="4" y="161"/>
                      </a:lnTo>
                      <a:lnTo>
                        <a:pt x="1" y="150"/>
                      </a:lnTo>
                      <a:lnTo>
                        <a:pt x="0" y="127"/>
                      </a:lnTo>
                      <a:lnTo>
                        <a:pt x="5" y="104"/>
                      </a:lnTo>
                      <a:lnTo>
                        <a:pt x="14" y="81"/>
                      </a:lnTo>
                      <a:lnTo>
                        <a:pt x="28" y="59"/>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70" name="Freeform 232">
                  <a:extLst>
                    <a:ext uri="{FF2B5EF4-FFF2-40B4-BE49-F238E27FC236}">
                      <a16:creationId xmlns:a16="http://schemas.microsoft.com/office/drawing/2014/main" id="{661D2B23-E5BB-498F-A753-15F75CC838D5}"/>
                    </a:ext>
                  </a:extLst>
                </p:cNvPr>
                <p:cNvSpPr>
                  <a:spLocks/>
                </p:cNvSpPr>
                <p:nvPr/>
              </p:nvSpPr>
              <p:spPr bwMode="auto">
                <a:xfrm>
                  <a:off x="1154084" y="1779571"/>
                  <a:ext cx="266700" cy="112713"/>
                </a:xfrm>
                <a:custGeom>
                  <a:avLst/>
                  <a:gdLst>
                    <a:gd name="T0" fmla="*/ 2147483646 w 336"/>
                    <a:gd name="T1" fmla="*/ 2147483646 h 143"/>
                    <a:gd name="T2" fmla="*/ 2147483646 w 336"/>
                    <a:gd name="T3" fmla="*/ 2147483646 h 143"/>
                    <a:gd name="T4" fmla="*/ 2147483646 w 336"/>
                    <a:gd name="T5" fmla="*/ 2147483646 h 143"/>
                    <a:gd name="T6" fmla="*/ 2147483646 w 336"/>
                    <a:gd name="T7" fmla="*/ 2147483646 h 143"/>
                    <a:gd name="T8" fmla="*/ 2147483646 w 336"/>
                    <a:gd name="T9" fmla="*/ 2147483646 h 143"/>
                    <a:gd name="T10" fmla="*/ 2147483646 w 336"/>
                    <a:gd name="T11" fmla="*/ 2147483646 h 143"/>
                    <a:gd name="T12" fmla="*/ 2147483646 w 336"/>
                    <a:gd name="T13" fmla="*/ 2147483646 h 143"/>
                    <a:gd name="T14" fmla="*/ 2147483646 w 336"/>
                    <a:gd name="T15" fmla="*/ 2147483646 h 143"/>
                    <a:gd name="T16" fmla="*/ 0 w 336"/>
                    <a:gd name="T17" fmla="*/ 2147483646 h 143"/>
                    <a:gd name="T18" fmla="*/ 2147483646 w 336"/>
                    <a:gd name="T19" fmla="*/ 2147483646 h 143"/>
                    <a:gd name="T20" fmla="*/ 2147483646 w 336"/>
                    <a:gd name="T21" fmla="*/ 2147483646 h 143"/>
                    <a:gd name="T22" fmla="*/ 2147483646 w 336"/>
                    <a:gd name="T23" fmla="*/ 2147483646 h 143"/>
                    <a:gd name="T24" fmla="*/ 2147483646 w 336"/>
                    <a:gd name="T25" fmla="*/ 2147483646 h 143"/>
                    <a:gd name="T26" fmla="*/ 2147483646 w 336"/>
                    <a:gd name="T27" fmla="*/ 2147483646 h 143"/>
                    <a:gd name="T28" fmla="*/ 2147483646 w 336"/>
                    <a:gd name="T29" fmla="*/ 2147483646 h 143"/>
                    <a:gd name="T30" fmla="*/ 2147483646 w 336"/>
                    <a:gd name="T31" fmla="*/ 2147483646 h 143"/>
                    <a:gd name="T32" fmla="*/ 2147483646 w 336"/>
                    <a:gd name="T33" fmla="*/ 2147483646 h 143"/>
                    <a:gd name="T34" fmla="*/ 2147483646 w 336"/>
                    <a:gd name="T35" fmla="*/ 2147483646 h 143"/>
                    <a:gd name="T36" fmla="*/ 2147483646 w 336"/>
                    <a:gd name="T37" fmla="*/ 2147483646 h 143"/>
                    <a:gd name="T38" fmla="*/ 2147483646 w 336"/>
                    <a:gd name="T39" fmla="*/ 2147483646 h 143"/>
                    <a:gd name="T40" fmla="*/ 2147483646 w 336"/>
                    <a:gd name="T41" fmla="*/ 2147483646 h 143"/>
                    <a:gd name="T42" fmla="*/ 2147483646 w 336"/>
                    <a:gd name="T43" fmla="*/ 2147483646 h 143"/>
                    <a:gd name="T44" fmla="*/ 2147483646 w 336"/>
                    <a:gd name="T45" fmla="*/ 2147483646 h 143"/>
                    <a:gd name="T46" fmla="*/ 2147483646 w 336"/>
                    <a:gd name="T47" fmla="*/ 2147483646 h 143"/>
                    <a:gd name="T48" fmla="*/ 2147483646 w 336"/>
                    <a:gd name="T49" fmla="*/ 0 h 143"/>
                    <a:gd name="T50" fmla="*/ 2147483646 w 336"/>
                    <a:gd name="T51" fmla="*/ 2147483646 h 143"/>
                    <a:gd name="T52" fmla="*/ 2147483646 w 336"/>
                    <a:gd name="T53" fmla="*/ 2147483646 h 143"/>
                    <a:gd name="T54" fmla="*/ 2147483646 w 336"/>
                    <a:gd name="T55" fmla="*/ 2147483646 h 143"/>
                    <a:gd name="T56" fmla="*/ 2147483646 w 336"/>
                    <a:gd name="T57" fmla="*/ 2147483646 h 143"/>
                    <a:gd name="T58" fmla="*/ 2147483646 w 336"/>
                    <a:gd name="T59" fmla="*/ 2147483646 h 143"/>
                    <a:gd name="T60" fmla="*/ 2147483646 w 336"/>
                    <a:gd name="T61" fmla="*/ 2147483646 h 143"/>
                    <a:gd name="T62" fmla="*/ 2147483646 w 336"/>
                    <a:gd name="T63" fmla="*/ 2147483646 h 143"/>
                    <a:gd name="T64" fmla="*/ 2147483646 w 336"/>
                    <a:gd name="T65" fmla="*/ 2147483646 h 143"/>
                    <a:gd name="T66" fmla="*/ 2147483646 w 336"/>
                    <a:gd name="T67" fmla="*/ 2147483646 h 143"/>
                    <a:gd name="T68" fmla="*/ 2147483646 w 336"/>
                    <a:gd name="T69" fmla="*/ 2147483646 h 143"/>
                    <a:gd name="T70" fmla="*/ 2147483646 w 336"/>
                    <a:gd name="T71" fmla="*/ 2147483646 h 143"/>
                    <a:gd name="T72" fmla="*/ 2147483646 w 336"/>
                    <a:gd name="T73" fmla="*/ 2147483646 h 143"/>
                    <a:gd name="T74" fmla="*/ 2147483646 w 336"/>
                    <a:gd name="T75" fmla="*/ 2147483646 h 143"/>
                    <a:gd name="T76" fmla="*/ 2147483646 w 336"/>
                    <a:gd name="T77" fmla="*/ 2147483646 h 143"/>
                    <a:gd name="T78" fmla="*/ 2147483646 w 336"/>
                    <a:gd name="T79" fmla="*/ 2147483646 h 143"/>
                    <a:gd name="T80" fmla="*/ 2147483646 w 336"/>
                    <a:gd name="T81" fmla="*/ 2147483646 h 143"/>
                    <a:gd name="T82" fmla="*/ 2147483646 w 336"/>
                    <a:gd name="T83" fmla="*/ 2147483646 h 143"/>
                    <a:gd name="T84" fmla="*/ 2147483646 w 336"/>
                    <a:gd name="T85" fmla="*/ 2147483646 h 143"/>
                    <a:gd name="T86" fmla="*/ 2147483646 w 336"/>
                    <a:gd name="T87" fmla="*/ 2147483646 h 143"/>
                    <a:gd name="T88" fmla="*/ 2147483646 w 336"/>
                    <a:gd name="T89" fmla="*/ 2147483646 h 143"/>
                    <a:gd name="T90" fmla="*/ 2147483646 w 336"/>
                    <a:gd name="T91" fmla="*/ 2147483646 h 143"/>
                    <a:gd name="T92" fmla="*/ 2147483646 w 336"/>
                    <a:gd name="T93" fmla="*/ 2147483646 h 143"/>
                    <a:gd name="T94" fmla="*/ 2147483646 w 336"/>
                    <a:gd name="T95" fmla="*/ 2147483646 h 143"/>
                    <a:gd name="T96" fmla="*/ 2147483646 w 336"/>
                    <a:gd name="T97" fmla="*/ 2147483646 h 143"/>
                    <a:gd name="T98" fmla="*/ 2147483646 w 336"/>
                    <a:gd name="T99" fmla="*/ 2147483646 h 143"/>
                    <a:gd name="T100" fmla="*/ 2147483646 w 336"/>
                    <a:gd name="T101" fmla="*/ 2147483646 h 143"/>
                    <a:gd name="T102" fmla="*/ 2147483646 w 336"/>
                    <a:gd name="T103" fmla="*/ 2147483646 h 143"/>
                    <a:gd name="T104" fmla="*/ 2147483646 w 336"/>
                    <a:gd name="T105" fmla="*/ 2147483646 h 143"/>
                    <a:gd name="T106" fmla="*/ 2147483646 w 336"/>
                    <a:gd name="T107" fmla="*/ 2147483646 h 143"/>
                    <a:gd name="T108" fmla="*/ 2147483646 w 336"/>
                    <a:gd name="T109" fmla="*/ 2147483646 h 143"/>
                    <a:gd name="T110" fmla="*/ 2147483646 w 336"/>
                    <a:gd name="T111" fmla="*/ 2147483646 h 143"/>
                    <a:gd name="T112" fmla="*/ 2147483646 w 336"/>
                    <a:gd name="T113" fmla="*/ 2147483646 h 14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36"/>
                    <a:gd name="T172" fmla="*/ 0 h 143"/>
                    <a:gd name="T173" fmla="*/ 336 w 336"/>
                    <a:gd name="T174" fmla="*/ 143 h 14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36" h="143">
                      <a:moveTo>
                        <a:pt x="99" y="139"/>
                      </a:moveTo>
                      <a:lnTo>
                        <a:pt x="86" y="135"/>
                      </a:lnTo>
                      <a:lnTo>
                        <a:pt x="72" y="132"/>
                      </a:lnTo>
                      <a:lnTo>
                        <a:pt x="59" y="127"/>
                      </a:lnTo>
                      <a:lnTo>
                        <a:pt x="48" y="121"/>
                      </a:lnTo>
                      <a:lnTo>
                        <a:pt x="35" y="116"/>
                      </a:lnTo>
                      <a:lnTo>
                        <a:pt x="23" y="107"/>
                      </a:lnTo>
                      <a:lnTo>
                        <a:pt x="11" y="101"/>
                      </a:lnTo>
                      <a:lnTo>
                        <a:pt x="0" y="91"/>
                      </a:lnTo>
                      <a:lnTo>
                        <a:pt x="9" y="90"/>
                      </a:lnTo>
                      <a:lnTo>
                        <a:pt x="18" y="89"/>
                      </a:lnTo>
                      <a:lnTo>
                        <a:pt x="27" y="88"/>
                      </a:lnTo>
                      <a:lnTo>
                        <a:pt x="38" y="84"/>
                      </a:lnTo>
                      <a:lnTo>
                        <a:pt x="48" y="82"/>
                      </a:lnTo>
                      <a:lnTo>
                        <a:pt x="58" y="77"/>
                      </a:lnTo>
                      <a:lnTo>
                        <a:pt x="70" y="73"/>
                      </a:lnTo>
                      <a:lnTo>
                        <a:pt x="81" y="67"/>
                      </a:lnTo>
                      <a:lnTo>
                        <a:pt x="97" y="58"/>
                      </a:lnTo>
                      <a:lnTo>
                        <a:pt x="111" y="50"/>
                      </a:lnTo>
                      <a:lnTo>
                        <a:pt x="124" y="41"/>
                      </a:lnTo>
                      <a:lnTo>
                        <a:pt x="136" y="31"/>
                      </a:lnTo>
                      <a:lnTo>
                        <a:pt x="146" y="23"/>
                      </a:lnTo>
                      <a:lnTo>
                        <a:pt x="154" y="15"/>
                      </a:lnTo>
                      <a:lnTo>
                        <a:pt x="161" y="7"/>
                      </a:lnTo>
                      <a:lnTo>
                        <a:pt x="167" y="0"/>
                      </a:lnTo>
                      <a:lnTo>
                        <a:pt x="175" y="8"/>
                      </a:lnTo>
                      <a:lnTo>
                        <a:pt x="184" y="18"/>
                      </a:lnTo>
                      <a:lnTo>
                        <a:pt x="194" y="27"/>
                      </a:lnTo>
                      <a:lnTo>
                        <a:pt x="205" y="37"/>
                      </a:lnTo>
                      <a:lnTo>
                        <a:pt x="215" y="48"/>
                      </a:lnTo>
                      <a:lnTo>
                        <a:pt x="227" y="57"/>
                      </a:lnTo>
                      <a:lnTo>
                        <a:pt x="238" y="66"/>
                      </a:lnTo>
                      <a:lnTo>
                        <a:pt x="248" y="74"/>
                      </a:lnTo>
                      <a:lnTo>
                        <a:pt x="258" y="80"/>
                      </a:lnTo>
                      <a:lnTo>
                        <a:pt x="268" y="86"/>
                      </a:lnTo>
                      <a:lnTo>
                        <a:pt x="280" y="90"/>
                      </a:lnTo>
                      <a:lnTo>
                        <a:pt x="290" y="94"/>
                      </a:lnTo>
                      <a:lnTo>
                        <a:pt x="301" y="96"/>
                      </a:lnTo>
                      <a:lnTo>
                        <a:pt x="313" y="99"/>
                      </a:lnTo>
                      <a:lnTo>
                        <a:pt x="325" y="101"/>
                      </a:lnTo>
                      <a:lnTo>
                        <a:pt x="336" y="102"/>
                      </a:lnTo>
                      <a:lnTo>
                        <a:pt x="320" y="107"/>
                      </a:lnTo>
                      <a:lnTo>
                        <a:pt x="305" y="113"/>
                      </a:lnTo>
                      <a:lnTo>
                        <a:pt x="289" y="119"/>
                      </a:lnTo>
                      <a:lnTo>
                        <a:pt x="274" y="124"/>
                      </a:lnTo>
                      <a:lnTo>
                        <a:pt x="259" y="128"/>
                      </a:lnTo>
                      <a:lnTo>
                        <a:pt x="244" y="132"/>
                      </a:lnTo>
                      <a:lnTo>
                        <a:pt x="229" y="135"/>
                      </a:lnTo>
                      <a:lnTo>
                        <a:pt x="214" y="137"/>
                      </a:lnTo>
                      <a:lnTo>
                        <a:pt x="200" y="140"/>
                      </a:lnTo>
                      <a:lnTo>
                        <a:pt x="185" y="142"/>
                      </a:lnTo>
                      <a:lnTo>
                        <a:pt x="171" y="143"/>
                      </a:lnTo>
                      <a:lnTo>
                        <a:pt x="156" y="143"/>
                      </a:lnTo>
                      <a:lnTo>
                        <a:pt x="142" y="143"/>
                      </a:lnTo>
                      <a:lnTo>
                        <a:pt x="127" y="142"/>
                      </a:lnTo>
                      <a:lnTo>
                        <a:pt x="114" y="141"/>
                      </a:lnTo>
                      <a:lnTo>
                        <a:pt x="99"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71" name="Freeform 233">
                  <a:extLst>
                    <a:ext uri="{FF2B5EF4-FFF2-40B4-BE49-F238E27FC236}">
                      <a16:creationId xmlns:a16="http://schemas.microsoft.com/office/drawing/2014/main" id="{D00EC810-BEC8-4835-BAB0-326AEEFD6B5B}"/>
                    </a:ext>
                  </a:extLst>
                </p:cNvPr>
                <p:cNvSpPr>
                  <a:spLocks noChangeAspect="1"/>
                </p:cNvSpPr>
                <p:nvPr/>
              </p:nvSpPr>
              <p:spPr bwMode="auto">
                <a:xfrm>
                  <a:off x="809596" y="1071546"/>
                  <a:ext cx="1012825" cy="757238"/>
                </a:xfrm>
                <a:custGeom>
                  <a:avLst/>
                  <a:gdLst>
                    <a:gd name="T0" fmla="*/ 2147483646 w 1276"/>
                    <a:gd name="T1" fmla="*/ 2147483646 h 954"/>
                    <a:gd name="T2" fmla="*/ 2147483646 w 1276"/>
                    <a:gd name="T3" fmla="*/ 2147483646 h 954"/>
                    <a:gd name="T4" fmla="*/ 2147483646 w 1276"/>
                    <a:gd name="T5" fmla="*/ 2147483646 h 954"/>
                    <a:gd name="T6" fmla="*/ 2147483646 w 1276"/>
                    <a:gd name="T7" fmla="*/ 2147483646 h 954"/>
                    <a:gd name="T8" fmla="*/ 2147483646 w 1276"/>
                    <a:gd name="T9" fmla="*/ 2147483646 h 954"/>
                    <a:gd name="T10" fmla="*/ 2147483646 w 1276"/>
                    <a:gd name="T11" fmla="*/ 2147483646 h 954"/>
                    <a:gd name="T12" fmla="*/ 2147483646 w 1276"/>
                    <a:gd name="T13" fmla="*/ 2147483646 h 954"/>
                    <a:gd name="T14" fmla="*/ 2147483646 w 1276"/>
                    <a:gd name="T15" fmla="*/ 2147483646 h 954"/>
                    <a:gd name="T16" fmla="*/ 2147483646 w 1276"/>
                    <a:gd name="T17" fmla="*/ 2147483646 h 954"/>
                    <a:gd name="T18" fmla="*/ 2147483646 w 1276"/>
                    <a:gd name="T19" fmla="*/ 2147483646 h 954"/>
                    <a:gd name="T20" fmla="*/ 2147483646 w 1276"/>
                    <a:gd name="T21" fmla="*/ 2147483646 h 954"/>
                    <a:gd name="T22" fmla="*/ 2147483646 w 1276"/>
                    <a:gd name="T23" fmla="*/ 2147483646 h 954"/>
                    <a:gd name="T24" fmla="*/ 2147483646 w 1276"/>
                    <a:gd name="T25" fmla="*/ 2147483646 h 954"/>
                    <a:gd name="T26" fmla="*/ 2147483646 w 1276"/>
                    <a:gd name="T27" fmla="*/ 2147483646 h 954"/>
                    <a:gd name="T28" fmla="*/ 2147483646 w 1276"/>
                    <a:gd name="T29" fmla="*/ 2147483646 h 954"/>
                    <a:gd name="T30" fmla="*/ 2147483646 w 1276"/>
                    <a:gd name="T31" fmla="*/ 2147483646 h 954"/>
                    <a:gd name="T32" fmla="*/ 2147483646 w 1276"/>
                    <a:gd name="T33" fmla="*/ 2147483646 h 954"/>
                    <a:gd name="T34" fmla="*/ 2147483646 w 1276"/>
                    <a:gd name="T35" fmla="*/ 2147483646 h 954"/>
                    <a:gd name="T36" fmla="*/ 2147483646 w 1276"/>
                    <a:gd name="T37" fmla="*/ 2147483646 h 954"/>
                    <a:gd name="T38" fmla="*/ 0 w 1276"/>
                    <a:gd name="T39" fmla="*/ 2147483646 h 954"/>
                    <a:gd name="T40" fmla="*/ 2147483646 w 1276"/>
                    <a:gd name="T41" fmla="*/ 2147483646 h 954"/>
                    <a:gd name="T42" fmla="*/ 2147483646 w 1276"/>
                    <a:gd name="T43" fmla="*/ 2147483646 h 954"/>
                    <a:gd name="T44" fmla="*/ 2147483646 w 1276"/>
                    <a:gd name="T45" fmla="*/ 2147483646 h 954"/>
                    <a:gd name="T46" fmla="*/ 2147483646 w 1276"/>
                    <a:gd name="T47" fmla="*/ 2147483646 h 954"/>
                    <a:gd name="T48" fmla="*/ 2147483646 w 1276"/>
                    <a:gd name="T49" fmla="*/ 2147483646 h 954"/>
                    <a:gd name="T50" fmla="*/ 2147483646 w 1276"/>
                    <a:gd name="T51" fmla="*/ 2147483646 h 954"/>
                    <a:gd name="T52" fmla="*/ 2147483646 w 1276"/>
                    <a:gd name="T53" fmla="*/ 2147483646 h 954"/>
                    <a:gd name="T54" fmla="*/ 2147483646 w 1276"/>
                    <a:gd name="T55" fmla="*/ 2147483646 h 954"/>
                    <a:gd name="T56" fmla="*/ 2147483646 w 1276"/>
                    <a:gd name="T57" fmla="*/ 2147483646 h 954"/>
                    <a:gd name="T58" fmla="*/ 2147483646 w 1276"/>
                    <a:gd name="T59" fmla="*/ 2147483646 h 954"/>
                    <a:gd name="T60" fmla="*/ 2147483646 w 1276"/>
                    <a:gd name="T61" fmla="*/ 2147483646 h 954"/>
                    <a:gd name="T62" fmla="*/ 2147483646 w 1276"/>
                    <a:gd name="T63" fmla="*/ 2147483646 h 954"/>
                    <a:gd name="T64" fmla="*/ 2147483646 w 1276"/>
                    <a:gd name="T65" fmla="*/ 2147483646 h 954"/>
                    <a:gd name="T66" fmla="*/ 2147483646 w 1276"/>
                    <a:gd name="T67" fmla="*/ 2147483646 h 954"/>
                    <a:gd name="T68" fmla="*/ 2147483646 w 1276"/>
                    <a:gd name="T69" fmla="*/ 2147483646 h 954"/>
                    <a:gd name="T70" fmla="*/ 2147483646 w 1276"/>
                    <a:gd name="T71" fmla="*/ 2147483646 h 954"/>
                    <a:gd name="T72" fmla="*/ 2147483646 w 1276"/>
                    <a:gd name="T73" fmla="*/ 2147483646 h 954"/>
                    <a:gd name="T74" fmla="*/ 2147483646 w 1276"/>
                    <a:gd name="T75" fmla="*/ 2147483646 h 954"/>
                    <a:gd name="T76" fmla="*/ 2147483646 w 1276"/>
                    <a:gd name="T77" fmla="*/ 2147483646 h 954"/>
                    <a:gd name="T78" fmla="*/ 2147483646 w 1276"/>
                    <a:gd name="T79" fmla="*/ 2147483646 h 954"/>
                    <a:gd name="T80" fmla="*/ 2147483646 w 1276"/>
                    <a:gd name="T81" fmla="*/ 2147483646 h 954"/>
                    <a:gd name="T82" fmla="*/ 2147483646 w 1276"/>
                    <a:gd name="T83" fmla="*/ 2147483646 h 954"/>
                    <a:gd name="T84" fmla="*/ 2147483646 w 1276"/>
                    <a:gd name="T85" fmla="*/ 2147483646 h 954"/>
                    <a:gd name="T86" fmla="*/ 2147483646 w 1276"/>
                    <a:gd name="T87" fmla="*/ 2147483646 h 954"/>
                    <a:gd name="T88" fmla="*/ 2147483646 w 1276"/>
                    <a:gd name="T89" fmla="*/ 2147483646 h 954"/>
                    <a:gd name="T90" fmla="*/ 2147483646 w 1276"/>
                    <a:gd name="T91" fmla="*/ 2147483646 h 954"/>
                    <a:gd name="T92" fmla="*/ 2147483646 w 1276"/>
                    <a:gd name="T93" fmla="*/ 2147483646 h 954"/>
                    <a:gd name="T94" fmla="*/ 2147483646 w 1276"/>
                    <a:gd name="T95" fmla="*/ 2147483646 h 95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276"/>
                    <a:gd name="T145" fmla="*/ 0 h 954"/>
                    <a:gd name="T146" fmla="*/ 1276 w 1276"/>
                    <a:gd name="T147" fmla="*/ 954 h 95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276" h="954">
                      <a:moveTo>
                        <a:pt x="951" y="905"/>
                      </a:moveTo>
                      <a:lnTo>
                        <a:pt x="942" y="910"/>
                      </a:lnTo>
                      <a:lnTo>
                        <a:pt x="933" y="914"/>
                      </a:lnTo>
                      <a:lnTo>
                        <a:pt x="923" y="919"/>
                      </a:lnTo>
                      <a:lnTo>
                        <a:pt x="914" y="923"/>
                      </a:lnTo>
                      <a:lnTo>
                        <a:pt x="906" y="929"/>
                      </a:lnTo>
                      <a:lnTo>
                        <a:pt x="897" y="934"/>
                      </a:lnTo>
                      <a:lnTo>
                        <a:pt x="889" y="938"/>
                      </a:lnTo>
                      <a:lnTo>
                        <a:pt x="880" y="943"/>
                      </a:lnTo>
                      <a:lnTo>
                        <a:pt x="878" y="941"/>
                      </a:lnTo>
                      <a:lnTo>
                        <a:pt x="873" y="943"/>
                      </a:lnTo>
                      <a:lnTo>
                        <a:pt x="860" y="946"/>
                      </a:lnTo>
                      <a:lnTo>
                        <a:pt x="839" y="950"/>
                      </a:lnTo>
                      <a:lnTo>
                        <a:pt x="815" y="953"/>
                      </a:lnTo>
                      <a:lnTo>
                        <a:pt x="786" y="954"/>
                      </a:lnTo>
                      <a:lnTo>
                        <a:pt x="759" y="952"/>
                      </a:lnTo>
                      <a:lnTo>
                        <a:pt x="731" y="945"/>
                      </a:lnTo>
                      <a:lnTo>
                        <a:pt x="705" y="933"/>
                      </a:lnTo>
                      <a:lnTo>
                        <a:pt x="691" y="921"/>
                      </a:lnTo>
                      <a:lnTo>
                        <a:pt x="674" y="907"/>
                      </a:lnTo>
                      <a:lnTo>
                        <a:pt x="658" y="893"/>
                      </a:lnTo>
                      <a:lnTo>
                        <a:pt x="644" y="880"/>
                      </a:lnTo>
                      <a:lnTo>
                        <a:pt x="632" y="867"/>
                      </a:lnTo>
                      <a:lnTo>
                        <a:pt x="621" y="857"/>
                      </a:lnTo>
                      <a:lnTo>
                        <a:pt x="614" y="850"/>
                      </a:lnTo>
                      <a:lnTo>
                        <a:pt x="612" y="846"/>
                      </a:lnTo>
                      <a:lnTo>
                        <a:pt x="591" y="823"/>
                      </a:lnTo>
                      <a:lnTo>
                        <a:pt x="589" y="828"/>
                      </a:lnTo>
                      <a:lnTo>
                        <a:pt x="586" y="838"/>
                      </a:lnTo>
                      <a:lnTo>
                        <a:pt x="581" y="848"/>
                      </a:lnTo>
                      <a:lnTo>
                        <a:pt x="579" y="853"/>
                      </a:lnTo>
                      <a:lnTo>
                        <a:pt x="578" y="854"/>
                      </a:lnTo>
                      <a:lnTo>
                        <a:pt x="575" y="859"/>
                      </a:lnTo>
                      <a:lnTo>
                        <a:pt x="571" y="867"/>
                      </a:lnTo>
                      <a:lnTo>
                        <a:pt x="563" y="876"/>
                      </a:lnTo>
                      <a:lnTo>
                        <a:pt x="552" y="886"/>
                      </a:lnTo>
                      <a:lnTo>
                        <a:pt x="537" y="898"/>
                      </a:lnTo>
                      <a:lnTo>
                        <a:pt x="519" y="911"/>
                      </a:lnTo>
                      <a:lnTo>
                        <a:pt x="497" y="923"/>
                      </a:lnTo>
                      <a:lnTo>
                        <a:pt x="474" y="934"/>
                      </a:lnTo>
                      <a:lnTo>
                        <a:pt x="452" y="941"/>
                      </a:lnTo>
                      <a:lnTo>
                        <a:pt x="434" y="943"/>
                      </a:lnTo>
                      <a:lnTo>
                        <a:pt x="417" y="943"/>
                      </a:lnTo>
                      <a:lnTo>
                        <a:pt x="404" y="941"/>
                      </a:lnTo>
                      <a:lnTo>
                        <a:pt x="392" y="937"/>
                      </a:lnTo>
                      <a:lnTo>
                        <a:pt x="384" y="934"/>
                      </a:lnTo>
                      <a:lnTo>
                        <a:pt x="377" y="930"/>
                      </a:lnTo>
                      <a:lnTo>
                        <a:pt x="361" y="912"/>
                      </a:lnTo>
                      <a:lnTo>
                        <a:pt x="346" y="893"/>
                      </a:lnTo>
                      <a:lnTo>
                        <a:pt x="330" y="874"/>
                      </a:lnTo>
                      <a:lnTo>
                        <a:pt x="315" y="854"/>
                      </a:lnTo>
                      <a:lnTo>
                        <a:pt x="300" y="833"/>
                      </a:lnTo>
                      <a:lnTo>
                        <a:pt x="285" y="813"/>
                      </a:lnTo>
                      <a:lnTo>
                        <a:pt x="270" y="792"/>
                      </a:lnTo>
                      <a:lnTo>
                        <a:pt x="255" y="771"/>
                      </a:lnTo>
                      <a:lnTo>
                        <a:pt x="249" y="762"/>
                      </a:lnTo>
                      <a:lnTo>
                        <a:pt x="242" y="753"/>
                      </a:lnTo>
                      <a:lnTo>
                        <a:pt x="236" y="744"/>
                      </a:lnTo>
                      <a:lnTo>
                        <a:pt x="230" y="734"/>
                      </a:lnTo>
                      <a:lnTo>
                        <a:pt x="224" y="725"/>
                      </a:lnTo>
                      <a:lnTo>
                        <a:pt x="217" y="716"/>
                      </a:lnTo>
                      <a:lnTo>
                        <a:pt x="211" y="708"/>
                      </a:lnTo>
                      <a:lnTo>
                        <a:pt x="204" y="699"/>
                      </a:lnTo>
                      <a:lnTo>
                        <a:pt x="178" y="662"/>
                      </a:lnTo>
                      <a:lnTo>
                        <a:pt x="153" y="628"/>
                      </a:lnTo>
                      <a:lnTo>
                        <a:pt x="132" y="596"/>
                      </a:lnTo>
                      <a:lnTo>
                        <a:pt x="111" y="566"/>
                      </a:lnTo>
                      <a:lnTo>
                        <a:pt x="94" y="540"/>
                      </a:lnTo>
                      <a:lnTo>
                        <a:pt x="77" y="514"/>
                      </a:lnTo>
                      <a:lnTo>
                        <a:pt x="64" y="491"/>
                      </a:lnTo>
                      <a:lnTo>
                        <a:pt x="51" y="470"/>
                      </a:lnTo>
                      <a:lnTo>
                        <a:pt x="39" y="451"/>
                      </a:lnTo>
                      <a:lnTo>
                        <a:pt x="30" y="434"/>
                      </a:lnTo>
                      <a:lnTo>
                        <a:pt x="23" y="419"/>
                      </a:lnTo>
                      <a:lnTo>
                        <a:pt x="16" y="405"/>
                      </a:lnTo>
                      <a:lnTo>
                        <a:pt x="11" y="393"/>
                      </a:lnTo>
                      <a:lnTo>
                        <a:pt x="6" y="383"/>
                      </a:lnTo>
                      <a:lnTo>
                        <a:pt x="3" y="374"/>
                      </a:lnTo>
                      <a:lnTo>
                        <a:pt x="0" y="367"/>
                      </a:lnTo>
                      <a:lnTo>
                        <a:pt x="9" y="363"/>
                      </a:lnTo>
                      <a:lnTo>
                        <a:pt x="21" y="360"/>
                      </a:lnTo>
                      <a:lnTo>
                        <a:pt x="35" y="356"/>
                      </a:lnTo>
                      <a:lnTo>
                        <a:pt x="50" y="352"/>
                      </a:lnTo>
                      <a:lnTo>
                        <a:pt x="66" y="346"/>
                      </a:lnTo>
                      <a:lnTo>
                        <a:pt x="83" y="340"/>
                      </a:lnTo>
                      <a:lnTo>
                        <a:pt x="103" y="334"/>
                      </a:lnTo>
                      <a:lnTo>
                        <a:pt x="122" y="328"/>
                      </a:lnTo>
                      <a:lnTo>
                        <a:pt x="127" y="334"/>
                      </a:lnTo>
                      <a:lnTo>
                        <a:pt x="132" y="343"/>
                      </a:lnTo>
                      <a:lnTo>
                        <a:pt x="137" y="349"/>
                      </a:lnTo>
                      <a:lnTo>
                        <a:pt x="142" y="355"/>
                      </a:lnTo>
                      <a:lnTo>
                        <a:pt x="149" y="362"/>
                      </a:lnTo>
                      <a:lnTo>
                        <a:pt x="155" y="369"/>
                      </a:lnTo>
                      <a:lnTo>
                        <a:pt x="162" y="375"/>
                      </a:lnTo>
                      <a:lnTo>
                        <a:pt x="168" y="381"/>
                      </a:lnTo>
                      <a:lnTo>
                        <a:pt x="183" y="391"/>
                      </a:lnTo>
                      <a:lnTo>
                        <a:pt x="200" y="400"/>
                      </a:lnTo>
                      <a:lnTo>
                        <a:pt x="216" y="407"/>
                      </a:lnTo>
                      <a:lnTo>
                        <a:pt x="233" y="414"/>
                      </a:lnTo>
                      <a:lnTo>
                        <a:pt x="251" y="420"/>
                      </a:lnTo>
                      <a:lnTo>
                        <a:pt x="270" y="423"/>
                      </a:lnTo>
                      <a:lnTo>
                        <a:pt x="288" y="427"/>
                      </a:lnTo>
                      <a:lnTo>
                        <a:pt x="308" y="428"/>
                      </a:lnTo>
                      <a:lnTo>
                        <a:pt x="308" y="510"/>
                      </a:lnTo>
                      <a:lnTo>
                        <a:pt x="347" y="511"/>
                      </a:lnTo>
                      <a:lnTo>
                        <a:pt x="348" y="426"/>
                      </a:lnTo>
                      <a:lnTo>
                        <a:pt x="349" y="426"/>
                      </a:lnTo>
                      <a:lnTo>
                        <a:pt x="352" y="426"/>
                      </a:lnTo>
                      <a:lnTo>
                        <a:pt x="353" y="426"/>
                      </a:lnTo>
                      <a:lnTo>
                        <a:pt x="354" y="426"/>
                      </a:lnTo>
                      <a:lnTo>
                        <a:pt x="377" y="422"/>
                      </a:lnTo>
                      <a:lnTo>
                        <a:pt x="399" y="416"/>
                      </a:lnTo>
                      <a:lnTo>
                        <a:pt x="420" y="408"/>
                      </a:lnTo>
                      <a:lnTo>
                        <a:pt x="440" y="400"/>
                      </a:lnTo>
                      <a:lnTo>
                        <a:pt x="459" y="390"/>
                      </a:lnTo>
                      <a:lnTo>
                        <a:pt x="476" y="378"/>
                      </a:lnTo>
                      <a:lnTo>
                        <a:pt x="492" y="366"/>
                      </a:lnTo>
                      <a:lnTo>
                        <a:pt x="507" y="352"/>
                      </a:lnTo>
                      <a:lnTo>
                        <a:pt x="520" y="337"/>
                      </a:lnTo>
                      <a:lnTo>
                        <a:pt x="531" y="321"/>
                      </a:lnTo>
                      <a:lnTo>
                        <a:pt x="541" y="305"/>
                      </a:lnTo>
                      <a:lnTo>
                        <a:pt x="548" y="287"/>
                      </a:lnTo>
                      <a:lnTo>
                        <a:pt x="553" y="270"/>
                      </a:lnTo>
                      <a:lnTo>
                        <a:pt x="557" y="251"/>
                      </a:lnTo>
                      <a:lnTo>
                        <a:pt x="558" y="233"/>
                      </a:lnTo>
                      <a:lnTo>
                        <a:pt x="557" y="215"/>
                      </a:lnTo>
                      <a:lnTo>
                        <a:pt x="553" y="198"/>
                      </a:lnTo>
                      <a:lnTo>
                        <a:pt x="549" y="182"/>
                      </a:lnTo>
                      <a:lnTo>
                        <a:pt x="542" y="167"/>
                      </a:lnTo>
                      <a:lnTo>
                        <a:pt x="534" y="154"/>
                      </a:lnTo>
                      <a:lnTo>
                        <a:pt x="553" y="142"/>
                      </a:lnTo>
                      <a:lnTo>
                        <a:pt x="573" y="130"/>
                      </a:lnTo>
                      <a:lnTo>
                        <a:pt x="591" y="120"/>
                      </a:lnTo>
                      <a:lnTo>
                        <a:pt x="610" y="109"/>
                      </a:lnTo>
                      <a:lnTo>
                        <a:pt x="628" y="97"/>
                      </a:lnTo>
                      <a:lnTo>
                        <a:pt x="646" y="87"/>
                      </a:lnTo>
                      <a:lnTo>
                        <a:pt x="662" y="75"/>
                      </a:lnTo>
                      <a:lnTo>
                        <a:pt x="677" y="65"/>
                      </a:lnTo>
                      <a:lnTo>
                        <a:pt x="692" y="56"/>
                      </a:lnTo>
                      <a:lnTo>
                        <a:pt x="705" y="45"/>
                      </a:lnTo>
                      <a:lnTo>
                        <a:pt x="719" y="36"/>
                      </a:lnTo>
                      <a:lnTo>
                        <a:pt x="731" y="28"/>
                      </a:lnTo>
                      <a:lnTo>
                        <a:pt x="742" y="20"/>
                      </a:lnTo>
                      <a:lnTo>
                        <a:pt x="753" y="13"/>
                      </a:lnTo>
                      <a:lnTo>
                        <a:pt x="762" y="6"/>
                      </a:lnTo>
                      <a:lnTo>
                        <a:pt x="770" y="0"/>
                      </a:lnTo>
                      <a:lnTo>
                        <a:pt x="777" y="20"/>
                      </a:lnTo>
                      <a:lnTo>
                        <a:pt x="785" y="43"/>
                      </a:lnTo>
                      <a:lnTo>
                        <a:pt x="794" y="69"/>
                      </a:lnTo>
                      <a:lnTo>
                        <a:pt x="805" y="99"/>
                      </a:lnTo>
                      <a:lnTo>
                        <a:pt x="817" y="132"/>
                      </a:lnTo>
                      <a:lnTo>
                        <a:pt x="830" y="165"/>
                      </a:lnTo>
                      <a:lnTo>
                        <a:pt x="845" y="201"/>
                      </a:lnTo>
                      <a:lnTo>
                        <a:pt x="860" y="237"/>
                      </a:lnTo>
                      <a:lnTo>
                        <a:pt x="875" y="272"/>
                      </a:lnTo>
                      <a:lnTo>
                        <a:pt x="891" y="308"/>
                      </a:lnTo>
                      <a:lnTo>
                        <a:pt x="907" y="343"/>
                      </a:lnTo>
                      <a:lnTo>
                        <a:pt x="924" y="376"/>
                      </a:lnTo>
                      <a:lnTo>
                        <a:pt x="941" y="407"/>
                      </a:lnTo>
                      <a:lnTo>
                        <a:pt x="958" y="435"/>
                      </a:lnTo>
                      <a:lnTo>
                        <a:pt x="974" y="460"/>
                      </a:lnTo>
                      <a:lnTo>
                        <a:pt x="990" y="481"/>
                      </a:lnTo>
                      <a:lnTo>
                        <a:pt x="1011" y="504"/>
                      </a:lnTo>
                      <a:lnTo>
                        <a:pt x="1032" y="525"/>
                      </a:lnTo>
                      <a:lnTo>
                        <a:pt x="1052" y="543"/>
                      </a:lnTo>
                      <a:lnTo>
                        <a:pt x="1072" y="559"/>
                      </a:lnTo>
                      <a:lnTo>
                        <a:pt x="1093" y="574"/>
                      </a:lnTo>
                      <a:lnTo>
                        <a:pt x="1112" y="587"/>
                      </a:lnTo>
                      <a:lnTo>
                        <a:pt x="1132" y="598"/>
                      </a:lnTo>
                      <a:lnTo>
                        <a:pt x="1150" y="609"/>
                      </a:lnTo>
                      <a:lnTo>
                        <a:pt x="1169" y="618"/>
                      </a:lnTo>
                      <a:lnTo>
                        <a:pt x="1187" y="625"/>
                      </a:lnTo>
                      <a:lnTo>
                        <a:pt x="1204" y="632"/>
                      </a:lnTo>
                      <a:lnTo>
                        <a:pt x="1221" y="636"/>
                      </a:lnTo>
                      <a:lnTo>
                        <a:pt x="1236" y="641"/>
                      </a:lnTo>
                      <a:lnTo>
                        <a:pt x="1251" y="644"/>
                      </a:lnTo>
                      <a:lnTo>
                        <a:pt x="1263" y="647"/>
                      </a:lnTo>
                      <a:lnTo>
                        <a:pt x="1276" y="649"/>
                      </a:lnTo>
                      <a:lnTo>
                        <a:pt x="1264" y="661"/>
                      </a:lnTo>
                      <a:lnTo>
                        <a:pt x="1253" y="673"/>
                      </a:lnTo>
                      <a:lnTo>
                        <a:pt x="1238" y="686"/>
                      </a:lnTo>
                      <a:lnTo>
                        <a:pt x="1223" y="701"/>
                      </a:lnTo>
                      <a:lnTo>
                        <a:pt x="1206" y="717"/>
                      </a:lnTo>
                      <a:lnTo>
                        <a:pt x="1187" y="733"/>
                      </a:lnTo>
                      <a:lnTo>
                        <a:pt x="1168" y="751"/>
                      </a:lnTo>
                      <a:lnTo>
                        <a:pt x="1148" y="768"/>
                      </a:lnTo>
                      <a:lnTo>
                        <a:pt x="1126" y="786"/>
                      </a:lnTo>
                      <a:lnTo>
                        <a:pt x="1103" y="805"/>
                      </a:lnTo>
                      <a:lnTo>
                        <a:pt x="1080" y="822"/>
                      </a:lnTo>
                      <a:lnTo>
                        <a:pt x="1056" y="839"/>
                      </a:lnTo>
                      <a:lnTo>
                        <a:pt x="1030" y="857"/>
                      </a:lnTo>
                      <a:lnTo>
                        <a:pt x="1004" y="874"/>
                      </a:lnTo>
                      <a:lnTo>
                        <a:pt x="977" y="890"/>
                      </a:lnTo>
                      <a:lnTo>
                        <a:pt x="951" y="9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72" name="Freeform 234">
                  <a:extLst>
                    <a:ext uri="{FF2B5EF4-FFF2-40B4-BE49-F238E27FC236}">
                      <a16:creationId xmlns:a16="http://schemas.microsoft.com/office/drawing/2014/main" id="{EFFD8D70-6E6A-4019-B42B-B91F3D215576}"/>
                    </a:ext>
                  </a:extLst>
                </p:cNvPr>
                <p:cNvSpPr>
                  <a:spLocks/>
                </p:cNvSpPr>
                <p:nvPr/>
              </p:nvSpPr>
              <p:spPr bwMode="auto">
                <a:xfrm>
                  <a:off x="998509" y="1325546"/>
                  <a:ext cx="479425" cy="257175"/>
                </a:xfrm>
                <a:custGeom>
                  <a:avLst/>
                  <a:gdLst>
                    <a:gd name="T0" fmla="*/ 2147483646 w 602"/>
                    <a:gd name="T1" fmla="*/ 2147483646 h 322"/>
                    <a:gd name="T2" fmla="*/ 2147483646 w 602"/>
                    <a:gd name="T3" fmla="*/ 2147483646 h 322"/>
                    <a:gd name="T4" fmla="*/ 2147483646 w 602"/>
                    <a:gd name="T5" fmla="*/ 2147483646 h 322"/>
                    <a:gd name="T6" fmla="*/ 2147483646 w 602"/>
                    <a:gd name="T7" fmla="*/ 2147483646 h 322"/>
                    <a:gd name="T8" fmla="*/ 2147483646 w 602"/>
                    <a:gd name="T9" fmla="*/ 2147483646 h 322"/>
                    <a:gd name="T10" fmla="*/ 2147483646 w 602"/>
                    <a:gd name="T11" fmla="*/ 2147483646 h 322"/>
                    <a:gd name="T12" fmla="*/ 2147483646 w 602"/>
                    <a:gd name="T13" fmla="*/ 2147483646 h 322"/>
                    <a:gd name="T14" fmla="*/ 2147483646 w 602"/>
                    <a:gd name="T15" fmla="*/ 2147483646 h 322"/>
                    <a:gd name="T16" fmla="*/ 2147483646 w 602"/>
                    <a:gd name="T17" fmla="*/ 2147483646 h 322"/>
                    <a:gd name="T18" fmla="*/ 2147483646 w 602"/>
                    <a:gd name="T19" fmla="*/ 2147483646 h 322"/>
                    <a:gd name="T20" fmla="*/ 2147483646 w 602"/>
                    <a:gd name="T21" fmla="*/ 2147483646 h 322"/>
                    <a:gd name="T22" fmla="*/ 2147483646 w 602"/>
                    <a:gd name="T23" fmla="*/ 2147483646 h 322"/>
                    <a:gd name="T24" fmla="*/ 2147483646 w 602"/>
                    <a:gd name="T25" fmla="*/ 2147483646 h 322"/>
                    <a:gd name="T26" fmla="*/ 2147483646 w 602"/>
                    <a:gd name="T27" fmla="*/ 2147483646 h 322"/>
                    <a:gd name="T28" fmla="*/ 2147483646 w 602"/>
                    <a:gd name="T29" fmla="*/ 2147483646 h 322"/>
                    <a:gd name="T30" fmla="*/ 2147483646 w 602"/>
                    <a:gd name="T31" fmla="*/ 2147483646 h 322"/>
                    <a:gd name="T32" fmla="*/ 2147483646 w 602"/>
                    <a:gd name="T33" fmla="*/ 2147483646 h 322"/>
                    <a:gd name="T34" fmla="*/ 2147483646 w 602"/>
                    <a:gd name="T35" fmla="*/ 2147483646 h 322"/>
                    <a:gd name="T36" fmla="*/ 2147483646 w 602"/>
                    <a:gd name="T37" fmla="*/ 2147483646 h 322"/>
                    <a:gd name="T38" fmla="*/ 2147483646 w 602"/>
                    <a:gd name="T39" fmla="*/ 2147483646 h 322"/>
                    <a:gd name="T40" fmla="*/ 2147483646 w 602"/>
                    <a:gd name="T41" fmla="*/ 2147483646 h 322"/>
                    <a:gd name="T42" fmla="*/ 2147483646 w 602"/>
                    <a:gd name="T43" fmla="*/ 2147483646 h 322"/>
                    <a:gd name="T44" fmla="*/ 2147483646 w 602"/>
                    <a:gd name="T45" fmla="*/ 2147483646 h 322"/>
                    <a:gd name="T46" fmla="*/ 2147483646 w 602"/>
                    <a:gd name="T47" fmla="*/ 2147483646 h 322"/>
                    <a:gd name="T48" fmla="*/ 2147483646 w 602"/>
                    <a:gd name="T49" fmla="*/ 2147483646 h 322"/>
                    <a:gd name="T50" fmla="*/ 2147483646 w 602"/>
                    <a:gd name="T51" fmla="*/ 2147483646 h 322"/>
                    <a:gd name="T52" fmla="*/ 2147483646 w 602"/>
                    <a:gd name="T53" fmla="*/ 2147483646 h 322"/>
                    <a:gd name="T54" fmla="*/ 2147483646 w 602"/>
                    <a:gd name="T55" fmla="*/ 2147483646 h 322"/>
                    <a:gd name="T56" fmla="*/ 2147483646 w 602"/>
                    <a:gd name="T57" fmla="*/ 2147483646 h 322"/>
                    <a:gd name="T58" fmla="*/ 2147483646 w 602"/>
                    <a:gd name="T59" fmla="*/ 2147483646 h 322"/>
                    <a:gd name="T60" fmla="*/ 2147483646 w 602"/>
                    <a:gd name="T61" fmla="*/ 2147483646 h 322"/>
                    <a:gd name="T62" fmla="*/ 2147483646 w 602"/>
                    <a:gd name="T63" fmla="*/ 2147483646 h 322"/>
                    <a:gd name="T64" fmla="*/ 2147483646 w 602"/>
                    <a:gd name="T65" fmla="*/ 2147483646 h 322"/>
                    <a:gd name="T66" fmla="*/ 2147483646 w 602"/>
                    <a:gd name="T67" fmla="*/ 2147483646 h 322"/>
                    <a:gd name="T68" fmla="*/ 2147483646 w 602"/>
                    <a:gd name="T69" fmla="*/ 2147483646 h 322"/>
                    <a:gd name="T70" fmla="*/ 2147483646 w 602"/>
                    <a:gd name="T71" fmla="*/ 2147483646 h 3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02"/>
                    <a:gd name="T109" fmla="*/ 0 h 322"/>
                    <a:gd name="T110" fmla="*/ 602 w 602"/>
                    <a:gd name="T111" fmla="*/ 322 h 3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02" h="322">
                      <a:moveTo>
                        <a:pt x="602" y="39"/>
                      </a:moveTo>
                      <a:lnTo>
                        <a:pt x="598" y="30"/>
                      </a:lnTo>
                      <a:lnTo>
                        <a:pt x="593" y="19"/>
                      </a:lnTo>
                      <a:lnTo>
                        <a:pt x="589" y="10"/>
                      </a:lnTo>
                      <a:lnTo>
                        <a:pt x="584" y="0"/>
                      </a:lnTo>
                      <a:lnTo>
                        <a:pt x="582" y="2"/>
                      </a:lnTo>
                      <a:lnTo>
                        <a:pt x="576" y="6"/>
                      </a:lnTo>
                      <a:lnTo>
                        <a:pt x="570" y="11"/>
                      </a:lnTo>
                      <a:lnTo>
                        <a:pt x="561" y="18"/>
                      </a:lnTo>
                      <a:lnTo>
                        <a:pt x="551" y="26"/>
                      </a:lnTo>
                      <a:lnTo>
                        <a:pt x="539" y="34"/>
                      </a:lnTo>
                      <a:lnTo>
                        <a:pt x="526" y="44"/>
                      </a:lnTo>
                      <a:lnTo>
                        <a:pt x="513" y="54"/>
                      </a:lnTo>
                      <a:lnTo>
                        <a:pt x="498" y="65"/>
                      </a:lnTo>
                      <a:lnTo>
                        <a:pt x="481" y="77"/>
                      </a:lnTo>
                      <a:lnTo>
                        <a:pt x="464" y="89"/>
                      </a:lnTo>
                      <a:lnTo>
                        <a:pt x="446" y="100"/>
                      </a:lnTo>
                      <a:lnTo>
                        <a:pt x="427" y="113"/>
                      </a:lnTo>
                      <a:lnTo>
                        <a:pt x="409" y="124"/>
                      </a:lnTo>
                      <a:lnTo>
                        <a:pt x="390" y="136"/>
                      </a:lnTo>
                      <a:lnTo>
                        <a:pt x="371" y="147"/>
                      </a:lnTo>
                      <a:lnTo>
                        <a:pt x="340" y="165"/>
                      </a:lnTo>
                      <a:lnTo>
                        <a:pt x="310" y="180"/>
                      </a:lnTo>
                      <a:lnTo>
                        <a:pt x="279" y="195"/>
                      </a:lnTo>
                      <a:lnTo>
                        <a:pt x="249" y="207"/>
                      </a:lnTo>
                      <a:lnTo>
                        <a:pt x="220" y="220"/>
                      </a:lnTo>
                      <a:lnTo>
                        <a:pt x="192" y="230"/>
                      </a:lnTo>
                      <a:lnTo>
                        <a:pt x="165" y="241"/>
                      </a:lnTo>
                      <a:lnTo>
                        <a:pt x="139" y="249"/>
                      </a:lnTo>
                      <a:lnTo>
                        <a:pt x="115" y="257"/>
                      </a:lnTo>
                      <a:lnTo>
                        <a:pt x="92" y="264"/>
                      </a:lnTo>
                      <a:lnTo>
                        <a:pt x="71" y="269"/>
                      </a:lnTo>
                      <a:lnTo>
                        <a:pt x="52" y="275"/>
                      </a:lnTo>
                      <a:lnTo>
                        <a:pt x="35" y="279"/>
                      </a:lnTo>
                      <a:lnTo>
                        <a:pt x="21" y="282"/>
                      </a:lnTo>
                      <a:lnTo>
                        <a:pt x="9" y="284"/>
                      </a:lnTo>
                      <a:lnTo>
                        <a:pt x="0" y="287"/>
                      </a:lnTo>
                      <a:lnTo>
                        <a:pt x="6" y="296"/>
                      </a:lnTo>
                      <a:lnTo>
                        <a:pt x="12" y="304"/>
                      </a:lnTo>
                      <a:lnTo>
                        <a:pt x="18" y="313"/>
                      </a:lnTo>
                      <a:lnTo>
                        <a:pt x="25" y="322"/>
                      </a:lnTo>
                      <a:lnTo>
                        <a:pt x="38" y="319"/>
                      </a:lnTo>
                      <a:lnTo>
                        <a:pt x="52" y="316"/>
                      </a:lnTo>
                      <a:lnTo>
                        <a:pt x="69" y="312"/>
                      </a:lnTo>
                      <a:lnTo>
                        <a:pt x="86" y="307"/>
                      </a:lnTo>
                      <a:lnTo>
                        <a:pt x="106" y="302"/>
                      </a:lnTo>
                      <a:lnTo>
                        <a:pt x="128" y="295"/>
                      </a:lnTo>
                      <a:lnTo>
                        <a:pt x="150" y="288"/>
                      </a:lnTo>
                      <a:lnTo>
                        <a:pt x="174" y="280"/>
                      </a:lnTo>
                      <a:lnTo>
                        <a:pt x="198" y="271"/>
                      </a:lnTo>
                      <a:lnTo>
                        <a:pt x="223" y="261"/>
                      </a:lnTo>
                      <a:lnTo>
                        <a:pt x="250" y="251"/>
                      </a:lnTo>
                      <a:lnTo>
                        <a:pt x="278" y="238"/>
                      </a:lnTo>
                      <a:lnTo>
                        <a:pt x="305" y="226"/>
                      </a:lnTo>
                      <a:lnTo>
                        <a:pt x="333" y="213"/>
                      </a:lnTo>
                      <a:lnTo>
                        <a:pt x="362" y="198"/>
                      </a:lnTo>
                      <a:lnTo>
                        <a:pt x="390" y="182"/>
                      </a:lnTo>
                      <a:lnTo>
                        <a:pt x="407" y="173"/>
                      </a:lnTo>
                      <a:lnTo>
                        <a:pt x="423" y="163"/>
                      </a:lnTo>
                      <a:lnTo>
                        <a:pt x="438" y="153"/>
                      </a:lnTo>
                      <a:lnTo>
                        <a:pt x="454" y="144"/>
                      </a:lnTo>
                      <a:lnTo>
                        <a:pt x="469" y="133"/>
                      </a:lnTo>
                      <a:lnTo>
                        <a:pt x="484" y="124"/>
                      </a:lnTo>
                      <a:lnTo>
                        <a:pt x="498" y="114"/>
                      </a:lnTo>
                      <a:lnTo>
                        <a:pt x="513" y="105"/>
                      </a:lnTo>
                      <a:lnTo>
                        <a:pt x="525" y="94"/>
                      </a:lnTo>
                      <a:lnTo>
                        <a:pt x="539" y="85"/>
                      </a:lnTo>
                      <a:lnTo>
                        <a:pt x="551" y="77"/>
                      </a:lnTo>
                      <a:lnTo>
                        <a:pt x="563" y="68"/>
                      </a:lnTo>
                      <a:lnTo>
                        <a:pt x="574" y="60"/>
                      </a:lnTo>
                      <a:lnTo>
                        <a:pt x="584" y="53"/>
                      </a:lnTo>
                      <a:lnTo>
                        <a:pt x="593" y="46"/>
                      </a:lnTo>
                      <a:lnTo>
                        <a:pt x="602"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73" name="Freeform 235">
                  <a:extLst>
                    <a:ext uri="{FF2B5EF4-FFF2-40B4-BE49-F238E27FC236}">
                      <a16:creationId xmlns:a16="http://schemas.microsoft.com/office/drawing/2014/main" id="{6CAB4F16-5CFE-44BB-80CD-2A23EF7818A8}"/>
                    </a:ext>
                  </a:extLst>
                </p:cNvPr>
                <p:cNvSpPr>
                  <a:spLocks/>
                </p:cNvSpPr>
                <p:nvPr/>
              </p:nvSpPr>
              <p:spPr bwMode="auto">
                <a:xfrm>
                  <a:off x="1052484" y="1408096"/>
                  <a:ext cx="465138" cy="249238"/>
                </a:xfrm>
                <a:custGeom>
                  <a:avLst/>
                  <a:gdLst>
                    <a:gd name="T0" fmla="*/ 2147483646 w 585"/>
                    <a:gd name="T1" fmla="*/ 2147483646 h 315"/>
                    <a:gd name="T2" fmla="*/ 2147483646 w 585"/>
                    <a:gd name="T3" fmla="*/ 2147483646 h 315"/>
                    <a:gd name="T4" fmla="*/ 2147483646 w 585"/>
                    <a:gd name="T5" fmla="*/ 2147483646 h 315"/>
                    <a:gd name="T6" fmla="*/ 2147483646 w 585"/>
                    <a:gd name="T7" fmla="*/ 2147483646 h 315"/>
                    <a:gd name="T8" fmla="*/ 2147483646 w 585"/>
                    <a:gd name="T9" fmla="*/ 2147483646 h 315"/>
                    <a:gd name="T10" fmla="*/ 2147483646 w 585"/>
                    <a:gd name="T11" fmla="*/ 2147483646 h 315"/>
                    <a:gd name="T12" fmla="*/ 2147483646 w 585"/>
                    <a:gd name="T13" fmla="*/ 2147483646 h 315"/>
                    <a:gd name="T14" fmla="*/ 2147483646 w 585"/>
                    <a:gd name="T15" fmla="*/ 2147483646 h 315"/>
                    <a:gd name="T16" fmla="*/ 2147483646 w 585"/>
                    <a:gd name="T17" fmla="*/ 2147483646 h 315"/>
                    <a:gd name="T18" fmla="*/ 2147483646 w 585"/>
                    <a:gd name="T19" fmla="*/ 2147483646 h 315"/>
                    <a:gd name="T20" fmla="*/ 2147483646 w 585"/>
                    <a:gd name="T21" fmla="*/ 2147483646 h 315"/>
                    <a:gd name="T22" fmla="*/ 2147483646 w 585"/>
                    <a:gd name="T23" fmla="*/ 2147483646 h 315"/>
                    <a:gd name="T24" fmla="*/ 2147483646 w 585"/>
                    <a:gd name="T25" fmla="*/ 2147483646 h 315"/>
                    <a:gd name="T26" fmla="*/ 2147483646 w 585"/>
                    <a:gd name="T27" fmla="*/ 2147483646 h 315"/>
                    <a:gd name="T28" fmla="*/ 2147483646 w 585"/>
                    <a:gd name="T29" fmla="*/ 2147483646 h 315"/>
                    <a:gd name="T30" fmla="*/ 2147483646 w 585"/>
                    <a:gd name="T31" fmla="*/ 2147483646 h 315"/>
                    <a:gd name="T32" fmla="*/ 2147483646 w 585"/>
                    <a:gd name="T33" fmla="*/ 2147483646 h 315"/>
                    <a:gd name="T34" fmla="*/ 2147483646 w 585"/>
                    <a:gd name="T35" fmla="*/ 2147483646 h 315"/>
                    <a:gd name="T36" fmla="*/ 2147483646 w 585"/>
                    <a:gd name="T37" fmla="*/ 2147483646 h 315"/>
                    <a:gd name="T38" fmla="*/ 2147483646 w 585"/>
                    <a:gd name="T39" fmla="*/ 2147483646 h 315"/>
                    <a:gd name="T40" fmla="*/ 2147483646 w 585"/>
                    <a:gd name="T41" fmla="*/ 2147483646 h 315"/>
                    <a:gd name="T42" fmla="*/ 2147483646 w 585"/>
                    <a:gd name="T43" fmla="*/ 2147483646 h 315"/>
                    <a:gd name="T44" fmla="*/ 2147483646 w 585"/>
                    <a:gd name="T45" fmla="*/ 2147483646 h 315"/>
                    <a:gd name="T46" fmla="*/ 2147483646 w 585"/>
                    <a:gd name="T47" fmla="*/ 2147483646 h 315"/>
                    <a:gd name="T48" fmla="*/ 2147483646 w 585"/>
                    <a:gd name="T49" fmla="*/ 2147483646 h 315"/>
                    <a:gd name="T50" fmla="*/ 2147483646 w 585"/>
                    <a:gd name="T51" fmla="*/ 2147483646 h 315"/>
                    <a:gd name="T52" fmla="*/ 2147483646 w 585"/>
                    <a:gd name="T53" fmla="*/ 2147483646 h 315"/>
                    <a:gd name="T54" fmla="*/ 2147483646 w 585"/>
                    <a:gd name="T55" fmla="*/ 2147483646 h 315"/>
                    <a:gd name="T56" fmla="*/ 2147483646 w 585"/>
                    <a:gd name="T57" fmla="*/ 2147483646 h 315"/>
                    <a:gd name="T58" fmla="*/ 2147483646 w 585"/>
                    <a:gd name="T59" fmla="*/ 2147483646 h 315"/>
                    <a:gd name="T60" fmla="*/ 2147483646 w 585"/>
                    <a:gd name="T61" fmla="*/ 2147483646 h 315"/>
                    <a:gd name="T62" fmla="*/ 2147483646 w 585"/>
                    <a:gd name="T63" fmla="*/ 2147483646 h 315"/>
                    <a:gd name="T64" fmla="*/ 2147483646 w 585"/>
                    <a:gd name="T65" fmla="*/ 2147483646 h 315"/>
                    <a:gd name="T66" fmla="*/ 2147483646 w 585"/>
                    <a:gd name="T67" fmla="*/ 2147483646 h 315"/>
                    <a:gd name="T68" fmla="*/ 2147483646 w 585"/>
                    <a:gd name="T69" fmla="*/ 2147483646 h 315"/>
                    <a:gd name="T70" fmla="*/ 2147483646 w 585"/>
                    <a:gd name="T71" fmla="*/ 2147483646 h 3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85"/>
                    <a:gd name="T109" fmla="*/ 0 h 315"/>
                    <a:gd name="T110" fmla="*/ 585 w 585"/>
                    <a:gd name="T111" fmla="*/ 315 h 3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85" h="315">
                      <a:moveTo>
                        <a:pt x="585" y="35"/>
                      </a:moveTo>
                      <a:lnTo>
                        <a:pt x="581" y="26"/>
                      </a:lnTo>
                      <a:lnTo>
                        <a:pt x="575" y="18"/>
                      </a:lnTo>
                      <a:lnTo>
                        <a:pt x="570" y="8"/>
                      </a:lnTo>
                      <a:lnTo>
                        <a:pt x="566" y="0"/>
                      </a:lnTo>
                      <a:lnTo>
                        <a:pt x="560" y="5"/>
                      </a:lnTo>
                      <a:lnTo>
                        <a:pt x="553" y="10"/>
                      </a:lnTo>
                      <a:lnTo>
                        <a:pt x="545" y="16"/>
                      </a:lnTo>
                      <a:lnTo>
                        <a:pt x="536" y="23"/>
                      </a:lnTo>
                      <a:lnTo>
                        <a:pt x="524" y="31"/>
                      </a:lnTo>
                      <a:lnTo>
                        <a:pt x="513" y="41"/>
                      </a:lnTo>
                      <a:lnTo>
                        <a:pt x="500" y="50"/>
                      </a:lnTo>
                      <a:lnTo>
                        <a:pt x="486" y="59"/>
                      </a:lnTo>
                      <a:lnTo>
                        <a:pt x="472" y="70"/>
                      </a:lnTo>
                      <a:lnTo>
                        <a:pt x="457" y="80"/>
                      </a:lnTo>
                      <a:lnTo>
                        <a:pt x="441" y="90"/>
                      </a:lnTo>
                      <a:lnTo>
                        <a:pt x="425" y="101"/>
                      </a:lnTo>
                      <a:lnTo>
                        <a:pt x="409" y="111"/>
                      </a:lnTo>
                      <a:lnTo>
                        <a:pt x="392" y="121"/>
                      </a:lnTo>
                      <a:lnTo>
                        <a:pt x="374" y="132"/>
                      </a:lnTo>
                      <a:lnTo>
                        <a:pt x="357" y="142"/>
                      </a:lnTo>
                      <a:lnTo>
                        <a:pt x="328" y="158"/>
                      </a:lnTo>
                      <a:lnTo>
                        <a:pt x="298" y="173"/>
                      </a:lnTo>
                      <a:lnTo>
                        <a:pt x="269" y="187"/>
                      </a:lnTo>
                      <a:lnTo>
                        <a:pt x="242" y="200"/>
                      </a:lnTo>
                      <a:lnTo>
                        <a:pt x="214" y="211"/>
                      </a:lnTo>
                      <a:lnTo>
                        <a:pt x="188" y="223"/>
                      </a:lnTo>
                      <a:lnTo>
                        <a:pt x="162" y="232"/>
                      </a:lnTo>
                      <a:lnTo>
                        <a:pt x="137" y="240"/>
                      </a:lnTo>
                      <a:lnTo>
                        <a:pt x="114" y="248"/>
                      </a:lnTo>
                      <a:lnTo>
                        <a:pt x="92" y="255"/>
                      </a:lnTo>
                      <a:lnTo>
                        <a:pt x="72" y="261"/>
                      </a:lnTo>
                      <a:lnTo>
                        <a:pt x="54" y="267"/>
                      </a:lnTo>
                      <a:lnTo>
                        <a:pt x="37" y="270"/>
                      </a:lnTo>
                      <a:lnTo>
                        <a:pt x="23" y="275"/>
                      </a:lnTo>
                      <a:lnTo>
                        <a:pt x="10" y="277"/>
                      </a:lnTo>
                      <a:lnTo>
                        <a:pt x="0" y="279"/>
                      </a:lnTo>
                      <a:lnTo>
                        <a:pt x="3" y="284"/>
                      </a:lnTo>
                      <a:lnTo>
                        <a:pt x="8" y="291"/>
                      </a:lnTo>
                      <a:lnTo>
                        <a:pt x="16" y="301"/>
                      </a:lnTo>
                      <a:lnTo>
                        <a:pt x="25" y="315"/>
                      </a:lnTo>
                      <a:lnTo>
                        <a:pt x="38" y="312"/>
                      </a:lnTo>
                      <a:lnTo>
                        <a:pt x="53" y="308"/>
                      </a:lnTo>
                      <a:lnTo>
                        <a:pt x="69" y="303"/>
                      </a:lnTo>
                      <a:lnTo>
                        <a:pt x="86" y="299"/>
                      </a:lnTo>
                      <a:lnTo>
                        <a:pt x="105" y="293"/>
                      </a:lnTo>
                      <a:lnTo>
                        <a:pt x="125" y="287"/>
                      </a:lnTo>
                      <a:lnTo>
                        <a:pt x="147" y="279"/>
                      </a:lnTo>
                      <a:lnTo>
                        <a:pt x="169" y="271"/>
                      </a:lnTo>
                      <a:lnTo>
                        <a:pt x="193" y="263"/>
                      </a:lnTo>
                      <a:lnTo>
                        <a:pt x="218" y="254"/>
                      </a:lnTo>
                      <a:lnTo>
                        <a:pt x="243" y="244"/>
                      </a:lnTo>
                      <a:lnTo>
                        <a:pt x="268" y="232"/>
                      </a:lnTo>
                      <a:lnTo>
                        <a:pt x="295" y="219"/>
                      </a:lnTo>
                      <a:lnTo>
                        <a:pt x="321" y="207"/>
                      </a:lnTo>
                      <a:lnTo>
                        <a:pt x="349" y="192"/>
                      </a:lnTo>
                      <a:lnTo>
                        <a:pt x="377" y="177"/>
                      </a:lnTo>
                      <a:lnTo>
                        <a:pt x="394" y="167"/>
                      </a:lnTo>
                      <a:lnTo>
                        <a:pt x="410" y="157"/>
                      </a:lnTo>
                      <a:lnTo>
                        <a:pt x="427" y="147"/>
                      </a:lnTo>
                      <a:lnTo>
                        <a:pt x="443" y="136"/>
                      </a:lnTo>
                      <a:lnTo>
                        <a:pt x="460" y="126"/>
                      </a:lnTo>
                      <a:lnTo>
                        <a:pt x="475" y="116"/>
                      </a:lnTo>
                      <a:lnTo>
                        <a:pt x="490" y="105"/>
                      </a:lnTo>
                      <a:lnTo>
                        <a:pt x="503" y="96"/>
                      </a:lnTo>
                      <a:lnTo>
                        <a:pt x="517" y="87"/>
                      </a:lnTo>
                      <a:lnTo>
                        <a:pt x="530" y="78"/>
                      </a:lnTo>
                      <a:lnTo>
                        <a:pt x="541" y="68"/>
                      </a:lnTo>
                      <a:lnTo>
                        <a:pt x="552" y="60"/>
                      </a:lnTo>
                      <a:lnTo>
                        <a:pt x="562" y="52"/>
                      </a:lnTo>
                      <a:lnTo>
                        <a:pt x="571" y="46"/>
                      </a:lnTo>
                      <a:lnTo>
                        <a:pt x="578" y="40"/>
                      </a:lnTo>
                      <a:lnTo>
                        <a:pt x="585"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74" name="Freeform 236">
                  <a:extLst>
                    <a:ext uri="{FF2B5EF4-FFF2-40B4-BE49-F238E27FC236}">
                      <a16:creationId xmlns:a16="http://schemas.microsoft.com/office/drawing/2014/main" id="{9CCD7850-CF1F-49D7-BB46-EB3F7D26DCDC}"/>
                    </a:ext>
                  </a:extLst>
                </p:cNvPr>
                <p:cNvSpPr>
                  <a:spLocks/>
                </p:cNvSpPr>
                <p:nvPr/>
              </p:nvSpPr>
              <p:spPr bwMode="auto">
                <a:xfrm>
                  <a:off x="1104871" y="1484296"/>
                  <a:ext cx="469900" cy="246063"/>
                </a:xfrm>
                <a:custGeom>
                  <a:avLst/>
                  <a:gdLst>
                    <a:gd name="T0" fmla="*/ 2147483646 w 593"/>
                    <a:gd name="T1" fmla="*/ 2147483646 h 310"/>
                    <a:gd name="T2" fmla="*/ 2147483646 w 593"/>
                    <a:gd name="T3" fmla="*/ 2147483646 h 310"/>
                    <a:gd name="T4" fmla="*/ 2147483646 w 593"/>
                    <a:gd name="T5" fmla="*/ 2147483646 h 310"/>
                    <a:gd name="T6" fmla="*/ 2147483646 w 593"/>
                    <a:gd name="T7" fmla="*/ 2147483646 h 310"/>
                    <a:gd name="T8" fmla="*/ 2147483646 w 593"/>
                    <a:gd name="T9" fmla="*/ 2147483646 h 310"/>
                    <a:gd name="T10" fmla="*/ 2147483646 w 593"/>
                    <a:gd name="T11" fmla="*/ 2147483646 h 310"/>
                    <a:gd name="T12" fmla="*/ 2147483646 w 593"/>
                    <a:gd name="T13" fmla="*/ 2147483646 h 310"/>
                    <a:gd name="T14" fmla="*/ 2147483646 w 593"/>
                    <a:gd name="T15" fmla="*/ 2147483646 h 310"/>
                    <a:gd name="T16" fmla="*/ 2147483646 w 593"/>
                    <a:gd name="T17" fmla="*/ 2147483646 h 310"/>
                    <a:gd name="T18" fmla="*/ 2147483646 w 593"/>
                    <a:gd name="T19" fmla="*/ 2147483646 h 310"/>
                    <a:gd name="T20" fmla="*/ 2147483646 w 593"/>
                    <a:gd name="T21" fmla="*/ 2147483646 h 310"/>
                    <a:gd name="T22" fmla="*/ 2147483646 w 593"/>
                    <a:gd name="T23" fmla="*/ 2147483646 h 310"/>
                    <a:gd name="T24" fmla="*/ 2147483646 w 593"/>
                    <a:gd name="T25" fmla="*/ 2147483646 h 310"/>
                    <a:gd name="T26" fmla="*/ 2147483646 w 593"/>
                    <a:gd name="T27" fmla="*/ 2147483646 h 310"/>
                    <a:gd name="T28" fmla="*/ 2147483646 w 593"/>
                    <a:gd name="T29" fmla="*/ 2147483646 h 310"/>
                    <a:gd name="T30" fmla="*/ 2147483646 w 593"/>
                    <a:gd name="T31" fmla="*/ 2147483646 h 310"/>
                    <a:gd name="T32" fmla="*/ 2147483646 w 593"/>
                    <a:gd name="T33" fmla="*/ 2147483646 h 310"/>
                    <a:gd name="T34" fmla="*/ 2147483646 w 593"/>
                    <a:gd name="T35" fmla="*/ 2147483646 h 310"/>
                    <a:gd name="T36" fmla="*/ 2147483646 w 593"/>
                    <a:gd name="T37" fmla="*/ 2147483646 h 310"/>
                    <a:gd name="T38" fmla="*/ 2147483646 w 593"/>
                    <a:gd name="T39" fmla="*/ 2147483646 h 310"/>
                    <a:gd name="T40" fmla="*/ 2147483646 w 593"/>
                    <a:gd name="T41" fmla="*/ 2147483646 h 310"/>
                    <a:gd name="T42" fmla="*/ 2147483646 w 593"/>
                    <a:gd name="T43" fmla="*/ 2147483646 h 310"/>
                    <a:gd name="T44" fmla="*/ 2147483646 w 593"/>
                    <a:gd name="T45" fmla="*/ 2147483646 h 310"/>
                    <a:gd name="T46" fmla="*/ 2147483646 w 593"/>
                    <a:gd name="T47" fmla="*/ 2147483646 h 310"/>
                    <a:gd name="T48" fmla="*/ 2147483646 w 593"/>
                    <a:gd name="T49" fmla="*/ 2147483646 h 310"/>
                    <a:gd name="T50" fmla="*/ 2147483646 w 593"/>
                    <a:gd name="T51" fmla="*/ 2147483646 h 310"/>
                    <a:gd name="T52" fmla="*/ 2147483646 w 593"/>
                    <a:gd name="T53" fmla="*/ 2147483646 h 310"/>
                    <a:gd name="T54" fmla="*/ 2147483646 w 593"/>
                    <a:gd name="T55" fmla="*/ 2147483646 h 310"/>
                    <a:gd name="T56" fmla="*/ 2147483646 w 593"/>
                    <a:gd name="T57" fmla="*/ 2147483646 h 310"/>
                    <a:gd name="T58" fmla="*/ 2147483646 w 593"/>
                    <a:gd name="T59" fmla="*/ 2147483646 h 310"/>
                    <a:gd name="T60" fmla="*/ 2147483646 w 593"/>
                    <a:gd name="T61" fmla="*/ 2147483646 h 310"/>
                    <a:gd name="T62" fmla="*/ 2147483646 w 593"/>
                    <a:gd name="T63" fmla="*/ 2147483646 h 310"/>
                    <a:gd name="T64" fmla="*/ 2147483646 w 593"/>
                    <a:gd name="T65" fmla="*/ 2147483646 h 310"/>
                    <a:gd name="T66" fmla="*/ 2147483646 w 593"/>
                    <a:gd name="T67" fmla="*/ 2147483646 h 310"/>
                    <a:gd name="T68" fmla="*/ 2147483646 w 593"/>
                    <a:gd name="T69" fmla="*/ 2147483646 h 310"/>
                    <a:gd name="T70" fmla="*/ 2147483646 w 593"/>
                    <a:gd name="T71" fmla="*/ 2147483646 h 3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93"/>
                    <a:gd name="T109" fmla="*/ 0 h 310"/>
                    <a:gd name="T110" fmla="*/ 593 w 593"/>
                    <a:gd name="T111" fmla="*/ 310 h 31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93" h="310">
                      <a:moveTo>
                        <a:pt x="363" y="137"/>
                      </a:moveTo>
                      <a:lnTo>
                        <a:pt x="335" y="153"/>
                      </a:lnTo>
                      <a:lnTo>
                        <a:pt x="306" y="168"/>
                      </a:lnTo>
                      <a:lnTo>
                        <a:pt x="277" y="182"/>
                      </a:lnTo>
                      <a:lnTo>
                        <a:pt x="249" y="195"/>
                      </a:lnTo>
                      <a:lnTo>
                        <a:pt x="222" y="206"/>
                      </a:lnTo>
                      <a:lnTo>
                        <a:pt x="194" y="217"/>
                      </a:lnTo>
                      <a:lnTo>
                        <a:pt x="169" y="227"/>
                      </a:lnTo>
                      <a:lnTo>
                        <a:pt x="143" y="235"/>
                      </a:lnTo>
                      <a:lnTo>
                        <a:pt x="120" y="243"/>
                      </a:lnTo>
                      <a:lnTo>
                        <a:pt x="97" y="250"/>
                      </a:lnTo>
                      <a:lnTo>
                        <a:pt x="77" y="256"/>
                      </a:lnTo>
                      <a:lnTo>
                        <a:pt x="57" y="262"/>
                      </a:lnTo>
                      <a:lnTo>
                        <a:pt x="40" y="266"/>
                      </a:lnTo>
                      <a:lnTo>
                        <a:pt x="25" y="270"/>
                      </a:lnTo>
                      <a:lnTo>
                        <a:pt x="11" y="273"/>
                      </a:lnTo>
                      <a:lnTo>
                        <a:pt x="0" y="276"/>
                      </a:lnTo>
                      <a:lnTo>
                        <a:pt x="7" y="285"/>
                      </a:lnTo>
                      <a:lnTo>
                        <a:pt x="13" y="294"/>
                      </a:lnTo>
                      <a:lnTo>
                        <a:pt x="20" y="302"/>
                      </a:lnTo>
                      <a:lnTo>
                        <a:pt x="26" y="310"/>
                      </a:lnTo>
                      <a:lnTo>
                        <a:pt x="38" y="307"/>
                      </a:lnTo>
                      <a:lnTo>
                        <a:pt x="53" y="303"/>
                      </a:lnTo>
                      <a:lnTo>
                        <a:pt x="71" y="299"/>
                      </a:lnTo>
                      <a:lnTo>
                        <a:pt x="89" y="294"/>
                      </a:lnTo>
                      <a:lnTo>
                        <a:pt x="109" y="288"/>
                      </a:lnTo>
                      <a:lnTo>
                        <a:pt x="130" y="283"/>
                      </a:lnTo>
                      <a:lnTo>
                        <a:pt x="151" y="274"/>
                      </a:lnTo>
                      <a:lnTo>
                        <a:pt x="174" y="266"/>
                      </a:lnTo>
                      <a:lnTo>
                        <a:pt x="199" y="258"/>
                      </a:lnTo>
                      <a:lnTo>
                        <a:pt x="223" y="249"/>
                      </a:lnTo>
                      <a:lnTo>
                        <a:pt x="249" y="239"/>
                      </a:lnTo>
                      <a:lnTo>
                        <a:pt x="275" y="227"/>
                      </a:lnTo>
                      <a:lnTo>
                        <a:pt x="302" y="215"/>
                      </a:lnTo>
                      <a:lnTo>
                        <a:pt x="329" y="202"/>
                      </a:lnTo>
                      <a:lnTo>
                        <a:pt x="357" y="187"/>
                      </a:lnTo>
                      <a:lnTo>
                        <a:pt x="384" y="172"/>
                      </a:lnTo>
                      <a:lnTo>
                        <a:pt x="401" y="163"/>
                      </a:lnTo>
                      <a:lnTo>
                        <a:pt x="418" y="152"/>
                      </a:lnTo>
                      <a:lnTo>
                        <a:pt x="434" y="142"/>
                      </a:lnTo>
                      <a:lnTo>
                        <a:pt x="450" y="132"/>
                      </a:lnTo>
                      <a:lnTo>
                        <a:pt x="466" y="121"/>
                      </a:lnTo>
                      <a:lnTo>
                        <a:pt x="481" y="111"/>
                      </a:lnTo>
                      <a:lnTo>
                        <a:pt x="496" y="100"/>
                      </a:lnTo>
                      <a:lnTo>
                        <a:pt x="511" y="91"/>
                      </a:lnTo>
                      <a:lnTo>
                        <a:pt x="524" y="82"/>
                      </a:lnTo>
                      <a:lnTo>
                        <a:pt x="536" y="73"/>
                      </a:lnTo>
                      <a:lnTo>
                        <a:pt x="549" y="64"/>
                      </a:lnTo>
                      <a:lnTo>
                        <a:pt x="559" y="55"/>
                      </a:lnTo>
                      <a:lnTo>
                        <a:pt x="570" y="47"/>
                      </a:lnTo>
                      <a:lnTo>
                        <a:pt x="579" y="42"/>
                      </a:lnTo>
                      <a:lnTo>
                        <a:pt x="586" y="35"/>
                      </a:lnTo>
                      <a:lnTo>
                        <a:pt x="593" y="30"/>
                      </a:lnTo>
                      <a:lnTo>
                        <a:pt x="586" y="23"/>
                      </a:lnTo>
                      <a:lnTo>
                        <a:pt x="579" y="16"/>
                      </a:lnTo>
                      <a:lnTo>
                        <a:pt x="572" y="8"/>
                      </a:lnTo>
                      <a:lnTo>
                        <a:pt x="565" y="0"/>
                      </a:lnTo>
                      <a:lnTo>
                        <a:pt x="558" y="6"/>
                      </a:lnTo>
                      <a:lnTo>
                        <a:pt x="550" y="12"/>
                      </a:lnTo>
                      <a:lnTo>
                        <a:pt x="542" y="19"/>
                      </a:lnTo>
                      <a:lnTo>
                        <a:pt x="532" y="26"/>
                      </a:lnTo>
                      <a:lnTo>
                        <a:pt x="521" y="34"/>
                      </a:lnTo>
                      <a:lnTo>
                        <a:pt x="510" y="42"/>
                      </a:lnTo>
                      <a:lnTo>
                        <a:pt x="497" y="51"/>
                      </a:lnTo>
                      <a:lnTo>
                        <a:pt x="484" y="60"/>
                      </a:lnTo>
                      <a:lnTo>
                        <a:pt x="471" y="69"/>
                      </a:lnTo>
                      <a:lnTo>
                        <a:pt x="457" y="80"/>
                      </a:lnTo>
                      <a:lnTo>
                        <a:pt x="442" y="89"/>
                      </a:lnTo>
                      <a:lnTo>
                        <a:pt x="427" y="99"/>
                      </a:lnTo>
                      <a:lnTo>
                        <a:pt x="411" y="108"/>
                      </a:lnTo>
                      <a:lnTo>
                        <a:pt x="396" y="119"/>
                      </a:lnTo>
                      <a:lnTo>
                        <a:pt x="380" y="128"/>
                      </a:lnTo>
                      <a:lnTo>
                        <a:pt x="36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sp>
          <p:nvSpPr>
            <p:cNvPr id="87085" name="TextBox 1024">
              <a:extLst>
                <a:ext uri="{FF2B5EF4-FFF2-40B4-BE49-F238E27FC236}">
                  <a16:creationId xmlns:a16="http://schemas.microsoft.com/office/drawing/2014/main" id="{4EC81C68-DF9F-49B1-8687-E1779F27D285}"/>
                </a:ext>
              </a:extLst>
            </p:cNvPr>
            <p:cNvSpPr txBox="1">
              <a:spLocks noChangeArrowheads="1"/>
            </p:cNvSpPr>
            <p:nvPr/>
          </p:nvSpPr>
          <p:spPr bwMode="auto">
            <a:xfrm>
              <a:off x="2598738" y="4213211"/>
              <a:ext cx="85725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algn="ctr" eaLnBrk="1" latinLnBrk="1" hangingPunct="1">
                <a:spcBef>
                  <a:spcPct val="0"/>
                </a:spcBef>
                <a:buClrTx/>
                <a:buSzTx/>
                <a:buFontTx/>
                <a:buNone/>
              </a:pPr>
              <a:r>
                <a:rPr kumimoji="1" lang="en-US" altLang="ko-KR" sz="900" b="1">
                  <a:solidFill>
                    <a:schemeClr val="tx1"/>
                  </a:solidFill>
                  <a:ea typeface="산돌고딕 M"/>
                  <a:cs typeface="Arial" panose="020B0604020202020204" pitchFamily="34" charset="0"/>
                </a:rPr>
                <a:t>Registration</a:t>
              </a:r>
              <a:endParaRPr kumimoji="1" lang="ko-KR" altLang="en-US" sz="900" b="1">
                <a:solidFill>
                  <a:schemeClr val="tx1"/>
                </a:solidFill>
                <a:ea typeface="산돌고딕 M"/>
                <a:cs typeface="Arial" panose="020B0604020202020204" pitchFamily="34" charset="0"/>
              </a:endParaRPr>
            </a:p>
          </p:txBody>
        </p:sp>
        <p:sp>
          <p:nvSpPr>
            <p:cNvPr id="87086" name="직사각형 666">
              <a:extLst>
                <a:ext uri="{FF2B5EF4-FFF2-40B4-BE49-F238E27FC236}">
                  <a16:creationId xmlns:a16="http://schemas.microsoft.com/office/drawing/2014/main" id="{977FBD81-2BDE-4D38-BD04-F70836A8EFEB}"/>
                </a:ext>
              </a:extLst>
            </p:cNvPr>
            <p:cNvSpPr>
              <a:spLocks noChangeArrowheads="1"/>
            </p:cNvSpPr>
            <p:nvPr/>
          </p:nvSpPr>
          <p:spPr bwMode="auto">
            <a:xfrm>
              <a:off x="2944731" y="2941623"/>
              <a:ext cx="326284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algn="ctr" eaLnBrk="1" latinLnBrk="1" hangingPunct="1">
                <a:spcBef>
                  <a:spcPct val="0"/>
                </a:spcBef>
                <a:buClrTx/>
                <a:buSzTx/>
                <a:buFontTx/>
                <a:buNone/>
              </a:pPr>
              <a:r>
                <a:rPr lang="en-US" altLang="ko-KR" sz="1100" b="1">
                  <a:ea typeface="Malgun Gothic" panose="020B0503020000020004" pitchFamily="34" charset="-127"/>
                  <a:cs typeface="Arial" panose="020B0604020202020204" pitchFamily="34" charset="0"/>
                </a:rPr>
                <a:t>Industrial Property Automation System (IPAS)</a:t>
              </a:r>
              <a:endParaRPr lang="ko-KR" altLang="en-US" sz="1100" b="1">
                <a:ea typeface="Malgun Gothic" panose="020B0503020000020004" pitchFamily="34" charset="-127"/>
                <a:cs typeface="Arial" panose="020B0604020202020204" pitchFamily="34" charset="0"/>
              </a:endParaRPr>
            </a:p>
          </p:txBody>
        </p:sp>
        <p:grpSp>
          <p:nvGrpSpPr>
            <p:cNvPr id="87087" name="그룹 667">
              <a:extLst>
                <a:ext uri="{FF2B5EF4-FFF2-40B4-BE49-F238E27FC236}">
                  <a16:creationId xmlns:a16="http://schemas.microsoft.com/office/drawing/2014/main" id="{B8E5454B-5524-433B-82FF-9414EF805FAB}"/>
                </a:ext>
              </a:extLst>
            </p:cNvPr>
            <p:cNvGrpSpPr>
              <a:grpSpLocks/>
            </p:cNvGrpSpPr>
            <p:nvPr/>
          </p:nvGrpSpPr>
          <p:grpSpPr bwMode="auto">
            <a:xfrm>
              <a:off x="5802313" y="4660886"/>
              <a:ext cx="415925" cy="384175"/>
              <a:chOff x="5881694" y="1071546"/>
              <a:chExt cx="464358" cy="428643"/>
            </a:xfrm>
          </p:grpSpPr>
          <p:sp>
            <p:nvSpPr>
              <p:cNvPr id="1005" name="타원 1004">
                <a:extLst>
                  <a:ext uri="{FF2B5EF4-FFF2-40B4-BE49-F238E27FC236}">
                    <a16:creationId xmlns:a16="http://schemas.microsoft.com/office/drawing/2014/main" id="{37125576-1E72-47F8-837B-D92FFE4C9248}"/>
                  </a:ext>
                </a:extLst>
              </p:cNvPr>
              <p:cNvSpPr/>
              <p:nvPr/>
            </p:nvSpPr>
            <p:spPr bwMode="auto">
              <a:xfrm>
                <a:off x="5881694" y="1071546"/>
                <a:ext cx="464358" cy="428643"/>
              </a:xfrm>
              <a:prstGeom prst="ellipse">
                <a:avLst/>
              </a:prstGeom>
              <a:solidFill>
                <a:srgbClr val="4F81BD"/>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eaLnBrk="1" latinLnBrk="1" hangingPunct="1">
                  <a:defRPr/>
                </a:pPr>
                <a:endParaRPr kumimoji="1" lang="ko-KR" altLang="en-US">
                  <a:solidFill>
                    <a:srgbClr val="FFFFFF"/>
                  </a:solidFill>
                  <a:latin typeface="Arial" charset="0"/>
                  <a:ea typeface="Gulim" pitchFamily="34" charset="-127"/>
                  <a:cs typeface="Gulim" pitchFamily="34" charset="-127"/>
                </a:endParaRPr>
              </a:p>
            </p:txBody>
          </p:sp>
          <p:grpSp>
            <p:nvGrpSpPr>
              <p:cNvPr id="87418" name="그룹 1005">
                <a:extLst>
                  <a:ext uri="{FF2B5EF4-FFF2-40B4-BE49-F238E27FC236}">
                    <a16:creationId xmlns:a16="http://schemas.microsoft.com/office/drawing/2014/main" id="{7DB1662B-4A8E-4539-A7F2-97E25885D193}"/>
                  </a:ext>
                </a:extLst>
              </p:cNvPr>
              <p:cNvGrpSpPr>
                <a:grpSpLocks/>
              </p:cNvGrpSpPr>
              <p:nvPr/>
            </p:nvGrpSpPr>
            <p:grpSpPr bwMode="auto">
              <a:xfrm>
                <a:off x="5953147" y="1214422"/>
                <a:ext cx="232183" cy="214320"/>
                <a:chOff x="4357688" y="3643313"/>
                <a:chExt cx="1250950" cy="1697037"/>
              </a:xfrm>
            </p:grpSpPr>
            <p:sp>
              <p:nvSpPr>
                <p:cNvPr id="87434" name="Freeform 118">
                  <a:extLst>
                    <a:ext uri="{FF2B5EF4-FFF2-40B4-BE49-F238E27FC236}">
                      <a16:creationId xmlns:a16="http://schemas.microsoft.com/office/drawing/2014/main" id="{DF7A3C75-7752-44B5-BB71-28F87DB6356E}"/>
                    </a:ext>
                  </a:extLst>
                </p:cNvPr>
                <p:cNvSpPr>
                  <a:spLocks/>
                </p:cNvSpPr>
                <p:nvPr/>
              </p:nvSpPr>
              <p:spPr bwMode="auto">
                <a:xfrm>
                  <a:off x="4459288" y="3846513"/>
                  <a:ext cx="1149350" cy="1493837"/>
                </a:xfrm>
                <a:custGeom>
                  <a:avLst/>
                  <a:gdLst>
                    <a:gd name="T0" fmla="*/ 2147483646 w 1448"/>
                    <a:gd name="T1" fmla="*/ 2147483646 h 1881"/>
                    <a:gd name="T2" fmla="*/ 2147483646 w 1448"/>
                    <a:gd name="T3" fmla="*/ 2147483646 h 1881"/>
                    <a:gd name="T4" fmla="*/ 2147483646 w 1448"/>
                    <a:gd name="T5" fmla="*/ 2147483646 h 1881"/>
                    <a:gd name="T6" fmla="*/ 2147483646 w 1448"/>
                    <a:gd name="T7" fmla="*/ 2147483646 h 1881"/>
                    <a:gd name="T8" fmla="*/ 2147483646 w 1448"/>
                    <a:gd name="T9" fmla="*/ 2147483646 h 1881"/>
                    <a:gd name="T10" fmla="*/ 2147483646 w 1448"/>
                    <a:gd name="T11" fmla="*/ 2147483646 h 1881"/>
                    <a:gd name="T12" fmla="*/ 2147483646 w 1448"/>
                    <a:gd name="T13" fmla="*/ 2147483646 h 1881"/>
                    <a:gd name="T14" fmla="*/ 2147483646 w 1448"/>
                    <a:gd name="T15" fmla="*/ 2147483646 h 1881"/>
                    <a:gd name="T16" fmla="*/ 2147483646 w 1448"/>
                    <a:gd name="T17" fmla="*/ 2147483646 h 1881"/>
                    <a:gd name="T18" fmla="*/ 2147483646 w 1448"/>
                    <a:gd name="T19" fmla="*/ 0 h 1881"/>
                    <a:gd name="T20" fmla="*/ 2147483646 w 1448"/>
                    <a:gd name="T21" fmla="*/ 2147483646 h 1881"/>
                    <a:gd name="T22" fmla="*/ 2147483646 w 1448"/>
                    <a:gd name="T23" fmla="*/ 2147483646 h 1881"/>
                    <a:gd name="T24" fmla="*/ 2147483646 w 1448"/>
                    <a:gd name="T25" fmla="*/ 2147483646 h 1881"/>
                    <a:gd name="T26" fmla="*/ 2147483646 w 1448"/>
                    <a:gd name="T27" fmla="*/ 2147483646 h 1881"/>
                    <a:gd name="T28" fmla="*/ 2147483646 w 1448"/>
                    <a:gd name="T29" fmla="*/ 2147483646 h 1881"/>
                    <a:gd name="T30" fmla="*/ 2147483646 w 1448"/>
                    <a:gd name="T31" fmla="*/ 2147483646 h 1881"/>
                    <a:gd name="T32" fmla="*/ 2147483646 w 1448"/>
                    <a:gd name="T33" fmla="*/ 2147483646 h 1881"/>
                    <a:gd name="T34" fmla="*/ 2147483646 w 1448"/>
                    <a:gd name="T35" fmla="*/ 2147483646 h 1881"/>
                    <a:gd name="T36" fmla="*/ 2147483646 w 1448"/>
                    <a:gd name="T37" fmla="*/ 2147483646 h 1881"/>
                    <a:gd name="T38" fmla="*/ 2147483646 w 1448"/>
                    <a:gd name="T39" fmla="*/ 2147483646 h 1881"/>
                    <a:gd name="T40" fmla="*/ 2147483646 w 1448"/>
                    <a:gd name="T41" fmla="*/ 2147483646 h 1881"/>
                    <a:gd name="T42" fmla="*/ 2147483646 w 1448"/>
                    <a:gd name="T43" fmla="*/ 2147483646 h 1881"/>
                    <a:gd name="T44" fmla="*/ 2147483646 w 1448"/>
                    <a:gd name="T45" fmla="*/ 2147483646 h 1881"/>
                    <a:gd name="T46" fmla="*/ 2147483646 w 1448"/>
                    <a:gd name="T47" fmla="*/ 2147483646 h 1881"/>
                    <a:gd name="T48" fmla="*/ 2147483646 w 1448"/>
                    <a:gd name="T49" fmla="*/ 2147483646 h 1881"/>
                    <a:gd name="T50" fmla="*/ 2147483646 w 1448"/>
                    <a:gd name="T51" fmla="*/ 2147483646 h 1881"/>
                    <a:gd name="T52" fmla="*/ 2147483646 w 1448"/>
                    <a:gd name="T53" fmla="*/ 2147483646 h 1881"/>
                    <a:gd name="T54" fmla="*/ 2147483646 w 1448"/>
                    <a:gd name="T55" fmla="*/ 2147483646 h 1881"/>
                    <a:gd name="T56" fmla="*/ 2147483646 w 1448"/>
                    <a:gd name="T57" fmla="*/ 2147483646 h 1881"/>
                    <a:gd name="T58" fmla="*/ 2147483646 w 1448"/>
                    <a:gd name="T59" fmla="*/ 2147483646 h 1881"/>
                    <a:gd name="T60" fmla="*/ 2147483646 w 1448"/>
                    <a:gd name="T61" fmla="*/ 2147483646 h 1881"/>
                    <a:gd name="T62" fmla="*/ 2147483646 w 1448"/>
                    <a:gd name="T63" fmla="*/ 2147483646 h 1881"/>
                    <a:gd name="T64" fmla="*/ 2147483646 w 1448"/>
                    <a:gd name="T65" fmla="*/ 2147483646 h 1881"/>
                    <a:gd name="T66" fmla="*/ 2147483646 w 1448"/>
                    <a:gd name="T67" fmla="*/ 2147483646 h 1881"/>
                    <a:gd name="T68" fmla="*/ 2147483646 w 1448"/>
                    <a:gd name="T69" fmla="*/ 2147483646 h 1881"/>
                    <a:gd name="T70" fmla="*/ 2147483646 w 1448"/>
                    <a:gd name="T71" fmla="*/ 2147483646 h 1881"/>
                    <a:gd name="T72" fmla="*/ 2147483646 w 1448"/>
                    <a:gd name="T73" fmla="*/ 2147483646 h 1881"/>
                    <a:gd name="T74" fmla="*/ 2147483646 w 1448"/>
                    <a:gd name="T75" fmla="*/ 2147483646 h 1881"/>
                    <a:gd name="T76" fmla="*/ 2147483646 w 1448"/>
                    <a:gd name="T77" fmla="*/ 2147483646 h 1881"/>
                    <a:gd name="T78" fmla="*/ 2147483646 w 1448"/>
                    <a:gd name="T79" fmla="*/ 2147483646 h 1881"/>
                    <a:gd name="T80" fmla="*/ 2147483646 w 1448"/>
                    <a:gd name="T81" fmla="*/ 2147483646 h 1881"/>
                    <a:gd name="T82" fmla="*/ 2147483646 w 1448"/>
                    <a:gd name="T83" fmla="*/ 2147483646 h 1881"/>
                    <a:gd name="T84" fmla="*/ 2147483646 w 1448"/>
                    <a:gd name="T85" fmla="*/ 2147483646 h 1881"/>
                    <a:gd name="T86" fmla="*/ 2147483646 w 1448"/>
                    <a:gd name="T87" fmla="*/ 2147483646 h 188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48"/>
                    <a:gd name="T133" fmla="*/ 0 h 1881"/>
                    <a:gd name="T134" fmla="*/ 1448 w 1448"/>
                    <a:gd name="T135" fmla="*/ 1881 h 188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48" h="1881">
                      <a:moveTo>
                        <a:pt x="0" y="1762"/>
                      </a:moveTo>
                      <a:lnTo>
                        <a:pt x="13" y="1668"/>
                      </a:lnTo>
                      <a:lnTo>
                        <a:pt x="26" y="1575"/>
                      </a:lnTo>
                      <a:lnTo>
                        <a:pt x="44" y="1480"/>
                      </a:lnTo>
                      <a:lnTo>
                        <a:pt x="62" y="1386"/>
                      </a:lnTo>
                      <a:lnTo>
                        <a:pt x="82" y="1291"/>
                      </a:lnTo>
                      <a:lnTo>
                        <a:pt x="104" y="1198"/>
                      </a:lnTo>
                      <a:lnTo>
                        <a:pt x="126" y="1105"/>
                      </a:lnTo>
                      <a:lnTo>
                        <a:pt x="149" y="1011"/>
                      </a:lnTo>
                      <a:lnTo>
                        <a:pt x="158" y="977"/>
                      </a:lnTo>
                      <a:lnTo>
                        <a:pt x="167" y="941"/>
                      </a:lnTo>
                      <a:lnTo>
                        <a:pt x="176" y="905"/>
                      </a:lnTo>
                      <a:lnTo>
                        <a:pt x="185" y="871"/>
                      </a:lnTo>
                      <a:lnTo>
                        <a:pt x="195" y="835"/>
                      </a:lnTo>
                      <a:lnTo>
                        <a:pt x="205" y="799"/>
                      </a:lnTo>
                      <a:lnTo>
                        <a:pt x="214" y="765"/>
                      </a:lnTo>
                      <a:lnTo>
                        <a:pt x="223" y="730"/>
                      </a:lnTo>
                      <a:lnTo>
                        <a:pt x="245" y="651"/>
                      </a:lnTo>
                      <a:lnTo>
                        <a:pt x="266" y="571"/>
                      </a:lnTo>
                      <a:lnTo>
                        <a:pt x="286" y="492"/>
                      </a:lnTo>
                      <a:lnTo>
                        <a:pt x="305" y="412"/>
                      </a:lnTo>
                      <a:lnTo>
                        <a:pt x="321" y="333"/>
                      </a:lnTo>
                      <a:lnTo>
                        <a:pt x="337" y="253"/>
                      </a:lnTo>
                      <a:lnTo>
                        <a:pt x="352" y="173"/>
                      </a:lnTo>
                      <a:lnTo>
                        <a:pt x="365" y="93"/>
                      </a:lnTo>
                      <a:lnTo>
                        <a:pt x="367" y="70"/>
                      </a:lnTo>
                      <a:lnTo>
                        <a:pt x="371" y="46"/>
                      </a:lnTo>
                      <a:lnTo>
                        <a:pt x="373" y="23"/>
                      </a:lnTo>
                      <a:lnTo>
                        <a:pt x="372" y="0"/>
                      </a:lnTo>
                      <a:lnTo>
                        <a:pt x="396" y="0"/>
                      </a:lnTo>
                      <a:lnTo>
                        <a:pt x="420" y="0"/>
                      </a:lnTo>
                      <a:lnTo>
                        <a:pt x="445" y="1"/>
                      </a:lnTo>
                      <a:lnTo>
                        <a:pt x="469" y="2"/>
                      </a:lnTo>
                      <a:lnTo>
                        <a:pt x="493" y="3"/>
                      </a:lnTo>
                      <a:lnTo>
                        <a:pt x="517" y="4"/>
                      </a:lnTo>
                      <a:lnTo>
                        <a:pt x="540" y="7"/>
                      </a:lnTo>
                      <a:lnTo>
                        <a:pt x="564" y="9"/>
                      </a:lnTo>
                      <a:lnTo>
                        <a:pt x="587" y="11"/>
                      </a:lnTo>
                      <a:lnTo>
                        <a:pt x="612" y="14"/>
                      </a:lnTo>
                      <a:lnTo>
                        <a:pt x="635" y="17"/>
                      </a:lnTo>
                      <a:lnTo>
                        <a:pt x="658" y="19"/>
                      </a:lnTo>
                      <a:lnTo>
                        <a:pt x="682" y="22"/>
                      </a:lnTo>
                      <a:lnTo>
                        <a:pt x="706" y="25"/>
                      </a:lnTo>
                      <a:lnTo>
                        <a:pt x="729" y="28"/>
                      </a:lnTo>
                      <a:lnTo>
                        <a:pt x="753" y="30"/>
                      </a:lnTo>
                      <a:lnTo>
                        <a:pt x="797" y="37"/>
                      </a:lnTo>
                      <a:lnTo>
                        <a:pt x="840" y="44"/>
                      </a:lnTo>
                      <a:lnTo>
                        <a:pt x="883" y="51"/>
                      </a:lnTo>
                      <a:lnTo>
                        <a:pt x="926" y="57"/>
                      </a:lnTo>
                      <a:lnTo>
                        <a:pt x="969" y="64"/>
                      </a:lnTo>
                      <a:lnTo>
                        <a:pt x="1012" y="71"/>
                      </a:lnTo>
                      <a:lnTo>
                        <a:pt x="1055" y="77"/>
                      </a:lnTo>
                      <a:lnTo>
                        <a:pt x="1097" y="84"/>
                      </a:lnTo>
                      <a:lnTo>
                        <a:pt x="1141" y="89"/>
                      </a:lnTo>
                      <a:lnTo>
                        <a:pt x="1184" y="94"/>
                      </a:lnTo>
                      <a:lnTo>
                        <a:pt x="1228" y="99"/>
                      </a:lnTo>
                      <a:lnTo>
                        <a:pt x="1271" y="102"/>
                      </a:lnTo>
                      <a:lnTo>
                        <a:pt x="1315" y="106"/>
                      </a:lnTo>
                      <a:lnTo>
                        <a:pt x="1359" y="108"/>
                      </a:lnTo>
                      <a:lnTo>
                        <a:pt x="1403" y="109"/>
                      </a:lnTo>
                      <a:lnTo>
                        <a:pt x="1448" y="110"/>
                      </a:lnTo>
                      <a:lnTo>
                        <a:pt x="1440" y="167"/>
                      </a:lnTo>
                      <a:lnTo>
                        <a:pt x="1430" y="222"/>
                      </a:lnTo>
                      <a:lnTo>
                        <a:pt x="1421" y="279"/>
                      </a:lnTo>
                      <a:lnTo>
                        <a:pt x="1412" y="335"/>
                      </a:lnTo>
                      <a:lnTo>
                        <a:pt x="1402" y="392"/>
                      </a:lnTo>
                      <a:lnTo>
                        <a:pt x="1391" y="447"/>
                      </a:lnTo>
                      <a:lnTo>
                        <a:pt x="1380" y="503"/>
                      </a:lnTo>
                      <a:lnTo>
                        <a:pt x="1368" y="560"/>
                      </a:lnTo>
                      <a:lnTo>
                        <a:pt x="1357" y="616"/>
                      </a:lnTo>
                      <a:lnTo>
                        <a:pt x="1344" y="671"/>
                      </a:lnTo>
                      <a:lnTo>
                        <a:pt x="1330" y="728"/>
                      </a:lnTo>
                      <a:lnTo>
                        <a:pt x="1317" y="784"/>
                      </a:lnTo>
                      <a:lnTo>
                        <a:pt x="1302" y="841"/>
                      </a:lnTo>
                      <a:lnTo>
                        <a:pt x="1289" y="897"/>
                      </a:lnTo>
                      <a:lnTo>
                        <a:pt x="1274" y="954"/>
                      </a:lnTo>
                      <a:lnTo>
                        <a:pt x="1258" y="1010"/>
                      </a:lnTo>
                      <a:lnTo>
                        <a:pt x="1246" y="1049"/>
                      </a:lnTo>
                      <a:lnTo>
                        <a:pt x="1235" y="1087"/>
                      </a:lnTo>
                      <a:lnTo>
                        <a:pt x="1223" y="1126"/>
                      </a:lnTo>
                      <a:lnTo>
                        <a:pt x="1213" y="1164"/>
                      </a:lnTo>
                      <a:lnTo>
                        <a:pt x="1202" y="1203"/>
                      </a:lnTo>
                      <a:lnTo>
                        <a:pt x="1192" y="1242"/>
                      </a:lnTo>
                      <a:lnTo>
                        <a:pt x="1182" y="1280"/>
                      </a:lnTo>
                      <a:lnTo>
                        <a:pt x="1171" y="1319"/>
                      </a:lnTo>
                      <a:lnTo>
                        <a:pt x="1155" y="1388"/>
                      </a:lnTo>
                      <a:lnTo>
                        <a:pt x="1140" y="1458"/>
                      </a:lnTo>
                      <a:lnTo>
                        <a:pt x="1125" y="1529"/>
                      </a:lnTo>
                      <a:lnTo>
                        <a:pt x="1111" y="1599"/>
                      </a:lnTo>
                      <a:lnTo>
                        <a:pt x="1099" y="1670"/>
                      </a:lnTo>
                      <a:lnTo>
                        <a:pt x="1087" y="1740"/>
                      </a:lnTo>
                      <a:lnTo>
                        <a:pt x="1077" y="1811"/>
                      </a:lnTo>
                      <a:lnTo>
                        <a:pt x="1069" y="1881"/>
                      </a:lnTo>
                      <a:lnTo>
                        <a:pt x="1055" y="1880"/>
                      </a:lnTo>
                      <a:lnTo>
                        <a:pt x="1040" y="1878"/>
                      </a:lnTo>
                      <a:lnTo>
                        <a:pt x="1026" y="1876"/>
                      </a:lnTo>
                      <a:lnTo>
                        <a:pt x="1011" y="1875"/>
                      </a:lnTo>
                      <a:lnTo>
                        <a:pt x="996" y="1873"/>
                      </a:lnTo>
                      <a:lnTo>
                        <a:pt x="981" y="1872"/>
                      </a:lnTo>
                      <a:lnTo>
                        <a:pt x="967" y="1871"/>
                      </a:lnTo>
                      <a:lnTo>
                        <a:pt x="952" y="1869"/>
                      </a:lnTo>
                      <a:lnTo>
                        <a:pt x="922" y="1868"/>
                      </a:lnTo>
                      <a:lnTo>
                        <a:pt x="893" y="1867"/>
                      </a:lnTo>
                      <a:lnTo>
                        <a:pt x="863" y="1865"/>
                      </a:lnTo>
                      <a:lnTo>
                        <a:pt x="833" y="1863"/>
                      </a:lnTo>
                      <a:lnTo>
                        <a:pt x="803" y="1859"/>
                      </a:lnTo>
                      <a:lnTo>
                        <a:pt x="773" y="1857"/>
                      </a:lnTo>
                      <a:lnTo>
                        <a:pt x="743" y="1853"/>
                      </a:lnTo>
                      <a:lnTo>
                        <a:pt x="713" y="1850"/>
                      </a:lnTo>
                      <a:lnTo>
                        <a:pt x="683" y="1846"/>
                      </a:lnTo>
                      <a:lnTo>
                        <a:pt x="654" y="1842"/>
                      </a:lnTo>
                      <a:lnTo>
                        <a:pt x="624" y="1838"/>
                      </a:lnTo>
                      <a:lnTo>
                        <a:pt x="594" y="1834"/>
                      </a:lnTo>
                      <a:lnTo>
                        <a:pt x="564" y="1829"/>
                      </a:lnTo>
                      <a:lnTo>
                        <a:pt x="535" y="1825"/>
                      </a:lnTo>
                      <a:lnTo>
                        <a:pt x="506" y="1820"/>
                      </a:lnTo>
                      <a:lnTo>
                        <a:pt x="477" y="1815"/>
                      </a:lnTo>
                      <a:lnTo>
                        <a:pt x="447" y="1812"/>
                      </a:lnTo>
                      <a:lnTo>
                        <a:pt x="417" y="1807"/>
                      </a:lnTo>
                      <a:lnTo>
                        <a:pt x="388" y="1803"/>
                      </a:lnTo>
                      <a:lnTo>
                        <a:pt x="358" y="1798"/>
                      </a:lnTo>
                      <a:lnTo>
                        <a:pt x="328" y="1793"/>
                      </a:lnTo>
                      <a:lnTo>
                        <a:pt x="298" y="1790"/>
                      </a:lnTo>
                      <a:lnTo>
                        <a:pt x="269" y="1785"/>
                      </a:lnTo>
                      <a:lnTo>
                        <a:pt x="240" y="1782"/>
                      </a:lnTo>
                      <a:lnTo>
                        <a:pt x="210" y="1778"/>
                      </a:lnTo>
                      <a:lnTo>
                        <a:pt x="180" y="1775"/>
                      </a:lnTo>
                      <a:lnTo>
                        <a:pt x="150" y="1773"/>
                      </a:lnTo>
                      <a:lnTo>
                        <a:pt x="120" y="1769"/>
                      </a:lnTo>
                      <a:lnTo>
                        <a:pt x="90" y="1767"/>
                      </a:lnTo>
                      <a:lnTo>
                        <a:pt x="60" y="1765"/>
                      </a:lnTo>
                      <a:lnTo>
                        <a:pt x="30" y="1764"/>
                      </a:lnTo>
                      <a:lnTo>
                        <a:pt x="0" y="1762"/>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35" name="Freeform 119">
                  <a:extLst>
                    <a:ext uri="{FF2B5EF4-FFF2-40B4-BE49-F238E27FC236}">
                      <a16:creationId xmlns:a16="http://schemas.microsoft.com/office/drawing/2014/main" id="{CE184872-A2B7-4F46-8E2C-63CA6EE9B5D5}"/>
                    </a:ext>
                  </a:extLst>
                </p:cNvPr>
                <p:cNvSpPr>
                  <a:spLocks/>
                </p:cNvSpPr>
                <p:nvPr/>
              </p:nvSpPr>
              <p:spPr bwMode="auto">
                <a:xfrm>
                  <a:off x="4403725" y="3719513"/>
                  <a:ext cx="1196975" cy="1560512"/>
                </a:xfrm>
                <a:custGeom>
                  <a:avLst/>
                  <a:gdLst>
                    <a:gd name="T0" fmla="*/ 2147483646 w 1506"/>
                    <a:gd name="T1" fmla="*/ 2147483646 h 1965"/>
                    <a:gd name="T2" fmla="*/ 2147483646 w 1506"/>
                    <a:gd name="T3" fmla="*/ 2147483646 h 1965"/>
                    <a:gd name="T4" fmla="*/ 2147483646 w 1506"/>
                    <a:gd name="T5" fmla="*/ 2147483646 h 1965"/>
                    <a:gd name="T6" fmla="*/ 2147483646 w 1506"/>
                    <a:gd name="T7" fmla="*/ 2147483646 h 1965"/>
                    <a:gd name="T8" fmla="*/ 2147483646 w 1506"/>
                    <a:gd name="T9" fmla="*/ 2147483646 h 1965"/>
                    <a:gd name="T10" fmla="*/ 2147483646 w 1506"/>
                    <a:gd name="T11" fmla="*/ 2147483646 h 1965"/>
                    <a:gd name="T12" fmla="*/ 2147483646 w 1506"/>
                    <a:gd name="T13" fmla="*/ 2147483646 h 1965"/>
                    <a:gd name="T14" fmla="*/ 2147483646 w 1506"/>
                    <a:gd name="T15" fmla="*/ 2147483646 h 1965"/>
                    <a:gd name="T16" fmla="*/ 2147483646 w 1506"/>
                    <a:gd name="T17" fmla="*/ 2147483646 h 1965"/>
                    <a:gd name="T18" fmla="*/ 2147483646 w 1506"/>
                    <a:gd name="T19" fmla="*/ 2147483646 h 1965"/>
                    <a:gd name="T20" fmla="*/ 2147483646 w 1506"/>
                    <a:gd name="T21" fmla="*/ 2147483646 h 1965"/>
                    <a:gd name="T22" fmla="*/ 2147483646 w 1506"/>
                    <a:gd name="T23" fmla="*/ 2147483646 h 1965"/>
                    <a:gd name="T24" fmla="*/ 2147483646 w 1506"/>
                    <a:gd name="T25" fmla="*/ 2147483646 h 1965"/>
                    <a:gd name="T26" fmla="*/ 2147483646 w 1506"/>
                    <a:gd name="T27" fmla="*/ 2147483646 h 1965"/>
                    <a:gd name="T28" fmla="*/ 2147483646 w 1506"/>
                    <a:gd name="T29" fmla="*/ 2147483646 h 1965"/>
                    <a:gd name="T30" fmla="*/ 2147483646 w 1506"/>
                    <a:gd name="T31" fmla="*/ 2147483646 h 1965"/>
                    <a:gd name="T32" fmla="*/ 2147483646 w 1506"/>
                    <a:gd name="T33" fmla="*/ 2147483646 h 1965"/>
                    <a:gd name="T34" fmla="*/ 2147483646 w 1506"/>
                    <a:gd name="T35" fmla="*/ 2147483646 h 1965"/>
                    <a:gd name="T36" fmla="*/ 2147483646 w 1506"/>
                    <a:gd name="T37" fmla="*/ 2147483646 h 1965"/>
                    <a:gd name="T38" fmla="*/ 2147483646 w 1506"/>
                    <a:gd name="T39" fmla="*/ 2147483646 h 1965"/>
                    <a:gd name="T40" fmla="*/ 2147483646 w 1506"/>
                    <a:gd name="T41" fmla="*/ 2147483646 h 1965"/>
                    <a:gd name="T42" fmla="*/ 2147483646 w 1506"/>
                    <a:gd name="T43" fmla="*/ 2147483646 h 1965"/>
                    <a:gd name="T44" fmla="*/ 2147483646 w 1506"/>
                    <a:gd name="T45" fmla="*/ 2147483646 h 1965"/>
                    <a:gd name="T46" fmla="*/ 2147483646 w 1506"/>
                    <a:gd name="T47" fmla="*/ 2147483646 h 1965"/>
                    <a:gd name="T48" fmla="*/ 2147483646 w 1506"/>
                    <a:gd name="T49" fmla="*/ 2147483646 h 1965"/>
                    <a:gd name="T50" fmla="*/ 2147483646 w 1506"/>
                    <a:gd name="T51" fmla="*/ 2147483646 h 1965"/>
                    <a:gd name="T52" fmla="*/ 2147483646 w 1506"/>
                    <a:gd name="T53" fmla="*/ 2147483646 h 1965"/>
                    <a:gd name="T54" fmla="*/ 2147483646 w 1506"/>
                    <a:gd name="T55" fmla="*/ 2147483646 h 1965"/>
                    <a:gd name="T56" fmla="*/ 2147483646 w 1506"/>
                    <a:gd name="T57" fmla="*/ 2147483646 h 1965"/>
                    <a:gd name="T58" fmla="*/ 2147483646 w 1506"/>
                    <a:gd name="T59" fmla="*/ 2147483646 h 1965"/>
                    <a:gd name="T60" fmla="*/ 2147483646 w 1506"/>
                    <a:gd name="T61" fmla="*/ 2147483646 h 1965"/>
                    <a:gd name="T62" fmla="*/ 2147483646 w 1506"/>
                    <a:gd name="T63" fmla="*/ 2147483646 h 1965"/>
                    <a:gd name="T64" fmla="*/ 2147483646 w 1506"/>
                    <a:gd name="T65" fmla="*/ 2147483646 h 1965"/>
                    <a:gd name="T66" fmla="*/ 2147483646 w 1506"/>
                    <a:gd name="T67" fmla="*/ 2147483646 h 1965"/>
                    <a:gd name="T68" fmla="*/ 2147483646 w 1506"/>
                    <a:gd name="T69" fmla="*/ 2147483646 h 1965"/>
                    <a:gd name="T70" fmla="*/ 2147483646 w 1506"/>
                    <a:gd name="T71" fmla="*/ 2147483646 h 1965"/>
                    <a:gd name="T72" fmla="*/ 2147483646 w 1506"/>
                    <a:gd name="T73" fmla="*/ 2147483646 h 1965"/>
                    <a:gd name="T74" fmla="*/ 2147483646 w 1506"/>
                    <a:gd name="T75" fmla="*/ 2147483646 h 1965"/>
                    <a:gd name="T76" fmla="*/ 2147483646 w 1506"/>
                    <a:gd name="T77" fmla="*/ 2147483646 h 1965"/>
                    <a:gd name="T78" fmla="*/ 2147483646 w 1506"/>
                    <a:gd name="T79" fmla="*/ 2147483646 h 1965"/>
                    <a:gd name="T80" fmla="*/ 2147483646 w 1506"/>
                    <a:gd name="T81" fmla="*/ 2147483646 h 1965"/>
                    <a:gd name="T82" fmla="*/ 2147483646 w 1506"/>
                    <a:gd name="T83" fmla="*/ 2147483646 h 1965"/>
                    <a:gd name="T84" fmla="*/ 2147483646 w 1506"/>
                    <a:gd name="T85" fmla="*/ 2147483646 h 1965"/>
                    <a:gd name="T86" fmla="*/ 2147483646 w 1506"/>
                    <a:gd name="T87" fmla="*/ 2147483646 h 1965"/>
                    <a:gd name="T88" fmla="*/ 2147483646 w 1506"/>
                    <a:gd name="T89" fmla="*/ 2147483646 h 1965"/>
                    <a:gd name="T90" fmla="*/ 0 w 1506"/>
                    <a:gd name="T91" fmla="*/ 2147483646 h 196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6"/>
                    <a:gd name="T139" fmla="*/ 0 h 1965"/>
                    <a:gd name="T140" fmla="*/ 1506 w 1506"/>
                    <a:gd name="T141" fmla="*/ 1965 h 196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6" h="1965">
                      <a:moveTo>
                        <a:pt x="0" y="1856"/>
                      </a:moveTo>
                      <a:lnTo>
                        <a:pt x="10" y="1778"/>
                      </a:lnTo>
                      <a:lnTo>
                        <a:pt x="22" y="1701"/>
                      </a:lnTo>
                      <a:lnTo>
                        <a:pt x="34" y="1624"/>
                      </a:lnTo>
                      <a:lnTo>
                        <a:pt x="48" y="1547"/>
                      </a:lnTo>
                      <a:lnTo>
                        <a:pt x="63" y="1470"/>
                      </a:lnTo>
                      <a:lnTo>
                        <a:pt x="79" y="1392"/>
                      </a:lnTo>
                      <a:lnTo>
                        <a:pt x="95" y="1315"/>
                      </a:lnTo>
                      <a:lnTo>
                        <a:pt x="113" y="1238"/>
                      </a:lnTo>
                      <a:lnTo>
                        <a:pt x="131" y="1162"/>
                      </a:lnTo>
                      <a:lnTo>
                        <a:pt x="148" y="1085"/>
                      </a:lnTo>
                      <a:lnTo>
                        <a:pt x="168" y="1009"/>
                      </a:lnTo>
                      <a:lnTo>
                        <a:pt x="186" y="932"/>
                      </a:lnTo>
                      <a:lnTo>
                        <a:pt x="206" y="856"/>
                      </a:lnTo>
                      <a:lnTo>
                        <a:pt x="225" y="778"/>
                      </a:lnTo>
                      <a:lnTo>
                        <a:pt x="244" y="702"/>
                      </a:lnTo>
                      <a:lnTo>
                        <a:pt x="263" y="625"/>
                      </a:lnTo>
                      <a:lnTo>
                        <a:pt x="283" y="548"/>
                      </a:lnTo>
                      <a:lnTo>
                        <a:pt x="301" y="470"/>
                      </a:lnTo>
                      <a:lnTo>
                        <a:pt x="318" y="391"/>
                      </a:lnTo>
                      <a:lnTo>
                        <a:pt x="334" y="313"/>
                      </a:lnTo>
                      <a:lnTo>
                        <a:pt x="348" y="235"/>
                      </a:lnTo>
                      <a:lnTo>
                        <a:pt x="360" y="156"/>
                      </a:lnTo>
                      <a:lnTo>
                        <a:pt x="371" y="78"/>
                      </a:lnTo>
                      <a:lnTo>
                        <a:pt x="380" y="0"/>
                      </a:lnTo>
                      <a:lnTo>
                        <a:pt x="414" y="1"/>
                      </a:lnTo>
                      <a:lnTo>
                        <a:pt x="448" y="2"/>
                      </a:lnTo>
                      <a:lnTo>
                        <a:pt x="481" y="3"/>
                      </a:lnTo>
                      <a:lnTo>
                        <a:pt x="516" y="6"/>
                      </a:lnTo>
                      <a:lnTo>
                        <a:pt x="549" y="8"/>
                      </a:lnTo>
                      <a:lnTo>
                        <a:pt x="582" y="10"/>
                      </a:lnTo>
                      <a:lnTo>
                        <a:pt x="617" y="14"/>
                      </a:lnTo>
                      <a:lnTo>
                        <a:pt x="650" y="17"/>
                      </a:lnTo>
                      <a:lnTo>
                        <a:pt x="684" y="20"/>
                      </a:lnTo>
                      <a:lnTo>
                        <a:pt x="717" y="24"/>
                      </a:lnTo>
                      <a:lnTo>
                        <a:pt x="751" y="29"/>
                      </a:lnTo>
                      <a:lnTo>
                        <a:pt x="784" y="32"/>
                      </a:lnTo>
                      <a:lnTo>
                        <a:pt x="817" y="37"/>
                      </a:lnTo>
                      <a:lnTo>
                        <a:pt x="852" y="41"/>
                      </a:lnTo>
                      <a:lnTo>
                        <a:pt x="885" y="46"/>
                      </a:lnTo>
                      <a:lnTo>
                        <a:pt x="919" y="50"/>
                      </a:lnTo>
                      <a:lnTo>
                        <a:pt x="952" y="55"/>
                      </a:lnTo>
                      <a:lnTo>
                        <a:pt x="986" y="60"/>
                      </a:lnTo>
                      <a:lnTo>
                        <a:pt x="1019" y="64"/>
                      </a:lnTo>
                      <a:lnTo>
                        <a:pt x="1052" y="69"/>
                      </a:lnTo>
                      <a:lnTo>
                        <a:pt x="1086" y="73"/>
                      </a:lnTo>
                      <a:lnTo>
                        <a:pt x="1119" y="78"/>
                      </a:lnTo>
                      <a:lnTo>
                        <a:pt x="1153" y="82"/>
                      </a:lnTo>
                      <a:lnTo>
                        <a:pt x="1186" y="86"/>
                      </a:lnTo>
                      <a:lnTo>
                        <a:pt x="1219" y="90"/>
                      </a:lnTo>
                      <a:lnTo>
                        <a:pt x="1253" y="94"/>
                      </a:lnTo>
                      <a:lnTo>
                        <a:pt x="1286" y="98"/>
                      </a:lnTo>
                      <a:lnTo>
                        <a:pt x="1320" y="101"/>
                      </a:lnTo>
                      <a:lnTo>
                        <a:pt x="1353" y="105"/>
                      </a:lnTo>
                      <a:lnTo>
                        <a:pt x="1387" y="107"/>
                      </a:lnTo>
                      <a:lnTo>
                        <a:pt x="1421" y="109"/>
                      </a:lnTo>
                      <a:lnTo>
                        <a:pt x="1454" y="112"/>
                      </a:lnTo>
                      <a:lnTo>
                        <a:pt x="1461" y="112"/>
                      </a:lnTo>
                      <a:lnTo>
                        <a:pt x="1467" y="112"/>
                      </a:lnTo>
                      <a:lnTo>
                        <a:pt x="1474" y="110"/>
                      </a:lnTo>
                      <a:lnTo>
                        <a:pt x="1481" y="110"/>
                      </a:lnTo>
                      <a:lnTo>
                        <a:pt x="1488" y="109"/>
                      </a:lnTo>
                      <a:lnTo>
                        <a:pt x="1493" y="109"/>
                      </a:lnTo>
                      <a:lnTo>
                        <a:pt x="1500" y="109"/>
                      </a:lnTo>
                      <a:lnTo>
                        <a:pt x="1506" y="109"/>
                      </a:lnTo>
                      <a:lnTo>
                        <a:pt x="1505" y="152"/>
                      </a:lnTo>
                      <a:lnTo>
                        <a:pt x="1500" y="196"/>
                      </a:lnTo>
                      <a:lnTo>
                        <a:pt x="1495" y="238"/>
                      </a:lnTo>
                      <a:lnTo>
                        <a:pt x="1488" y="281"/>
                      </a:lnTo>
                      <a:lnTo>
                        <a:pt x="1480" y="323"/>
                      </a:lnTo>
                      <a:lnTo>
                        <a:pt x="1470" y="365"/>
                      </a:lnTo>
                      <a:lnTo>
                        <a:pt x="1462" y="408"/>
                      </a:lnTo>
                      <a:lnTo>
                        <a:pt x="1453" y="450"/>
                      </a:lnTo>
                      <a:lnTo>
                        <a:pt x="1443" y="511"/>
                      </a:lnTo>
                      <a:lnTo>
                        <a:pt x="1432" y="572"/>
                      </a:lnTo>
                      <a:lnTo>
                        <a:pt x="1420" y="633"/>
                      </a:lnTo>
                      <a:lnTo>
                        <a:pt x="1407" y="694"/>
                      </a:lnTo>
                      <a:lnTo>
                        <a:pt x="1393" y="754"/>
                      </a:lnTo>
                      <a:lnTo>
                        <a:pt x="1378" y="814"/>
                      </a:lnTo>
                      <a:lnTo>
                        <a:pt x="1363" y="874"/>
                      </a:lnTo>
                      <a:lnTo>
                        <a:pt x="1348" y="934"/>
                      </a:lnTo>
                      <a:lnTo>
                        <a:pt x="1332" y="994"/>
                      </a:lnTo>
                      <a:lnTo>
                        <a:pt x="1316" y="1054"/>
                      </a:lnTo>
                      <a:lnTo>
                        <a:pt x="1300" y="1114"/>
                      </a:lnTo>
                      <a:lnTo>
                        <a:pt x="1284" y="1172"/>
                      </a:lnTo>
                      <a:lnTo>
                        <a:pt x="1268" y="1232"/>
                      </a:lnTo>
                      <a:lnTo>
                        <a:pt x="1253" y="1292"/>
                      </a:lnTo>
                      <a:lnTo>
                        <a:pt x="1238" y="1351"/>
                      </a:lnTo>
                      <a:lnTo>
                        <a:pt x="1223" y="1411"/>
                      </a:lnTo>
                      <a:lnTo>
                        <a:pt x="1207" y="1480"/>
                      </a:lnTo>
                      <a:lnTo>
                        <a:pt x="1193" y="1549"/>
                      </a:lnTo>
                      <a:lnTo>
                        <a:pt x="1180" y="1618"/>
                      </a:lnTo>
                      <a:lnTo>
                        <a:pt x="1167" y="1687"/>
                      </a:lnTo>
                      <a:lnTo>
                        <a:pt x="1157" y="1756"/>
                      </a:lnTo>
                      <a:lnTo>
                        <a:pt x="1146" y="1826"/>
                      </a:lnTo>
                      <a:lnTo>
                        <a:pt x="1136" y="1896"/>
                      </a:lnTo>
                      <a:lnTo>
                        <a:pt x="1126" y="1965"/>
                      </a:lnTo>
                      <a:lnTo>
                        <a:pt x="1094" y="1965"/>
                      </a:lnTo>
                      <a:lnTo>
                        <a:pt x="1062" y="1965"/>
                      </a:lnTo>
                      <a:lnTo>
                        <a:pt x="1029" y="1965"/>
                      </a:lnTo>
                      <a:lnTo>
                        <a:pt x="997" y="1964"/>
                      </a:lnTo>
                      <a:lnTo>
                        <a:pt x="965" y="1962"/>
                      </a:lnTo>
                      <a:lnTo>
                        <a:pt x="933" y="1959"/>
                      </a:lnTo>
                      <a:lnTo>
                        <a:pt x="900" y="1957"/>
                      </a:lnTo>
                      <a:lnTo>
                        <a:pt x="868" y="1953"/>
                      </a:lnTo>
                      <a:lnTo>
                        <a:pt x="837" y="1951"/>
                      </a:lnTo>
                      <a:lnTo>
                        <a:pt x="805" y="1947"/>
                      </a:lnTo>
                      <a:lnTo>
                        <a:pt x="774" y="1943"/>
                      </a:lnTo>
                      <a:lnTo>
                        <a:pt x="741" y="1938"/>
                      </a:lnTo>
                      <a:lnTo>
                        <a:pt x="710" y="1935"/>
                      </a:lnTo>
                      <a:lnTo>
                        <a:pt x="678" y="1930"/>
                      </a:lnTo>
                      <a:lnTo>
                        <a:pt x="647" y="1926"/>
                      </a:lnTo>
                      <a:lnTo>
                        <a:pt x="615" y="1920"/>
                      </a:lnTo>
                      <a:lnTo>
                        <a:pt x="582" y="1915"/>
                      </a:lnTo>
                      <a:lnTo>
                        <a:pt x="551" y="1911"/>
                      </a:lnTo>
                      <a:lnTo>
                        <a:pt x="519" y="1906"/>
                      </a:lnTo>
                      <a:lnTo>
                        <a:pt x="488" y="1902"/>
                      </a:lnTo>
                      <a:lnTo>
                        <a:pt x="456" y="1897"/>
                      </a:lnTo>
                      <a:lnTo>
                        <a:pt x="424" y="1892"/>
                      </a:lnTo>
                      <a:lnTo>
                        <a:pt x="392" y="1889"/>
                      </a:lnTo>
                      <a:lnTo>
                        <a:pt x="360" y="1884"/>
                      </a:lnTo>
                      <a:lnTo>
                        <a:pt x="328" y="1881"/>
                      </a:lnTo>
                      <a:lnTo>
                        <a:pt x="296" y="1877"/>
                      </a:lnTo>
                      <a:lnTo>
                        <a:pt x="263" y="1874"/>
                      </a:lnTo>
                      <a:lnTo>
                        <a:pt x="231" y="1872"/>
                      </a:lnTo>
                      <a:lnTo>
                        <a:pt x="198" y="1869"/>
                      </a:lnTo>
                      <a:lnTo>
                        <a:pt x="166" y="1868"/>
                      </a:lnTo>
                      <a:lnTo>
                        <a:pt x="133" y="1867"/>
                      </a:lnTo>
                      <a:lnTo>
                        <a:pt x="100" y="1866"/>
                      </a:lnTo>
                      <a:lnTo>
                        <a:pt x="87" y="1865"/>
                      </a:lnTo>
                      <a:lnTo>
                        <a:pt x="75" y="1864"/>
                      </a:lnTo>
                      <a:lnTo>
                        <a:pt x="62" y="1862"/>
                      </a:lnTo>
                      <a:lnTo>
                        <a:pt x="50" y="1860"/>
                      </a:lnTo>
                      <a:lnTo>
                        <a:pt x="38" y="1859"/>
                      </a:lnTo>
                      <a:lnTo>
                        <a:pt x="25" y="1858"/>
                      </a:lnTo>
                      <a:lnTo>
                        <a:pt x="12" y="1857"/>
                      </a:lnTo>
                      <a:lnTo>
                        <a:pt x="0" y="18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36" name="Freeform 120">
                  <a:extLst>
                    <a:ext uri="{FF2B5EF4-FFF2-40B4-BE49-F238E27FC236}">
                      <a16:creationId xmlns:a16="http://schemas.microsoft.com/office/drawing/2014/main" id="{1CB3CF3B-80AD-4337-A974-393DF46CCC90}"/>
                    </a:ext>
                  </a:extLst>
                </p:cNvPr>
                <p:cNvSpPr>
                  <a:spLocks/>
                </p:cNvSpPr>
                <p:nvPr/>
              </p:nvSpPr>
              <p:spPr bwMode="auto">
                <a:xfrm>
                  <a:off x="4429125" y="3756025"/>
                  <a:ext cx="1149350" cy="1492250"/>
                </a:xfrm>
                <a:custGeom>
                  <a:avLst/>
                  <a:gdLst>
                    <a:gd name="T0" fmla="*/ 2147483646 w 1448"/>
                    <a:gd name="T1" fmla="*/ 2147483646 h 1880"/>
                    <a:gd name="T2" fmla="*/ 2147483646 w 1448"/>
                    <a:gd name="T3" fmla="*/ 2147483646 h 1880"/>
                    <a:gd name="T4" fmla="*/ 2147483646 w 1448"/>
                    <a:gd name="T5" fmla="*/ 2147483646 h 1880"/>
                    <a:gd name="T6" fmla="*/ 2147483646 w 1448"/>
                    <a:gd name="T7" fmla="*/ 2147483646 h 1880"/>
                    <a:gd name="T8" fmla="*/ 2147483646 w 1448"/>
                    <a:gd name="T9" fmla="*/ 2147483646 h 1880"/>
                    <a:gd name="T10" fmla="*/ 2147483646 w 1448"/>
                    <a:gd name="T11" fmla="*/ 2147483646 h 1880"/>
                    <a:gd name="T12" fmla="*/ 2147483646 w 1448"/>
                    <a:gd name="T13" fmla="*/ 2147483646 h 1880"/>
                    <a:gd name="T14" fmla="*/ 2147483646 w 1448"/>
                    <a:gd name="T15" fmla="*/ 2147483646 h 1880"/>
                    <a:gd name="T16" fmla="*/ 2147483646 w 1448"/>
                    <a:gd name="T17" fmla="*/ 2147483646 h 1880"/>
                    <a:gd name="T18" fmla="*/ 2147483646 w 1448"/>
                    <a:gd name="T19" fmla="*/ 0 h 1880"/>
                    <a:gd name="T20" fmla="*/ 2147483646 w 1448"/>
                    <a:gd name="T21" fmla="*/ 2147483646 h 1880"/>
                    <a:gd name="T22" fmla="*/ 2147483646 w 1448"/>
                    <a:gd name="T23" fmla="*/ 2147483646 h 1880"/>
                    <a:gd name="T24" fmla="*/ 2147483646 w 1448"/>
                    <a:gd name="T25" fmla="*/ 2147483646 h 1880"/>
                    <a:gd name="T26" fmla="*/ 2147483646 w 1448"/>
                    <a:gd name="T27" fmla="*/ 2147483646 h 1880"/>
                    <a:gd name="T28" fmla="*/ 2147483646 w 1448"/>
                    <a:gd name="T29" fmla="*/ 2147483646 h 1880"/>
                    <a:gd name="T30" fmla="*/ 2147483646 w 1448"/>
                    <a:gd name="T31" fmla="*/ 2147483646 h 1880"/>
                    <a:gd name="T32" fmla="*/ 2147483646 w 1448"/>
                    <a:gd name="T33" fmla="*/ 2147483646 h 1880"/>
                    <a:gd name="T34" fmla="*/ 2147483646 w 1448"/>
                    <a:gd name="T35" fmla="*/ 2147483646 h 1880"/>
                    <a:gd name="T36" fmla="*/ 2147483646 w 1448"/>
                    <a:gd name="T37" fmla="*/ 2147483646 h 1880"/>
                    <a:gd name="T38" fmla="*/ 2147483646 w 1448"/>
                    <a:gd name="T39" fmla="*/ 2147483646 h 1880"/>
                    <a:gd name="T40" fmla="*/ 2147483646 w 1448"/>
                    <a:gd name="T41" fmla="*/ 2147483646 h 1880"/>
                    <a:gd name="T42" fmla="*/ 2147483646 w 1448"/>
                    <a:gd name="T43" fmla="*/ 2147483646 h 1880"/>
                    <a:gd name="T44" fmla="*/ 2147483646 w 1448"/>
                    <a:gd name="T45" fmla="*/ 2147483646 h 1880"/>
                    <a:gd name="T46" fmla="*/ 2147483646 w 1448"/>
                    <a:gd name="T47" fmla="*/ 2147483646 h 1880"/>
                    <a:gd name="T48" fmla="*/ 2147483646 w 1448"/>
                    <a:gd name="T49" fmla="*/ 2147483646 h 1880"/>
                    <a:gd name="T50" fmla="*/ 2147483646 w 1448"/>
                    <a:gd name="T51" fmla="*/ 2147483646 h 1880"/>
                    <a:gd name="T52" fmla="*/ 2147483646 w 1448"/>
                    <a:gd name="T53" fmla="*/ 2147483646 h 1880"/>
                    <a:gd name="T54" fmla="*/ 2147483646 w 1448"/>
                    <a:gd name="T55" fmla="*/ 2147483646 h 1880"/>
                    <a:gd name="T56" fmla="*/ 2147483646 w 1448"/>
                    <a:gd name="T57" fmla="*/ 2147483646 h 1880"/>
                    <a:gd name="T58" fmla="*/ 2147483646 w 1448"/>
                    <a:gd name="T59" fmla="*/ 2147483646 h 1880"/>
                    <a:gd name="T60" fmla="*/ 2147483646 w 1448"/>
                    <a:gd name="T61" fmla="*/ 2147483646 h 1880"/>
                    <a:gd name="T62" fmla="*/ 2147483646 w 1448"/>
                    <a:gd name="T63" fmla="*/ 2147483646 h 1880"/>
                    <a:gd name="T64" fmla="*/ 2147483646 w 1448"/>
                    <a:gd name="T65" fmla="*/ 2147483646 h 1880"/>
                    <a:gd name="T66" fmla="*/ 2147483646 w 1448"/>
                    <a:gd name="T67" fmla="*/ 2147483646 h 1880"/>
                    <a:gd name="T68" fmla="*/ 2147483646 w 1448"/>
                    <a:gd name="T69" fmla="*/ 2147483646 h 1880"/>
                    <a:gd name="T70" fmla="*/ 2147483646 w 1448"/>
                    <a:gd name="T71" fmla="*/ 2147483646 h 1880"/>
                    <a:gd name="T72" fmla="*/ 2147483646 w 1448"/>
                    <a:gd name="T73" fmla="*/ 2147483646 h 1880"/>
                    <a:gd name="T74" fmla="*/ 2147483646 w 1448"/>
                    <a:gd name="T75" fmla="*/ 2147483646 h 1880"/>
                    <a:gd name="T76" fmla="*/ 2147483646 w 1448"/>
                    <a:gd name="T77" fmla="*/ 2147483646 h 1880"/>
                    <a:gd name="T78" fmla="*/ 2147483646 w 1448"/>
                    <a:gd name="T79" fmla="*/ 2147483646 h 1880"/>
                    <a:gd name="T80" fmla="*/ 2147483646 w 1448"/>
                    <a:gd name="T81" fmla="*/ 2147483646 h 1880"/>
                    <a:gd name="T82" fmla="*/ 2147483646 w 1448"/>
                    <a:gd name="T83" fmla="*/ 2147483646 h 1880"/>
                    <a:gd name="T84" fmla="*/ 2147483646 w 1448"/>
                    <a:gd name="T85" fmla="*/ 2147483646 h 1880"/>
                    <a:gd name="T86" fmla="*/ 2147483646 w 1448"/>
                    <a:gd name="T87" fmla="*/ 2147483646 h 18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48"/>
                    <a:gd name="T133" fmla="*/ 0 h 1880"/>
                    <a:gd name="T134" fmla="*/ 1448 w 1448"/>
                    <a:gd name="T135" fmla="*/ 1880 h 18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48" h="1880">
                      <a:moveTo>
                        <a:pt x="0" y="1762"/>
                      </a:moveTo>
                      <a:lnTo>
                        <a:pt x="13" y="1668"/>
                      </a:lnTo>
                      <a:lnTo>
                        <a:pt x="26" y="1575"/>
                      </a:lnTo>
                      <a:lnTo>
                        <a:pt x="44" y="1480"/>
                      </a:lnTo>
                      <a:lnTo>
                        <a:pt x="62" y="1386"/>
                      </a:lnTo>
                      <a:lnTo>
                        <a:pt x="82" y="1291"/>
                      </a:lnTo>
                      <a:lnTo>
                        <a:pt x="104" y="1197"/>
                      </a:lnTo>
                      <a:lnTo>
                        <a:pt x="126" y="1103"/>
                      </a:lnTo>
                      <a:lnTo>
                        <a:pt x="149" y="1010"/>
                      </a:lnTo>
                      <a:lnTo>
                        <a:pt x="158" y="976"/>
                      </a:lnTo>
                      <a:lnTo>
                        <a:pt x="167" y="941"/>
                      </a:lnTo>
                      <a:lnTo>
                        <a:pt x="176" y="906"/>
                      </a:lnTo>
                      <a:lnTo>
                        <a:pt x="185" y="871"/>
                      </a:lnTo>
                      <a:lnTo>
                        <a:pt x="195" y="835"/>
                      </a:lnTo>
                      <a:lnTo>
                        <a:pt x="204" y="799"/>
                      </a:lnTo>
                      <a:lnTo>
                        <a:pt x="213" y="765"/>
                      </a:lnTo>
                      <a:lnTo>
                        <a:pt x="222" y="730"/>
                      </a:lnTo>
                      <a:lnTo>
                        <a:pt x="244" y="651"/>
                      </a:lnTo>
                      <a:lnTo>
                        <a:pt x="266" y="571"/>
                      </a:lnTo>
                      <a:lnTo>
                        <a:pt x="286" y="492"/>
                      </a:lnTo>
                      <a:lnTo>
                        <a:pt x="304" y="412"/>
                      </a:lnTo>
                      <a:lnTo>
                        <a:pt x="321" y="333"/>
                      </a:lnTo>
                      <a:lnTo>
                        <a:pt x="336" y="253"/>
                      </a:lnTo>
                      <a:lnTo>
                        <a:pt x="351" y="173"/>
                      </a:lnTo>
                      <a:lnTo>
                        <a:pt x="364" y="93"/>
                      </a:lnTo>
                      <a:lnTo>
                        <a:pt x="366" y="70"/>
                      </a:lnTo>
                      <a:lnTo>
                        <a:pt x="371" y="46"/>
                      </a:lnTo>
                      <a:lnTo>
                        <a:pt x="373" y="23"/>
                      </a:lnTo>
                      <a:lnTo>
                        <a:pt x="372" y="0"/>
                      </a:lnTo>
                      <a:lnTo>
                        <a:pt x="396" y="0"/>
                      </a:lnTo>
                      <a:lnTo>
                        <a:pt x="420" y="0"/>
                      </a:lnTo>
                      <a:lnTo>
                        <a:pt x="445" y="1"/>
                      </a:lnTo>
                      <a:lnTo>
                        <a:pt x="469" y="2"/>
                      </a:lnTo>
                      <a:lnTo>
                        <a:pt x="493" y="3"/>
                      </a:lnTo>
                      <a:lnTo>
                        <a:pt x="517" y="4"/>
                      </a:lnTo>
                      <a:lnTo>
                        <a:pt x="540" y="7"/>
                      </a:lnTo>
                      <a:lnTo>
                        <a:pt x="564" y="9"/>
                      </a:lnTo>
                      <a:lnTo>
                        <a:pt x="587" y="11"/>
                      </a:lnTo>
                      <a:lnTo>
                        <a:pt x="611" y="14"/>
                      </a:lnTo>
                      <a:lnTo>
                        <a:pt x="635" y="16"/>
                      </a:lnTo>
                      <a:lnTo>
                        <a:pt x="658" y="19"/>
                      </a:lnTo>
                      <a:lnTo>
                        <a:pt x="682" y="22"/>
                      </a:lnTo>
                      <a:lnTo>
                        <a:pt x="706" y="24"/>
                      </a:lnTo>
                      <a:lnTo>
                        <a:pt x="729" y="26"/>
                      </a:lnTo>
                      <a:lnTo>
                        <a:pt x="753" y="29"/>
                      </a:lnTo>
                      <a:lnTo>
                        <a:pt x="797" y="36"/>
                      </a:lnTo>
                      <a:lnTo>
                        <a:pt x="840" y="42"/>
                      </a:lnTo>
                      <a:lnTo>
                        <a:pt x="882" y="49"/>
                      </a:lnTo>
                      <a:lnTo>
                        <a:pt x="926" y="56"/>
                      </a:lnTo>
                      <a:lnTo>
                        <a:pt x="969" y="63"/>
                      </a:lnTo>
                      <a:lnTo>
                        <a:pt x="1011" y="70"/>
                      </a:lnTo>
                      <a:lnTo>
                        <a:pt x="1055" y="77"/>
                      </a:lnTo>
                      <a:lnTo>
                        <a:pt x="1097" y="83"/>
                      </a:lnTo>
                      <a:lnTo>
                        <a:pt x="1140" y="89"/>
                      </a:lnTo>
                      <a:lnTo>
                        <a:pt x="1184" y="94"/>
                      </a:lnTo>
                      <a:lnTo>
                        <a:pt x="1226" y="99"/>
                      </a:lnTo>
                      <a:lnTo>
                        <a:pt x="1270" y="102"/>
                      </a:lnTo>
                      <a:lnTo>
                        <a:pt x="1314" y="106"/>
                      </a:lnTo>
                      <a:lnTo>
                        <a:pt x="1359" y="108"/>
                      </a:lnTo>
                      <a:lnTo>
                        <a:pt x="1403" y="109"/>
                      </a:lnTo>
                      <a:lnTo>
                        <a:pt x="1448" y="110"/>
                      </a:lnTo>
                      <a:lnTo>
                        <a:pt x="1440" y="167"/>
                      </a:lnTo>
                      <a:lnTo>
                        <a:pt x="1430" y="222"/>
                      </a:lnTo>
                      <a:lnTo>
                        <a:pt x="1421" y="279"/>
                      </a:lnTo>
                      <a:lnTo>
                        <a:pt x="1411" y="335"/>
                      </a:lnTo>
                      <a:lnTo>
                        <a:pt x="1400" y="392"/>
                      </a:lnTo>
                      <a:lnTo>
                        <a:pt x="1390" y="447"/>
                      </a:lnTo>
                      <a:lnTo>
                        <a:pt x="1380" y="503"/>
                      </a:lnTo>
                      <a:lnTo>
                        <a:pt x="1368" y="560"/>
                      </a:lnTo>
                      <a:lnTo>
                        <a:pt x="1355" y="615"/>
                      </a:lnTo>
                      <a:lnTo>
                        <a:pt x="1343" y="671"/>
                      </a:lnTo>
                      <a:lnTo>
                        <a:pt x="1330" y="728"/>
                      </a:lnTo>
                      <a:lnTo>
                        <a:pt x="1317" y="784"/>
                      </a:lnTo>
                      <a:lnTo>
                        <a:pt x="1302" y="840"/>
                      </a:lnTo>
                      <a:lnTo>
                        <a:pt x="1289" y="896"/>
                      </a:lnTo>
                      <a:lnTo>
                        <a:pt x="1274" y="952"/>
                      </a:lnTo>
                      <a:lnTo>
                        <a:pt x="1258" y="1009"/>
                      </a:lnTo>
                      <a:lnTo>
                        <a:pt x="1245" y="1048"/>
                      </a:lnTo>
                      <a:lnTo>
                        <a:pt x="1233" y="1087"/>
                      </a:lnTo>
                      <a:lnTo>
                        <a:pt x="1223" y="1125"/>
                      </a:lnTo>
                      <a:lnTo>
                        <a:pt x="1213" y="1163"/>
                      </a:lnTo>
                      <a:lnTo>
                        <a:pt x="1202" y="1202"/>
                      </a:lnTo>
                      <a:lnTo>
                        <a:pt x="1192" y="1240"/>
                      </a:lnTo>
                      <a:lnTo>
                        <a:pt x="1182" y="1280"/>
                      </a:lnTo>
                      <a:lnTo>
                        <a:pt x="1171" y="1319"/>
                      </a:lnTo>
                      <a:lnTo>
                        <a:pt x="1155" y="1388"/>
                      </a:lnTo>
                      <a:lnTo>
                        <a:pt x="1140" y="1458"/>
                      </a:lnTo>
                      <a:lnTo>
                        <a:pt x="1126" y="1528"/>
                      </a:lnTo>
                      <a:lnTo>
                        <a:pt x="1112" y="1599"/>
                      </a:lnTo>
                      <a:lnTo>
                        <a:pt x="1100" y="1669"/>
                      </a:lnTo>
                      <a:lnTo>
                        <a:pt x="1088" y="1739"/>
                      </a:lnTo>
                      <a:lnTo>
                        <a:pt x="1078" y="1810"/>
                      </a:lnTo>
                      <a:lnTo>
                        <a:pt x="1069" y="1880"/>
                      </a:lnTo>
                      <a:lnTo>
                        <a:pt x="1054" y="1879"/>
                      </a:lnTo>
                      <a:lnTo>
                        <a:pt x="1040" y="1878"/>
                      </a:lnTo>
                      <a:lnTo>
                        <a:pt x="1025" y="1876"/>
                      </a:lnTo>
                      <a:lnTo>
                        <a:pt x="1011" y="1874"/>
                      </a:lnTo>
                      <a:lnTo>
                        <a:pt x="996" y="1873"/>
                      </a:lnTo>
                      <a:lnTo>
                        <a:pt x="981" y="1872"/>
                      </a:lnTo>
                      <a:lnTo>
                        <a:pt x="967" y="1871"/>
                      </a:lnTo>
                      <a:lnTo>
                        <a:pt x="952" y="1869"/>
                      </a:lnTo>
                      <a:lnTo>
                        <a:pt x="922" y="1868"/>
                      </a:lnTo>
                      <a:lnTo>
                        <a:pt x="891" y="1867"/>
                      </a:lnTo>
                      <a:lnTo>
                        <a:pt x="861" y="1865"/>
                      </a:lnTo>
                      <a:lnTo>
                        <a:pt x="831" y="1863"/>
                      </a:lnTo>
                      <a:lnTo>
                        <a:pt x="802" y="1859"/>
                      </a:lnTo>
                      <a:lnTo>
                        <a:pt x="772" y="1857"/>
                      </a:lnTo>
                      <a:lnTo>
                        <a:pt x="742" y="1853"/>
                      </a:lnTo>
                      <a:lnTo>
                        <a:pt x="713" y="1850"/>
                      </a:lnTo>
                      <a:lnTo>
                        <a:pt x="683" y="1846"/>
                      </a:lnTo>
                      <a:lnTo>
                        <a:pt x="653" y="1842"/>
                      </a:lnTo>
                      <a:lnTo>
                        <a:pt x="623" y="1837"/>
                      </a:lnTo>
                      <a:lnTo>
                        <a:pt x="594" y="1834"/>
                      </a:lnTo>
                      <a:lnTo>
                        <a:pt x="564" y="1829"/>
                      </a:lnTo>
                      <a:lnTo>
                        <a:pt x="534" y="1825"/>
                      </a:lnTo>
                      <a:lnTo>
                        <a:pt x="506" y="1820"/>
                      </a:lnTo>
                      <a:lnTo>
                        <a:pt x="476" y="1815"/>
                      </a:lnTo>
                      <a:lnTo>
                        <a:pt x="447" y="1811"/>
                      </a:lnTo>
                      <a:lnTo>
                        <a:pt x="417" y="1806"/>
                      </a:lnTo>
                      <a:lnTo>
                        <a:pt x="387" y="1801"/>
                      </a:lnTo>
                      <a:lnTo>
                        <a:pt x="358" y="1798"/>
                      </a:lnTo>
                      <a:lnTo>
                        <a:pt x="328" y="1793"/>
                      </a:lnTo>
                      <a:lnTo>
                        <a:pt x="298" y="1789"/>
                      </a:lnTo>
                      <a:lnTo>
                        <a:pt x="269" y="1785"/>
                      </a:lnTo>
                      <a:lnTo>
                        <a:pt x="240" y="1782"/>
                      </a:lnTo>
                      <a:lnTo>
                        <a:pt x="210" y="1778"/>
                      </a:lnTo>
                      <a:lnTo>
                        <a:pt x="180" y="1775"/>
                      </a:lnTo>
                      <a:lnTo>
                        <a:pt x="150" y="1772"/>
                      </a:lnTo>
                      <a:lnTo>
                        <a:pt x="120" y="1769"/>
                      </a:lnTo>
                      <a:lnTo>
                        <a:pt x="90" y="1767"/>
                      </a:lnTo>
                      <a:lnTo>
                        <a:pt x="60" y="1765"/>
                      </a:lnTo>
                      <a:lnTo>
                        <a:pt x="30" y="1763"/>
                      </a:lnTo>
                      <a:lnTo>
                        <a:pt x="0" y="1762"/>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37" name="Freeform 121">
                  <a:extLst>
                    <a:ext uri="{FF2B5EF4-FFF2-40B4-BE49-F238E27FC236}">
                      <a16:creationId xmlns:a16="http://schemas.microsoft.com/office/drawing/2014/main" id="{C7AFAAA0-1EA8-43DA-BAC0-61C76B7C0B33}"/>
                    </a:ext>
                  </a:extLst>
                </p:cNvPr>
                <p:cNvSpPr>
                  <a:spLocks/>
                </p:cNvSpPr>
                <p:nvPr/>
              </p:nvSpPr>
              <p:spPr bwMode="auto">
                <a:xfrm>
                  <a:off x="4357688" y="3643313"/>
                  <a:ext cx="1195387" cy="1560512"/>
                </a:xfrm>
                <a:custGeom>
                  <a:avLst/>
                  <a:gdLst>
                    <a:gd name="T0" fmla="*/ 2147483646 w 1506"/>
                    <a:gd name="T1" fmla="*/ 2147483646 h 1965"/>
                    <a:gd name="T2" fmla="*/ 2147483646 w 1506"/>
                    <a:gd name="T3" fmla="*/ 2147483646 h 1965"/>
                    <a:gd name="T4" fmla="*/ 2147483646 w 1506"/>
                    <a:gd name="T5" fmla="*/ 2147483646 h 1965"/>
                    <a:gd name="T6" fmla="*/ 2147483646 w 1506"/>
                    <a:gd name="T7" fmla="*/ 2147483646 h 1965"/>
                    <a:gd name="T8" fmla="*/ 2147483646 w 1506"/>
                    <a:gd name="T9" fmla="*/ 2147483646 h 1965"/>
                    <a:gd name="T10" fmla="*/ 2147483646 w 1506"/>
                    <a:gd name="T11" fmla="*/ 2147483646 h 1965"/>
                    <a:gd name="T12" fmla="*/ 2147483646 w 1506"/>
                    <a:gd name="T13" fmla="*/ 2147483646 h 1965"/>
                    <a:gd name="T14" fmla="*/ 2147483646 w 1506"/>
                    <a:gd name="T15" fmla="*/ 2147483646 h 1965"/>
                    <a:gd name="T16" fmla="*/ 2147483646 w 1506"/>
                    <a:gd name="T17" fmla="*/ 2147483646 h 1965"/>
                    <a:gd name="T18" fmla="*/ 2147483646 w 1506"/>
                    <a:gd name="T19" fmla="*/ 2147483646 h 1965"/>
                    <a:gd name="T20" fmla="*/ 2147483646 w 1506"/>
                    <a:gd name="T21" fmla="*/ 2147483646 h 1965"/>
                    <a:gd name="T22" fmla="*/ 2147483646 w 1506"/>
                    <a:gd name="T23" fmla="*/ 2147483646 h 1965"/>
                    <a:gd name="T24" fmla="*/ 2147483646 w 1506"/>
                    <a:gd name="T25" fmla="*/ 2147483646 h 1965"/>
                    <a:gd name="T26" fmla="*/ 2147483646 w 1506"/>
                    <a:gd name="T27" fmla="*/ 2147483646 h 1965"/>
                    <a:gd name="T28" fmla="*/ 2147483646 w 1506"/>
                    <a:gd name="T29" fmla="*/ 2147483646 h 1965"/>
                    <a:gd name="T30" fmla="*/ 2147483646 w 1506"/>
                    <a:gd name="T31" fmla="*/ 2147483646 h 1965"/>
                    <a:gd name="T32" fmla="*/ 2147483646 w 1506"/>
                    <a:gd name="T33" fmla="*/ 2147483646 h 1965"/>
                    <a:gd name="T34" fmla="*/ 2147483646 w 1506"/>
                    <a:gd name="T35" fmla="*/ 2147483646 h 1965"/>
                    <a:gd name="T36" fmla="*/ 2147483646 w 1506"/>
                    <a:gd name="T37" fmla="*/ 2147483646 h 1965"/>
                    <a:gd name="T38" fmla="*/ 2147483646 w 1506"/>
                    <a:gd name="T39" fmla="*/ 2147483646 h 1965"/>
                    <a:gd name="T40" fmla="*/ 2147483646 w 1506"/>
                    <a:gd name="T41" fmla="*/ 2147483646 h 1965"/>
                    <a:gd name="T42" fmla="*/ 2147483646 w 1506"/>
                    <a:gd name="T43" fmla="*/ 2147483646 h 1965"/>
                    <a:gd name="T44" fmla="*/ 2147483646 w 1506"/>
                    <a:gd name="T45" fmla="*/ 2147483646 h 1965"/>
                    <a:gd name="T46" fmla="*/ 2147483646 w 1506"/>
                    <a:gd name="T47" fmla="*/ 2147483646 h 1965"/>
                    <a:gd name="T48" fmla="*/ 2147483646 w 1506"/>
                    <a:gd name="T49" fmla="*/ 2147483646 h 1965"/>
                    <a:gd name="T50" fmla="*/ 2147483646 w 1506"/>
                    <a:gd name="T51" fmla="*/ 2147483646 h 1965"/>
                    <a:gd name="T52" fmla="*/ 2147483646 w 1506"/>
                    <a:gd name="T53" fmla="*/ 2147483646 h 1965"/>
                    <a:gd name="T54" fmla="*/ 2147483646 w 1506"/>
                    <a:gd name="T55" fmla="*/ 2147483646 h 1965"/>
                    <a:gd name="T56" fmla="*/ 2147483646 w 1506"/>
                    <a:gd name="T57" fmla="*/ 2147483646 h 1965"/>
                    <a:gd name="T58" fmla="*/ 2147483646 w 1506"/>
                    <a:gd name="T59" fmla="*/ 2147483646 h 1965"/>
                    <a:gd name="T60" fmla="*/ 2147483646 w 1506"/>
                    <a:gd name="T61" fmla="*/ 2147483646 h 1965"/>
                    <a:gd name="T62" fmla="*/ 2147483646 w 1506"/>
                    <a:gd name="T63" fmla="*/ 2147483646 h 1965"/>
                    <a:gd name="T64" fmla="*/ 2147483646 w 1506"/>
                    <a:gd name="T65" fmla="*/ 2147483646 h 1965"/>
                    <a:gd name="T66" fmla="*/ 2147483646 w 1506"/>
                    <a:gd name="T67" fmla="*/ 2147483646 h 1965"/>
                    <a:gd name="T68" fmla="*/ 2147483646 w 1506"/>
                    <a:gd name="T69" fmla="*/ 2147483646 h 1965"/>
                    <a:gd name="T70" fmla="*/ 2147483646 w 1506"/>
                    <a:gd name="T71" fmla="*/ 2147483646 h 1965"/>
                    <a:gd name="T72" fmla="*/ 2147483646 w 1506"/>
                    <a:gd name="T73" fmla="*/ 2147483646 h 1965"/>
                    <a:gd name="T74" fmla="*/ 2147483646 w 1506"/>
                    <a:gd name="T75" fmla="*/ 2147483646 h 1965"/>
                    <a:gd name="T76" fmla="*/ 2147483646 w 1506"/>
                    <a:gd name="T77" fmla="*/ 2147483646 h 1965"/>
                    <a:gd name="T78" fmla="*/ 2147483646 w 1506"/>
                    <a:gd name="T79" fmla="*/ 2147483646 h 1965"/>
                    <a:gd name="T80" fmla="*/ 2147483646 w 1506"/>
                    <a:gd name="T81" fmla="*/ 2147483646 h 1965"/>
                    <a:gd name="T82" fmla="*/ 2147483646 w 1506"/>
                    <a:gd name="T83" fmla="*/ 2147483646 h 1965"/>
                    <a:gd name="T84" fmla="*/ 2147483646 w 1506"/>
                    <a:gd name="T85" fmla="*/ 2147483646 h 1965"/>
                    <a:gd name="T86" fmla="*/ 2147483646 w 1506"/>
                    <a:gd name="T87" fmla="*/ 2147483646 h 1965"/>
                    <a:gd name="T88" fmla="*/ 2147483646 w 1506"/>
                    <a:gd name="T89" fmla="*/ 2147483646 h 1965"/>
                    <a:gd name="T90" fmla="*/ 0 w 1506"/>
                    <a:gd name="T91" fmla="*/ 2147483646 h 196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6"/>
                    <a:gd name="T139" fmla="*/ 0 h 1965"/>
                    <a:gd name="T140" fmla="*/ 1506 w 1506"/>
                    <a:gd name="T141" fmla="*/ 1965 h 196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6" h="1965">
                      <a:moveTo>
                        <a:pt x="0" y="1856"/>
                      </a:moveTo>
                      <a:lnTo>
                        <a:pt x="10" y="1779"/>
                      </a:lnTo>
                      <a:lnTo>
                        <a:pt x="22" y="1700"/>
                      </a:lnTo>
                      <a:lnTo>
                        <a:pt x="35" y="1623"/>
                      </a:lnTo>
                      <a:lnTo>
                        <a:pt x="48" y="1546"/>
                      </a:lnTo>
                      <a:lnTo>
                        <a:pt x="63" y="1469"/>
                      </a:lnTo>
                      <a:lnTo>
                        <a:pt x="79" y="1392"/>
                      </a:lnTo>
                      <a:lnTo>
                        <a:pt x="96" y="1316"/>
                      </a:lnTo>
                      <a:lnTo>
                        <a:pt x="113" y="1238"/>
                      </a:lnTo>
                      <a:lnTo>
                        <a:pt x="130" y="1161"/>
                      </a:lnTo>
                      <a:lnTo>
                        <a:pt x="149" y="1085"/>
                      </a:lnTo>
                      <a:lnTo>
                        <a:pt x="167" y="1008"/>
                      </a:lnTo>
                      <a:lnTo>
                        <a:pt x="187" y="932"/>
                      </a:lnTo>
                      <a:lnTo>
                        <a:pt x="205" y="855"/>
                      </a:lnTo>
                      <a:lnTo>
                        <a:pt x="225" y="778"/>
                      </a:lnTo>
                      <a:lnTo>
                        <a:pt x="244" y="702"/>
                      </a:lnTo>
                      <a:lnTo>
                        <a:pt x="263" y="624"/>
                      </a:lnTo>
                      <a:lnTo>
                        <a:pt x="282" y="547"/>
                      </a:lnTo>
                      <a:lnTo>
                        <a:pt x="301" y="470"/>
                      </a:lnTo>
                      <a:lnTo>
                        <a:pt x="318" y="392"/>
                      </a:lnTo>
                      <a:lnTo>
                        <a:pt x="334" y="313"/>
                      </a:lnTo>
                      <a:lnTo>
                        <a:pt x="348" y="235"/>
                      </a:lnTo>
                      <a:lnTo>
                        <a:pt x="360" y="157"/>
                      </a:lnTo>
                      <a:lnTo>
                        <a:pt x="371" y="78"/>
                      </a:lnTo>
                      <a:lnTo>
                        <a:pt x="380" y="0"/>
                      </a:lnTo>
                      <a:lnTo>
                        <a:pt x="415" y="1"/>
                      </a:lnTo>
                      <a:lnTo>
                        <a:pt x="448" y="2"/>
                      </a:lnTo>
                      <a:lnTo>
                        <a:pt x="481" y="3"/>
                      </a:lnTo>
                      <a:lnTo>
                        <a:pt x="516" y="6"/>
                      </a:lnTo>
                      <a:lnTo>
                        <a:pt x="549" y="8"/>
                      </a:lnTo>
                      <a:lnTo>
                        <a:pt x="583" y="10"/>
                      </a:lnTo>
                      <a:lnTo>
                        <a:pt x="617" y="14"/>
                      </a:lnTo>
                      <a:lnTo>
                        <a:pt x="651" y="17"/>
                      </a:lnTo>
                      <a:lnTo>
                        <a:pt x="684" y="21"/>
                      </a:lnTo>
                      <a:lnTo>
                        <a:pt x="717" y="24"/>
                      </a:lnTo>
                      <a:lnTo>
                        <a:pt x="751" y="28"/>
                      </a:lnTo>
                      <a:lnTo>
                        <a:pt x="784" y="32"/>
                      </a:lnTo>
                      <a:lnTo>
                        <a:pt x="818" y="37"/>
                      </a:lnTo>
                      <a:lnTo>
                        <a:pt x="852" y="40"/>
                      </a:lnTo>
                      <a:lnTo>
                        <a:pt x="886" y="45"/>
                      </a:lnTo>
                      <a:lnTo>
                        <a:pt x="919" y="50"/>
                      </a:lnTo>
                      <a:lnTo>
                        <a:pt x="952" y="54"/>
                      </a:lnTo>
                      <a:lnTo>
                        <a:pt x="986" y="59"/>
                      </a:lnTo>
                      <a:lnTo>
                        <a:pt x="1019" y="63"/>
                      </a:lnTo>
                      <a:lnTo>
                        <a:pt x="1053" y="68"/>
                      </a:lnTo>
                      <a:lnTo>
                        <a:pt x="1086" y="73"/>
                      </a:lnTo>
                      <a:lnTo>
                        <a:pt x="1119" y="77"/>
                      </a:lnTo>
                      <a:lnTo>
                        <a:pt x="1153" y="81"/>
                      </a:lnTo>
                      <a:lnTo>
                        <a:pt x="1186" y="85"/>
                      </a:lnTo>
                      <a:lnTo>
                        <a:pt x="1220" y="90"/>
                      </a:lnTo>
                      <a:lnTo>
                        <a:pt x="1253" y="93"/>
                      </a:lnTo>
                      <a:lnTo>
                        <a:pt x="1286" y="97"/>
                      </a:lnTo>
                      <a:lnTo>
                        <a:pt x="1320" y="100"/>
                      </a:lnTo>
                      <a:lnTo>
                        <a:pt x="1353" y="104"/>
                      </a:lnTo>
                      <a:lnTo>
                        <a:pt x="1388" y="106"/>
                      </a:lnTo>
                      <a:lnTo>
                        <a:pt x="1421" y="108"/>
                      </a:lnTo>
                      <a:lnTo>
                        <a:pt x="1455" y="111"/>
                      </a:lnTo>
                      <a:lnTo>
                        <a:pt x="1461" y="111"/>
                      </a:lnTo>
                      <a:lnTo>
                        <a:pt x="1467" y="111"/>
                      </a:lnTo>
                      <a:lnTo>
                        <a:pt x="1474" y="111"/>
                      </a:lnTo>
                      <a:lnTo>
                        <a:pt x="1481" y="109"/>
                      </a:lnTo>
                      <a:lnTo>
                        <a:pt x="1487" y="108"/>
                      </a:lnTo>
                      <a:lnTo>
                        <a:pt x="1494" y="108"/>
                      </a:lnTo>
                      <a:lnTo>
                        <a:pt x="1499" y="108"/>
                      </a:lnTo>
                      <a:lnTo>
                        <a:pt x="1506" y="108"/>
                      </a:lnTo>
                      <a:lnTo>
                        <a:pt x="1505" y="151"/>
                      </a:lnTo>
                      <a:lnTo>
                        <a:pt x="1501" y="195"/>
                      </a:lnTo>
                      <a:lnTo>
                        <a:pt x="1495" y="237"/>
                      </a:lnTo>
                      <a:lnTo>
                        <a:pt x="1488" y="280"/>
                      </a:lnTo>
                      <a:lnTo>
                        <a:pt x="1480" y="323"/>
                      </a:lnTo>
                      <a:lnTo>
                        <a:pt x="1471" y="365"/>
                      </a:lnTo>
                      <a:lnTo>
                        <a:pt x="1463" y="408"/>
                      </a:lnTo>
                      <a:lnTo>
                        <a:pt x="1453" y="450"/>
                      </a:lnTo>
                      <a:lnTo>
                        <a:pt x="1443" y="511"/>
                      </a:lnTo>
                      <a:lnTo>
                        <a:pt x="1433" y="573"/>
                      </a:lnTo>
                      <a:lnTo>
                        <a:pt x="1420" y="634"/>
                      </a:lnTo>
                      <a:lnTo>
                        <a:pt x="1407" y="693"/>
                      </a:lnTo>
                      <a:lnTo>
                        <a:pt x="1393" y="755"/>
                      </a:lnTo>
                      <a:lnTo>
                        <a:pt x="1379" y="814"/>
                      </a:lnTo>
                      <a:lnTo>
                        <a:pt x="1364" y="874"/>
                      </a:lnTo>
                      <a:lnTo>
                        <a:pt x="1349" y="934"/>
                      </a:lnTo>
                      <a:lnTo>
                        <a:pt x="1332" y="994"/>
                      </a:lnTo>
                      <a:lnTo>
                        <a:pt x="1316" y="1053"/>
                      </a:lnTo>
                      <a:lnTo>
                        <a:pt x="1300" y="1113"/>
                      </a:lnTo>
                      <a:lnTo>
                        <a:pt x="1284" y="1173"/>
                      </a:lnTo>
                      <a:lnTo>
                        <a:pt x="1268" y="1231"/>
                      </a:lnTo>
                      <a:lnTo>
                        <a:pt x="1253" y="1291"/>
                      </a:lnTo>
                      <a:lnTo>
                        <a:pt x="1238" y="1350"/>
                      </a:lnTo>
                      <a:lnTo>
                        <a:pt x="1223" y="1410"/>
                      </a:lnTo>
                      <a:lnTo>
                        <a:pt x="1208" y="1479"/>
                      </a:lnTo>
                      <a:lnTo>
                        <a:pt x="1194" y="1548"/>
                      </a:lnTo>
                      <a:lnTo>
                        <a:pt x="1182" y="1617"/>
                      </a:lnTo>
                      <a:lnTo>
                        <a:pt x="1169" y="1688"/>
                      </a:lnTo>
                      <a:lnTo>
                        <a:pt x="1159" y="1757"/>
                      </a:lnTo>
                      <a:lnTo>
                        <a:pt x="1147" y="1826"/>
                      </a:lnTo>
                      <a:lnTo>
                        <a:pt x="1138" y="1896"/>
                      </a:lnTo>
                      <a:lnTo>
                        <a:pt x="1127" y="1965"/>
                      </a:lnTo>
                      <a:lnTo>
                        <a:pt x="1095" y="1965"/>
                      </a:lnTo>
                      <a:lnTo>
                        <a:pt x="1062" y="1965"/>
                      </a:lnTo>
                      <a:lnTo>
                        <a:pt x="1030" y="1965"/>
                      </a:lnTo>
                      <a:lnTo>
                        <a:pt x="997" y="1964"/>
                      </a:lnTo>
                      <a:lnTo>
                        <a:pt x="965" y="1962"/>
                      </a:lnTo>
                      <a:lnTo>
                        <a:pt x="933" y="1959"/>
                      </a:lnTo>
                      <a:lnTo>
                        <a:pt x="902" y="1957"/>
                      </a:lnTo>
                      <a:lnTo>
                        <a:pt x="869" y="1954"/>
                      </a:lnTo>
                      <a:lnTo>
                        <a:pt x="837" y="1951"/>
                      </a:lnTo>
                      <a:lnTo>
                        <a:pt x="805" y="1947"/>
                      </a:lnTo>
                      <a:lnTo>
                        <a:pt x="774" y="1943"/>
                      </a:lnTo>
                      <a:lnTo>
                        <a:pt x="742" y="1939"/>
                      </a:lnTo>
                      <a:lnTo>
                        <a:pt x="711" y="1934"/>
                      </a:lnTo>
                      <a:lnTo>
                        <a:pt x="678" y="1931"/>
                      </a:lnTo>
                      <a:lnTo>
                        <a:pt x="647" y="1925"/>
                      </a:lnTo>
                      <a:lnTo>
                        <a:pt x="615" y="1920"/>
                      </a:lnTo>
                      <a:lnTo>
                        <a:pt x="584" y="1916"/>
                      </a:lnTo>
                      <a:lnTo>
                        <a:pt x="552" y="1911"/>
                      </a:lnTo>
                      <a:lnTo>
                        <a:pt x="519" y="1906"/>
                      </a:lnTo>
                      <a:lnTo>
                        <a:pt x="488" y="1902"/>
                      </a:lnTo>
                      <a:lnTo>
                        <a:pt x="456" y="1897"/>
                      </a:lnTo>
                      <a:lnTo>
                        <a:pt x="424" y="1893"/>
                      </a:lnTo>
                      <a:lnTo>
                        <a:pt x="393" y="1888"/>
                      </a:lnTo>
                      <a:lnTo>
                        <a:pt x="360" y="1885"/>
                      </a:lnTo>
                      <a:lnTo>
                        <a:pt x="328" y="1881"/>
                      </a:lnTo>
                      <a:lnTo>
                        <a:pt x="296" y="1878"/>
                      </a:lnTo>
                      <a:lnTo>
                        <a:pt x="264" y="1874"/>
                      </a:lnTo>
                      <a:lnTo>
                        <a:pt x="231" y="1872"/>
                      </a:lnTo>
                      <a:lnTo>
                        <a:pt x="198" y="1868"/>
                      </a:lnTo>
                      <a:lnTo>
                        <a:pt x="166" y="1867"/>
                      </a:lnTo>
                      <a:lnTo>
                        <a:pt x="134" y="1866"/>
                      </a:lnTo>
                      <a:lnTo>
                        <a:pt x="100" y="1865"/>
                      </a:lnTo>
                      <a:lnTo>
                        <a:pt x="88" y="1864"/>
                      </a:lnTo>
                      <a:lnTo>
                        <a:pt x="75" y="1863"/>
                      </a:lnTo>
                      <a:lnTo>
                        <a:pt x="62" y="1862"/>
                      </a:lnTo>
                      <a:lnTo>
                        <a:pt x="51" y="1860"/>
                      </a:lnTo>
                      <a:lnTo>
                        <a:pt x="38" y="1859"/>
                      </a:lnTo>
                      <a:lnTo>
                        <a:pt x="25" y="1858"/>
                      </a:lnTo>
                      <a:lnTo>
                        <a:pt x="13" y="1857"/>
                      </a:lnTo>
                      <a:lnTo>
                        <a:pt x="0" y="18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38" name="Freeform 122">
                  <a:extLst>
                    <a:ext uri="{FF2B5EF4-FFF2-40B4-BE49-F238E27FC236}">
                      <a16:creationId xmlns:a16="http://schemas.microsoft.com/office/drawing/2014/main" id="{D08B5261-C48C-4215-BFCA-2CDF7DB5D303}"/>
                    </a:ext>
                  </a:extLst>
                </p:cNvPr>
                <p:cNvSpPr>
                  <a:spLocks/>
                </p:cNvSpPr>
                <p:nvPr/>
              </p:nvSpPr>
              <p:spPr bwMode="auto">
                <a:xfrm>
                  <a:off x="4383088" y="3678238"/>
                  <a:ext cx="1149350" cy="1493837"/>
                </a:xfrm>
                <a:custGeom>
                  <a:avLst/>
                  <a:gdLst>
                    <a:gd name="T0" fmla="*/ 2147483646 w 1448"/>
                    <a:gd name="T1" fmla="*/ 2147483646 h 1881"/>
                    <a:gd name="T2" fmla="*/ 2147483646 w 1448"/>
                    <a:gd name="T3" fmla="*/ 2147483646 h 1881"/>
                    <a:gd name="T4" fmla="*/ 2147483646 w 1448"/>
                    <a:gd name="T5" fmla="*/ 2147483646 h 1881"/>
                    <a:gd name="T6" fmla="*/ 2147483646 w 1448"/>
                    <a:gd name="T7" fmla="*/ 2147483646 h 1881"/>
                    <a:gd name="T8" fmla="*/ 2147483646 w 1448"/>
                    <a:gd name="T9" fmla="*/ 2147483646 h 1881"/>
                    <a:gd name="T10" fmla="*/ 2147483646 w 1448"/>
                    <a:gd name="T11" fmla="*/ 2147483646 h 1881"/>
                    <a:gd name="T12" fmla="*/ 2147483646 w 1448"/>
                    <a:gd name="T13" fmla="*/ 2147483646 h 1881"/>
                    <a:gd name="T14" fmla="*/ 2147483646 w 1448"/>
                    <a:gd name="T15" fmla="*/ 2147483646 h 1881"/>
                    <a:gd name="T16" fmla="*/ 2147483646 w 1448"/>
                    <a:gd name="T17" fmla="*/ 2147483646 h 1881"/>
                    <a:gd name="T18" fmla="*/ 2147483646 w 1448"/>
                    <a:gd name="T19" fmla="*/ 0 h 1881"/>
                    <a:gd name="T20" fmla="*/ 2147483646 w 1448"/>
                    <a:gd name="T21" fmla="*/ 2147483646 h 1881"/>
                    <a:gd name="T22" fmla="*/ 2147483646 w 1448"/>
                    <a:gd name="T23" fmla="*/ 2147483646 h 1881"/>
                    <a:gd name="T24" fmla="*/ 2147483646 w 1448"/>
                    <a:gd name="T25" fmla="*/ 2147483646 h 1881"/>
                    <a:gd name="T26" fmla="*/ 2147483646 w 1448"/>
                    <a:gd name="T27" fmla="*/ 2147483646 h 1881"/>
                    <a:gd name="T28" fmla="*/ 2147483646 w 1448"/>
                    <a:gd name="T29" fmla="*/ 2147483646 h 1881"/>
                    <a:gd name="T30" fmla="*/ 2147483646 w 1448"/>
                    <a:gd name="T31" fmla="*/ 2147483646 h 1881"/>
                    <a:gd name="T32" fmla="*/ 2147483646 w 1448"/>
                    <a:gd name="T33" fmla="*/ 2147483646 h 1881"/>
                    <a:gd name="T34" fmla="*/ 2147483646 w 1448"/>
                    <a:gd name="T35" fmla="*/ 2147483646 h 1881"/>
                    <a:gd name="T36" fmla="*/ 2147483646 w 1448"/>
                    <a:gd name="T37" fmla="*/ 2147483646 h 1881"/>
                    <a:gd name="T38" fmla="*/ 2147483646 w 1448"/>
                    <a:gd name="T39" fmla="*/ 2147483646 h 1881"/>
                    <a:gd name="T40" fmla="*/ 2147483646 w 1448"/>
                    <a:gd name="T41" fmla="*/ 2147483646 h 1881"/>
                    <a:gd name="T42" fmla="*/ 2147483646 w 1448"/>
                    <a:gd name="T43" fmla="*/ 2147483646 h 1881"/>
                    <a:gd name="T44" fmla="*/ 2147483646 w 1448"/>
                    <a:gd name="T45" fmla="*/ 2147483646 h 1881"/>
                    <a:gd name="T46" fmla="*/ 2147483646 w 1448"/>
                    <a:gd name="T47" fmla="*/ 2147483646 h 1881"/>
                    <a:gd name="T48" fmla="*/ 2147483646 w 1448"/>
                    <a:gd name="T49" fmla="*/ 2147483646 h 1881"/>
                    <a:gd name="T50" fmla="*/ 2147483646 w 1448"/>
                    <a:gd name="T51" fmla="*/ 2147483646 h 1881"/>
                    <a:gd name="T52" fmla="*/ 2147483646 w 1448"/>
                    <a:gd name="T53" fmla="*/ 2147483646 h 1881"/>
                    <a:gd name="T54" fmla="*/ 2147483646 w 1448"/>
                    <a:gd name="T55" fmla="*/ 2147483646 h 1881"/>
                    <a:gd name="T56" fmla="*/ 2147483646 w 1448"/>
                    <a:gd name="T57" fmla="*/ 2147483646 h 1881"/>
                    <a:gd name="T58" fmla="*/ 2147483646 w 1448"/>
                    <a:gd name="T59" fmla="*/ 2147483646 h 1881"/>
                    <a:gd name="T60" fmla="*/ 2147483646 w 1448"/>
                    <a:gd name="T61" fmla="*/ 2147483646 h 1881"/>
                    <a:gd name="T62" fmla="*/ 2147483646 w 1448"/>
                    <a:gd name="T63" fmla="*/ 2147483646 h 1881"/>
                    <a:gd name="T64" fmla="*/ 2147483646 w 1448"/>
                    <a:gd name="T65" fmla="*/ 2147483646 h 1881"/>
                    <a:gd name="T66" fmla="*/ 2147483646 w 1448"/>
                    <a:gd name="T67" fmla="*/ 2147483646 h 1881"/>
                    <a:gd name="T68" fmla="*/ 2147483646 w 1448"/>
                    <a:gd name="T69" fmla="*/ 2147483646 h 1881"/>
                    <a:gd name="T70" fmla="*/ 2147483646 w 1448"/>
                    <a:gd name="T71" fmla="*/ 2147483646 h 1881"/>
                    <a:gd name="T72" fmla="*/ 2147483646 w 1448"/>
                    <a:gd name="T73" fmla="*/ 2147483646 h 1881"/>
                    <a:gd name="T74" fmla="*/ 2147483646 w 1448"/>
                    <a:gd name="T75" fmla="*/ 2147483646 h 1881"/>
                    <a:gd name="T76" fmla="*/ 2147483646 w 1448"/>
                    <a:gd name="T77" fmla="*/ 2147483646 h 1881"/>
                    <a:gd name="T78" fmla="*/ 2147483646 w 1448"/>
                    <a:gd name="T79" fmla="*/ 2147483646 h 1881"/>
                    <a:gd name="T80" fmla="*/ 2147483646 w 1448"/>
                    <a:gd name="T81" fmla="*/ 2147483646 h 1881"/>
                    <a:gd name="T82" fmla="*/ 2147483646 w 1448"/>
                    <a:gd name="T83" fmla="*/ 2147483646 h 1881"/>
                    <a:gd name="T84" fmla="*/ 2147483646 w 1448"/>
                    <a:gd name="T85" fmla="*/ 2147483646 h 1881"/>
                    <a:gd name="T86" fmla="*/ 2147483646 w 1448"/>
                    <a:gd name="T87" fmla="*/ 2147483646 h 188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48"/>
                    <a:gd name="T133" fmla="*/ 0 h 1881"/>
                    <a:gd name="T134" fmla="*/ 1448 w 1448"/>
                    <a:gd name="T135" fmla="*/ 1881 h 188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48" h="1881">
                      <a:moveTo>
                        <a:pt x="0" y="1764"/>
                      </a:moveTo>
                      <a:lnTo>
                        <a:pt x="13" y="1669"/>
                      </a:lnTo>
                      <a:lnTo>
                        <a:pt x="27" y="1576"/>
                      </a:lnTo>
                      <a:lnTo>
                        <a:pt x="44" y="1481"/>
                      </a:lnTo>
                      <a:lnTo>
                        <a:pt x="62" y="1386"/>
                      </a:lnTo>
                      <a:lnTo>
                        <a:pt x="82" y="1292"/>
                      </a:lnTo>
                      <a:lnTo>
                        <a:pt x="103" y="1198"/>
                      </a:lnTo>
                      <a:lnTo>
                        <a:pt x="125" y="1105"/>
                      </a:lnTo>
                      <a:lnTo>
                        <a:pt x="148" y="1012"/>
                      </a:lnTo>
                      <a:lnTo>
                        <a:pt x="157" y="978"/>
                      </a:lnTo>
                      <a:lnTo>
                        <a:pt x="166" y="942"/>
                      </a:lnTo>
                      <a:lnTo>
                        <a:pt x="176" y="907"/>
                      </a:lnTo>
                      <a:lnTo>
                        <a:pt x="186" y="871"/>
                      </a:lnTo>
                      <a:lnTo>
                        <a:pt x="195" y="836"/>
                      </a:lnTo>
                      <a:lnTo>
                        <a:pt x="204" y="801"/>
                      </a:lnTo>
                      <a:lnTo>
                        <a:pt x="213" y="765"/>
                      </a:lnTo>
                      <a:lnTo>
                        <a:pt x="223" y="730"/>
                      </a:lnTo>
                      <a:lnTo>
                        <a:pt x="244" y="651"/>
                      </a:lnTo>
                      <a:lnTo>
                        <a:pt x="266" y="572"/>
                      </a:lnTo>
                      <a:lnTo>
                        <a:pt x="286" y="493"/>
                      </a:lnTo>
                      <a:lnTo>
                        <a:pt x="304" y="413"/>
                      </a:lnTo>
                      <a:lnTo>
                        <a:pt x="322" y="333"/>
                      </a:lnTo>
                      <a:lnTo>
                        <a:pt x="337" y="253"/>
                      </a:lnTo>
                      <a:lnTo>
                        <a:pt x="351" y="174"/>
                      </a:lnTo>
                      <a:lnTo>
                        <a:pt x="364" y="93"/>
                      </a:lnTo>
                      <a:lnTo>
                        <a:pt x="366" y="70"/>
                      </a:lnTo>
                      <a:lnTo>
                        <a:pt x="371" y="47"/>
                      </a:lnTo>
                      <a:lnTo>
                        <a:pt x="373" y="23"/>
                      </a:lnTo>
                      <a:lnTo>
                        <a:pt x="372" y="0"/>
                      </a:lnTo>
                      <a:lnTo>
                        <a:pt x="396" y="0"/>
                      </a:lnTo>
                      <a:lnTo>
                        <a:pt x="421" y="0"/>
                      </a:lnTo>
                      <a:lnTo>
                        <a:pt x="445" y="1"/>
                      </a:lnTo>
                      <a:lnTo>
                        <a:pt x="469" y="2"/>
                      </a:lnTo>
                      <a:lnTo>
                        <a:pt x="493" y="3"/>
                      </a:lnTo>
                      <a:lnTo>
                        <a:pt x="517" y="6"/>
                      </a:lnTo>
                      <a:lnTo>
                        <a:pt x="540" y="8"/>
                      </a:lnTo>
                      <a:lnTo>
                        <a:pt x="565" y="9"/>
                      </a:lnTo>
                      <a:lnTo>
                        <a:pt x="588" y="13"/>
                      </a:lnTo>
                      <a:lnTo>
                        <a:pt x="612" y="15"/>
                      </a:lnTo>
                      <a:lnTo>
                        <a:pt x="635" y="17"/>
                      </a:lnTo>
                      <a:lnTo>
                        <a:pt x="658" y="20"/>
                      </a:lnTo>
                      <a:lnTo>
                        <a:pt x="682" y="22"/>
                      </a:lnTo>
                      <a:lnTo>
                        <a:pt x="706" y="25"/>
                      </a:lnTo>
                      <a:lnTo>
                        <a:pt x="729" y="28"/>
                      </a:lnTo>
                      <a:lnTo>
                        <a:pt x="753" y="30"/>
                      </a:lnTo>
                      <a:lnTo>
                        <a:pt x="797" y="37"/>
                      </a:lnTo>
                      <a:lnTo>
                        <a:pt x="840" y="44"/>
                      </a:lnTo>
                      <a:lnTo>
                        <a:pt x="882" y="51"/>
                      </a:lnTo>
                      <a:lnTo>
                        <a:pt x="926" y="58"/>
                      </a:lnTo>
                      <a:lnTo>
                        <a:pt x="969" y="64"/>
                      </a:lnTo>
                      <a:lnTo>
                        <a:pt x="1011" y="71"/>
                      </a:lnTo>
                      <a:lnTo>
                        <a:pt x="1055" y="78"/>
                      </a:lnTo>
                      <a:lnTo>
                        <a:pt x="1098" y="84"/>
                      </a:lnTo>
                      <a:lnTo>
                        <a:pt x="1140" y="90"/>
                      </a:lnTo>
                      <a:lnTo>
                        <a:pt x="1184" y="96"/>
                      </a:lnTo>
                      <a:lnTo>
                        <a:pt x="1227" y="100"/>
                      </a:lnTo>
                      <a:lnTo>
                        <a:pt x="1271" y="104"/>
                      </a:lnTo>
                      <a:lnTo>
                        <a:pt x="1314" y="107"/>
                      </a:lnTo>
                      <a:lnTo>
                        <a:pt x="1359" y="109"/>
                      </a:lnTo>
                      <a:lnTo>
                        <a:pt x="1403" y="111"/>
                      </a:lnTo>
                      <a:lnTo>
                        <a:pt x="1448" y="112"/>
                      </a:lnTo>
                      <a:lnTo>
                        <a:pt x="1440" y="168"/>
                      </a:lnTo>
                      <a:lnTo>
                        <a:pt x="1431" y="223"/>
                      </a:lnTo>
                      <a:lnTo>
                        <a:pt x="1421" y="280"/>
                      </a:lnTo>
                      <a:lnTo>
                        <a:pt x="1411" y="336"/>
                      </a:lnTo>
                      <a:lnTo>
                        <a:pt x="1401" y="392"/>
                      </a:lnTo>
                      <a:lnTo>
                        <a:pt x="1390" y="448"/>
                      </a:lnTo>
                      <a:lnTo>
                        <a:pt x="1379" y="504"/>
                      </a:lnTo>
                      <a:lnTo>
                        <a:pt x="1367" y="560"/>
                      </a:lnTo>
                      <a:lnTo>
                        <a:pt x="1356" y="616"/>
                      </a:lnTo>
                      <a:lnTo>
                        <a:pt x="1343" y="673"/>
                      </a:lnTo>
                      <a:lnTo>
                        <a:pt x="1330" y="729"/>
                      </a:lnTo>
                      <a:lnTo>
                        <a:pt x="1317" y="786"/>
                      </a:lnTo>
                      <a:lnTo>
                        <a:pt x="1303" y="842"/>
                      </a:lnTo>
                      <a:lnTo>
                        <a:pt x="1288" y="898"/>
                      </a:lnTo>
                      <a:lnTo>
                        <a:pt x="1273" y="955"/>
                      </a:lnTo>
                      <a:lnTo>
                        <a:pt x="1258" y="1011"/>
                      </a:lnTo>
                      <a:lnTo>
                        <a:pt x="1245" y="1050"/>
                      </a:lnTo>
                      <a:lnTo>
                        <a:pt x="1234" y="1089"/>
                      </a:lnTo>
                      <a:lnTo>
                        <a:pt x="1223" y="1127"/>
                      </a:lnTo>
                      <a:lnTo>
                        <a:pt x="1213" y="1165"/>
                      </a:lnTo>
                      <a:lnTo>
                        <a:pt x="1203" y="1204"/>
                      </a:lnTo>
                      <a:lnTo>
                        <a:pt x="1192" y="1242"/>
                      </a:lnTo>
                      <a:lnTo>
                        <a:pt x="1182" y="1281"/>
                      </a:lnTo>
                      <a:lnTo>
                        <a:pt x="1171" y="1320"/>
                      </a:lnTo>
                      <a:lnTo>
                        <a:pt x="1156" y="1389"/>
                      </a:lnTo>
                      <a:lnTo>
                        <a:pt x="1142" y="1459"/>
                      </a:lnTo>
                      <a:lnTo>
                        <a:pt x="1127" y="1530"/>
                      </a:lnTo>
                      <a:lnTo>
                        <a:pt x="1113" y="1600"/>
                      </a:lnTo>
                      <a:lnTo>
                        <a:pt x="1100" y="1670"/>
                      </a:lnTo>
                      <a:lnTo>
                        <a:pt x="1089" y="1741"/>
                      </a:lnTo>
                      <a:lnTo>
                        <a:pt x="1078" y="1811"/>
                      </a:lnTo>
                      <a:lnTo>
                        <a:pt x="1069" y="1881"/>
                      </a:lnTo>
                      <a:lnTo>
                        <a:pt x="1054" y="1880"/>
                      </a:lnTo>
                      <a:lnTo>
                        <a:pt x="1040" y="1879"/>
                      </a:lnTo>
                      <a:lnTo>
                        <a:pt x="1025" y="1876"/>
                      </a:lnTo>
                      <a:lnTo>
                        <a:pt x="1010" y="1875"/>
                      </a:lnTo>
                      <a:lnTo>
                        <a:pt x="995" y="1874"/>
                      </a:lnTo>
                      <a:lnTo>
                        <a:pt x="981" y="1872"/>
                      </a:lnTo>
                      <a:lnTo>
                        <a:pt x="966" y="1871"/>
                      </a:lnTo>
                      <a:lnTo>
                        <a:pt x="953" y="1870"/>
                      </a:lnTo>
                      <a:lnTo>
                        <a:pt x="923" y="1868"/>
                      </a:lnTo>
                      <a:lnTo>
                        <a:pt x="892" y="1867"/>
                      </a:lnTo>
                      <a:lnTo>
                        <a:pt x="862" y="1865"/>
                      </a:lnTo>
                      <a:lnTo>
                        <a:pt x="832" y="1863"/>
                      </a:lnTo>
                      <a:lnTo>
                        <a:pt x="802" y="1860"/>
                      </a:lnTo>
                      <a:lnTo>
                        <a:pt x="772" y="1857"/>
                      </a:lnTo>
                      <a:lnTo>
                        <a:pt x="742" y="1853"/>
                      </a:lnTo>
                      <a:lnTo>
                        <a:pt x="713" y="1850"/>
                      </a:lnTo>
                      <a:lnTo>
                        <a:pt x="683" y="1846"/>
                      </a:lnTo>
                      <a:lnTo>
                        <a:pt x="653" y="1843"/>
                      </a:lnTo>
                      <a:lnTo>
                        <a:pt x="623" y="1838"/>
                      </a:lnTo>
                      <a:lnTo>
                        <a:pt x="594" y="1834"/>
                      </a:lnTo>
                      <a:lnTo>
                        <a:pt x="565" y="1830"/>
                      </a:lnTo>
                      <a:lnTo>
                        <a:pt x="535" y="1826"/>
                      </a:lnTo>
                      <a:lnTo>
                        <a:pt x="506" y="1821"/>
                      </a:lnTo>
                      <a:lnTo>
                        <a:pt x="476" y="1817"/>
                      </a:lnTo>
                      <a:lnTo>
                        <a:pt x="447" y="1812"/>
                      </a:lnTo>
                      <a:lnTo>
                        <a:pt x="417" y="1807"/>
                      </a:lnTo>
                      <a:lnTo>
                        <a:pt x="387" y="1803"/>
                      </a:lnTo>
                      <a:lnTo>
                        <a:pt x="358" y="1799"/>
                      </a:lnTo>
                      <a:lnTo>
                        <a:pt x="328" y="1795"/>
                      </a:lnTo>
                      <a:lnTo>
                        <a:pt x="299" y="1790"/>
                      </a:lnTo>
                      <a:lnTo>
                        <a:pt x="270" y="1787"/>
                      </a:lnTo>
                      <a:lnTo>
                        <a:pt x="240" y="1783"/>
                      </a:lnTo>
                      <a:lnTo>
                        <a:pt x="210" y="1780"/>
                      </a:lnTo>
                      <a:lnTo>
                        <a:pt x="180" y="1776"/>
                      </a:lnTo>
                      <a:lnTo>
                        <a:pt x="150" y="1773"/>
                      </a:lnTo>
                      <a:lnTo>
                        <a:pt x="120" y="1770"/>
                      </a:lnTo>
                      <a:lnTo>
                        <a:pt x="90" y="1768"/>
                      </a:lnTo>
                      <a:lnTo>
                        <a:pt x="60" y="1766"/>
                      </a:lnTo>
                      <a:lnTo>
                        <a:pt x="30" y="1765"/>
                      </a:lnTo>
                      <a:lnTo>
                        <a:pt x="0" y="17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39" name="Freeform 123">
                  <a:extLst>
                    <a:ext uri="{FF2B5EF4-FFF2-40B4-BE49-F238E27FC236}">
                      <a16:creationId xmlns:a16="http://schemas.microsoft.com/office/drawing/2014/main" id="{6B69E755-E84E-4AD6-9FC2-32317AAFCF3C}"/>
                    </a:ext>
                  </a:extLst>
                </p:cNvPr>
                <p:cNvSpPr>
                  <a:spLocks/>
                </p:cNvSpPr>
                <p:nvPr/>
              </p:nvSpPr>
              <p:spPr bwMode="auto">
                <a:xfrm>
                  <a:off x="4476750" y="3798888"/>
                  <a:ext cx="957262" cy="1247775"/>
                </a:xfrm>
                <a:custGeom>
                  <a:avLst/>
                  <a:gdLst>
                    <a:gd name="T0" fmla="*/ 2147483646 w 1204"/>
                    <a:gd name="T1" fmla="*/ 2147483646 h 1572"/>
                    <a:gd name="T2" fmla="*/ 2147483646 w 1204"/>
                    <a:gd name="T3" fmla="*/ 2147483646 h 1572"/>
                    <a:gd name="T4" fmla="*/ 2147483646 w 1204"/>
                    <a:gd name="T5" fmla="*/ 2147483646 h 1572"/>
                    <a:gd name="T6" fmla="*/ 2147483646 w 1204"/>
                    <a:gd name="T7" fmla="*/ 2147483646 h 1572"/>
                    <a:gd name="T8" fmla="*/ 2147483646 w 1204"/>
                    <a:gd name="T9" fmla="*/ 2147483646 h 1572"/>
                    <a:gd name="T10" fmla="*/ 2147483646 w 1204"/>
                    <a:gd name="T11" fmla="*/ 2147483646 h 1572"/>
                    <a:gd name="T12" fmla="*/ 2147483646 w 1204"/>
                    <a:gd name="T13" fmla="*/ 2147483646 h 1572"/>
                    <a:gd name="T14" fmla="*/ 2147483646 w 1204"/>
                    <a:gd name="T15" fmla="*/ 2147483646 h 1572"/>
                    <a:gd name="T16" fmla="*/ 2147483646 w 1204"/>
                    <a:gd name="T17" fmla="*/ 2147483646 h 1572"/>
                    <a:gd name="T18" fmla="*/ 2147483646 w 1204"/>
                    <a:gd name="T19" fmla="*/ 2147483646 h 1572"/>
                    <a:gd name="T20" fmla="*/ 2147483646 w 1204"/>
                    <a:gd name="T21" fmla="*/ 2147483646 h 1572"/>
                    <a:gd name="T22" fmla="*/ 2147483646 w 1204"/>
                    <a:gd name="T23" fmla="*/ 2147483646 h 1572"/>
                    <a:gd name="T24" fmla="*/ 2147483646 w 1204"/>
                    <a:gd name="T25" fmla="*/ 2147483646 h 1572"/>
                    <a:gd name="T26" fmla="*/ 2147483646 w 1204"/>
                    <a:gd name="T27" fmla="*/ 2147483646 h 1572"/>
                    <a:gd name="T28" fmla="*/ 2147483646 w 1204"/>
                    <a:gd name="T29" fmla="*/ 2147483646 h 1572"/>
                    <a:gd name="T30" fmla="*/ 2147483646 w 1204"/>
                    <a:gd name="T31" fmla="*/ 2147483646 h 1572"/>
                    <a:gd name="T32" fmla="*/ 2147483646 w 1204"/>
                    <a:gd name="T33" fmla="*/ 2147483646 h 1572"/>
                    <a:gd name="T34" fmla="*/ 2147483646 w 1204"/>
                    <a:gd name="T35" fmla="*/ 2147483646 h 1572"/>
                    <a:gd name="T36" fmla="*/ 2147483646 w 1204"/>
                    <a:gd name="T37" fmla="*/ 2147483646 h 1572"/>
                    <a:gd name="T38" fmla="*/ 2147483646 w 1204"/>
                    <a:gd name="T39" fmla="*/ 2147483646 h 1572"/>
                    <a:gd name="T40" fmla="*/ 2147483646 w 1204"/>
                    <a:gd name="T41" fmla="*/ 2147483646 h 1572"/>
                    <a:gd name="T42" fmla="*/ 2147483646 w 1204"/>
                    <a:gd name="T43" fmla="*/ 2147483646 h 1572"/>
                    <a:gd name="T44" fmla="*/ 2147483646 w 1204"/>
                    <a:gd name="T45" fmla="*/ 2147483646 h 1572"/>
                    <a:gd name="T46" fmla="*/ 2147483646 w 1204"/>
                    <a:gd name="T47" fmla="*/ 2147483646 h 1572"/>
                    <a:gd name="T48" fmla="*/ 2147483646 w 1204"/>
                    <a:gd name="T49" fmla="*/ 2147483646 h 1572"/>
                    <a:gd name="T50" fmla="*/ 2147483646 w 1204"/>
                    <a:gd name="T51" fmla="*/ 2147483646 h 1572"/>
                    <a:gd name="T52" fmla="*/ 2147483646 w 1204"/>
                    <a:gd name="T53" fmla="*/ 2147483646 h 1572"/>
                    <a:gd name="T54" fmla="*/ 2147483646 w 1204"/>
                    <a:gd name="T55" fmla="*/ 2147483646 h 1572"/>
                    <a:gd name="T56" fmla="*/ 2147483646 w 1204"/>
                    <a:gd name="T57" fmla="*/ 2147483646 h 1572"/>
                    <a:gd name="T58" fmla="*/ 2147483646 w 1204"/>
                    <a:gd name="T59" fmla="*/ 2147483646 h 1572"/>
                    <a:gd name="T60" fmla="*/ 2147483646 w 1204"/>
                    <a:gd name="T61" fmla="*/ 2147483646 h 1572"/>
                    <a:gd name="T62" fmla="*/ 2147483646 w 1204"/>
                    <a:gd name="T63" fmla="*/ 2147483646 h 1572"/>
                    <a:gd name="T64" fmla="*/ 2147483646 w 1204"/>
                    <a:gd name="T65" fmla="*/ 2147483646 h 1572"/>
                    <a:gd name="T66" fmla="*/ 2147483646 w 1204"/>
                    <a:gd name="T67" fmla="*/ 2147483646 h 1572"/>
                    <a:gd name="T68" fmla="*/ 2147483646 w 1204"/>
                    <a:gd name="T69" fmla="*/ 2147483646 h 1572"/>
                    <a:gd name="T70" fmla="*/ 2147483646 w 1204"/>
                    <a:gd name="T71" fmla="*/ 2147483646 h 1572"/>
                    <a:gd name="T72" fmla="*/ 2147483646 w 1204"/>
                    <a:gd name="T73" fmla="*/ 2147483646 h 1572"/>
                    <a:gd name="T74" fmla="*/ 2147483646 w 1204"/>
                    <a:gd name="T75" fmla="*/ 2147483646 h 1572"/>
                    <a:gd name="T76" fmla="*/ 2147483646 w 1204"/>
                    <a:gd name="T77" fmla="*/ 2147483646 h 1572"/>
                    <a:gd name="T78" fmla="*/ 2147483646 w 1204"/>
                    <a:gd name="T79" fmla="*/ 2147483646 h 1572"/>
                    <a:gd name="T80" fmla="*/ 2147483646 w 1204"/>
                    <a:gd name="T81" fmla="*/ 2147483646 h 1572"/>
                    <a:gd name="T82" fmla="*/ 2147483646 w 1204"/>
                    <a:gd name="T83" fmla="*/ 2147483646 h 1572"/>
                    <a:gd name="T84" fmla="*/ 0 w 1204"/>
                    <a:gd name="T85" fmla="*/ 2147483646 h 157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04"/>
                    <a:gd name="T130" fmla="*/ 0 h 1572"/>
                    <a:gd name="T131" fmla="*/ 1204 w 1204"/>
                    <a:gd name="T132" fmla="*/ 1572 h 157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04" h="1572">
                      <a:moveTo>
                        <a:pt x="0" y="1485"/>
                      </a:moveTo>
                      <a:lnTo>
                        <a:pt x="8" y="1422"/>
                      </a:lnTo>
                      <a:lnTo>
                        <a:pt x="17" y="1360"/>
                      </a:lnTo>
                      <a:lnTo>
                        <a:pt x="28" y="1299"/>
                      </a:lnTo>
                      <a:lnTo>
                        <a:pt x="39" y="1237"/>
                      </a:lnTo>
                      <a:lnTo>
                        <a:pt x="51" y="1175"/>
                      </a:lnTo>
                      <a:lnTo>
                        <a:pt x="63" y="1114"/>
                      </a:lnTo>
                      <a:lnTo>
                        <a:pt x="76" y="1053"/>
                      </a:lnTo>
                      <a:lnTo>
                        <a:pt x="90" y="990"/>
                      </a:lnTo>
                      <a:lnTo>
                        <a:pt x="105" y="929"/>
                      </a:lnTo>
                      <a:lnTo>
                        <a:pt x="120" y="868"/>
                      </a:lnTo>
                      <a:lnTo>
                        <a:pt x="135" y="807"/>
                      </a:lnTo>
                      <a:lnTo>
                        <a:pt x="150" y="745"/>
                      </a:lnTo>
                      <a:lnTo>
                        <a:pt x="165" y="684"/>
                      </a:lnTo>
                      <a:lnTo>
                        <a:pt x="180" y="623"/>
                      </a:lnTo>
                      <a:lnTo>
                        <a:pt x="196" y="561"/>
                      </a:lnTo>
                      <a:lnTo>
                        <a:pt x="211" y="500"/>
                      </a:lnTo>
                      <a:lnTo>
                        <a:pt x="227" y="439"/>
                      </a:lnTo>
                      <a:lnTo>
                        <a:pt x="241" y="377"/>
                      </a:lnTo>
                      <a:lnTo>
                        <a:pt x="254" y="314"/>
                      </a:lnTo>
                      <a:lnTo>
                        <a:pt x="267" y="251"/>
                      </a:lnTo>
                      <a:lnTo>
                        <a:pt x="279" y="189"/>
                      </a:lnTo>
                      <a:lnTo>
                        <a:pt x="289" y="125"/>
                      </a:lnTo>
                      <a:lnTo>
                        <a:pt x="297" y="62"/>
                      </a:lnTo>
                      <a:lnTo>
                        <a:pt x="304" y="0"/>
                      </a:lnTo>
                      <a:lnTo>
                        <a:pt x="332" y="1"/>
                      </a:lnTo>
                      <a:lnTo>
                        <a:pt x="358" y="2"/>
                      </a:lnTo>
                      <a:lnTo>
                        <a:pt x="386" y="3"/>
                      </a:lnTo>
                      <a:lnTo>
                        <a:pt x="412" y="4"/>
                      </a:lnTo>
                      <a:lnTo>
                        <a:pt x="440" y="7"/>
                      </a:lnTo>
                      <a:lnTo>
                        <a:pt x="466" y="9"/>
                      </a:lnTo>
                      <a:lnTo>
                        <a:pt x="493" y="11"/>
                      </a:lnTo>
                      <a:lnTo>
                        <a:pt x="520" y="14"/>
                      </a:lnTo>
                      <a:lnTo>
                        <a:pt x="547" y="17"/>
                      </a:lnTo>
                      <a:lnTo>
                        <a:pt x="575" y="19"/>
                      </a:lnTo>
                      <a:lnTo>
                        <a:pt x="601" y="23"/>
                      </a:lnTo>
                      <a:lnTo>
                        <a:pt x="628" y="26"/>
                      </a:lnTo>
                      <a:lnTo>
                        <a:pt x="654" y="30"/>
                      </a:lnTo>
                      <a:lnTo>
                        <a:pt x="682" y="33"/>
                      </a:lnTo>
                      <a:lnTo>
                        <a:pt x="708" y="37"/>
                      </a:lnTo>
                      <a:lnTo>
                        <a:pt x="735" y="40"/>
                      </a:lnTo>
                      <a:lnTo>
                        <a:pt x="761" y="44"/>
                      </a:lnTo>
                      <a:lnTo>
                        <a:pt x="789" y="47"/>
                      </a:lnTo>
                      <a:lnTo>
                        <a:pt x="815" y="52"/>
                      </a:lnTo>
                      <a:lnTo>
                        <a:pt x="842" y="55"/>
                      </a:lnTo>
                      <a:lnTo>
                        <a:pt x="868" y="59"/>
                      </a:lnTo>
                      <a:lnTo>
                        <a:pt x="895" y="62"/>
                      </a:lnTo>
                      <a:lnTo>
                        <a:pt x="922" y="65"/>
                      </a:lnTo>
                      <a:lnTo>
                        <a:pt x="949" y="69"/>
                      </a:lnTo>
                      <a:lnTo>
                        <a:pt x="975" y="72"/>
                      </a:lnTo>
                      <a:lnTo>
                        <a:pt x="1002" y="75"/>
                      </a:lnTo>
                      <a:lnTo>
                        <a:pt x="1029" y="78"/>
                      </a:lnTo>
                      <a:lnTo>
                        <a:pt x="1056" y="80"/>
                      </a:lnTo>
                      <a:lnTo>
                        <a:pt x="1082" y="83"/>
                      </a:lnTo>
                      <a:lnTo>
                        <a:pt x="1109" y="85"/>
                      </a:lnTo>
                      <a:lnTo>
                        <a:pt x="1137" y="87"/>
                      </a:lnTo>
                      <a:lnTo>
                        <a:pt x="1163" y="89"/>
                      </a:lnTo>
                      <a:lnTo>
                        <a:pt x="1169" y="89"/>
                      </a:lnTo>
                      <a:lnTo>
                        <a:pt x="1173" y="90"/>
                      </a:lnTo>
                      <a:lnTo>
                        <a:pt x="1179" y="89"/>
                      </a:lnTo>
                      <a:lnTo>
                        <a:pt x="1184" y="89"/>
                      </a:lnTo>
                      <a:lnTo>
                        <a:pt x="1190" y="87"/>
                      </a:lnTo>
                      <a:lnTo>
                        <a:pt x="1194" y="87"/>
                      </a:lnTo>
                      <a:lnTo>
                        <a:pt x="1200" y="87"/>
                      </a:lnTo>
                      <a:lnTo>
                        <a:pt x="1204" y="87"/>
                      </a:lnTo>
                      <a:lnTo>
                        <a:pt x="1203" y="122"/>
                      </a:lnTo>
                      <a:lnTo>
                        <a:pt x="1201" y="156"/>
                      </a:lnTo>
                      <a:lnTo>
                        <a:pt x="1196" y="191"/>
                      </a:lnTo>
                      <a:lnTo>
                        <a:pt x="1191" y="224"/>
                      </a:lnTo>
                      <a:lnTo>
                        <a:pt x="1184" y="259"/>
                      </a:lnTo>
                      <a:lnTo>
                        <a:pt x="1177" y="292"/>
                      </a:lnTo>
                      <a:lnTo>
                        <a:pt x="1169" y="327"/>
                      </a:lnTo>
                      <a:lnTo>
                        <a:pt x="1162" y="360"/>
                      </a:lnTo>
                      <a:lnTo>
                        <a:pt x="1146" y="458"/>
                      </a:lnTo>
                      <a:lnTo>
                        <a:pt x="1125" y="555"/>
                      </a:lnTo>
                      <a:lnTo>
                        <a:pt x="1102" y="652"/>
                      </a:lnTo>
                      <a:lnTo>
                        <a:pt x="1078" y="747"/>
                      </a:lnTo>
                      <a:lnTo>
                        <a:pt x="1052" y="843"/>
                      </a:lnTo>
                      <a:lnTo>
                        <a:pt x="1027" y="939"/>
                      </a:lnTo>
                      <a:lnTo>
                        <a:pt x="1002" y="1034"/>
                      </a:lnTo>
                      <a:lnTo>
                        <a:pt x="979" y="1129"/>
                      </a:lnTo>
                      <a:lnTo>
                        <a:pt x="966" y="1184"/>
                      </a:lnTo>
                      <a:lnTo>
                        <a:pt x="956" y="1239"/>
                      </a:lnTo>
                      <a:lnTo>
                        <a:pt x="945" y="1295"/>
                      </a:lnTo>
                      <a:lnTo>
                        <a:pt x="935" y="1350"/>
                      </a:lnTo>
                      <a:lnTo>
                        <a:pt x="927" y="1405"/>
                      </a:lnTo>
                      <a:lnTo>
                        <a:pt x="918" y="1460"/>
                      </a:lnTo>
                      <a:lnTo>
                        <a:pt x="910" y="1517"/>
                      </a:lnTo>
                      <a:lnTo>
                        <a:pt x="902" y="1572"/>
                      </a:lnTo>
                      <a:lnTo>
                        <a:pt x="875" y="1572"/>
                      </a:lnTo>
                      <a:lnTo>
                        <a:pt x="850" y="1572"/>
                      </a:lnTo>
                      <a:lnTo>
                        <a:pt x="823" y="1572"/>
                      </a:lnTo>
                      <a:lnTo>
                        <a:pt x="798" y="1571"/>
                      </a:lnTo>
                      <a:lnTo>
                        <a:pt x="773" y="1570"/>
                      </a:lnTo>
                      <a:lnTo>
                        <a:pt x="746" y="1568"/>
                      </a:lnTo>
                      <a:lnTo>
                        <a:pt x="721" y="1566"/>
                      </a:lnTo>
                      <a:lnTo>
                        <a:pt x="695" y="1564"/>
                      </a:lnTo>
                      <a:lnTo>
                        <a:pt x="670" y="1561"/>
                      </a:lnTo>
                      <a:lnTo>
                        <a:pt x="645" y="1558"/>
                      </a:lnTo>
                      <a:lnTo>
                        <a:pt x="618" y="1555"/>
                      </a:lnTo>
                      <a:lnTo>
                        <a:pt x="593" y="1551"/>
                      </a:lnTo>
                      <a:lnTo>
                        <a:pt x="568" y="1548"/>
                      </a:lnTo>
                      <a:lnTo>
                        <a:pt x="542" y="1545"/>
                      </a:lnTo>
                      <a:lnTo>
                        <a:pt x="517" y="1541"/>
                      </a:lnTo>
                      <a:lnTo>
                        <a:pt x="492" y="1537"/>
                      </a:lnTo>
                      <a:lnTo>
                        <a:pt x="466" y="1533"/>
                      </a:lnTo>
                      <a:lnTo>
                        <a:pt x="441" y="1530"/>
                      </a:lnTo>
                      <a:lnTo>
                        <a:pt x="416" y="1525"/>
                      </a:lnTo>
                      <a:lnTo>
                        <a:pt x="390" y="1522"/>
                      </a:lnTo>
                      <a:lnTo>
                        <a:pt x="365" y="1518"/>
                      </a:lnTo>
                      <a:lnTo>
                        <a:pt x="338" y="1515"/>
                      </a:lnTo>
                      <a:lnTo>
                        <a:pt x="313" y="1511"/>
                      </a:lnTo>
                      <a:lnTo>
                        <a:pt x="288" y="1508"/>
                      </a:lnTo>
                      <a:lnTo>
                        <a:pt x="262" y="1504"/>
                      </a:lnTo>
                      <a:lnTo>
                        <a:pt x="236" y="1502"/>
                      </a:lnTo>
                      <a:lnTo>
                        <a:pt x="211" y="1500"/>
                      </a:lnTo>
                      <a:lnTo>
                        <a:pt x="184" y="1497"/>
                      </a:lnTo>
                      <a:lnTo>
                        <a:pt x="158" y="1496"/>
                      </a:lnTo>
                      <a:lnTo>
                        <a:pt x="132" y="1494"/>
                      </a:lnTo>
                      <a:lnTo>
                        <a:pt x="106" y="1493"/>
                      </a:lnTo>
                      <a:lnTo>
                        <a:pt x="79" y="1493"/>
                      </a:lnTo>
                      <a:lnTo>
                        <a:pt x="69" y="1492"/>
                      </a:lnTo>
                      <a:lnTo>
                        <a:pt x="60" y="1490"/>
                      </a:lnTo>
                      <a:lnTo>
                        <a:pt x="49" y="1489"/>
                      </a:lnTo>
                      <a:lnTo>
                        <a:pt x="40" y="1488"/>
                      </a:lnTo>
                      <a:lnTo>
                        <a:pt x="30" y="1488"/>
                      </a:lnTo>
                      <a:lnTo>
                        <a:pt x="19" y="1487"/>
                      </a:lnTo>
                      <a:lnTo>
                        <a:pt x="10" y="1486"/>
                      </a:lnTo>
                      <a:lnTo>
                        <a:pt x="0" y="1485"/>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40" name="Freeform 124">
                  <a:extLst>
                    <a:ext uri="{FF2B5EF4-FFF2-40B4-BE49-F238E27FC236}">
                      <a16:creationId xmlns:a16="http://schemas.microsoft.com/office/drawing/2014/main" id="{1A176AFD-65DF-40AB-B5B9-1AE5EF1115E4}"/>
                    </a:ext>
                  </a:extLst>
                </p:cNvPr>
                <p:cNvSpPr>
                  <a:spLocks/>
                </p:cNvSpPr>
                <p:nvPr/>
              </p:nvSpPr>
              <p:spPr bwMode="auto">
                <a:xfrm>
                  <a:off x="4497388" y="3827463"/>
                  <a:ext cx="919162" cy="1195387"/>
                </a:xfrm>
                <a:custGeom>
                  <a:avLst/>
                  <a:gdLst>
                    <a:gd name="T0" fmla="*/ 2147483646 w 1158"/>
                    <a:gd name="T1" fmla="*/ 2147483646 h 1504"/>
                    <a:gd name="T2" fmla="*/ 2147483646 w 1158"/>
                    <a:gd name="T3" fmla="*/ 2147483646 h 1504"/>
                    <a:gd name="T4" fmla="*/ 2147483646 w 1158"/>
                    <a:gd name="T5" fmla="*/ 2147483646 h 1504"/>
                    <a:gd name="T6" fmla="*/ 2147483646 w 1158"/>
                    <a:gd name="T7" fmla="*/ 2147483646 h 1504"/>
                    <a:gd name="T8" fmla="*/ 2147483646 w 1158"/>
                    <a:gd name="T9" fmla="*/ 2147483646 h 1504"/>
                    <a:gd name="T10" fmla="*/ 2147483646 w 1158"/>
                    <a:gd name="T11" fmla="*/ 2147483646 h 1504"/>
                    <a:gd name="T12" fmla="*/ 2147483646 w 1158"/>
                    <a:gd name="T13" fmla="*/ 2147483646 h 1504"/>
                    <a:gd name="T14" fmla="*/ 2147483646 w 1158"/>
                    <a:gd name="T15" fmla="*/ 2147483646 h 1504"/>
                    <a:gd name="T16" fmla="*/ 2147483646 w 1158"/>
                    <a:gd name="T17" fmla="*/ 2147483646 h 1504"/>
                    <a:gd name="T18" fmla="*/ 2147483646 w 1158"/>
                    <a:gd name="T19" fmla="*/ 2147483646 h 1504"/>
                    <a:gd name="T20" fmla="*/ 2147483646 w 1158"/>
                    <a:gd name="T21" fmla="*/ 2147483646 h 1504"/>
                    <a:gd name="T22" fmla="*/ 2147483646 w 1158"/>
                    <a:gd name="T23" fmla="*/ 2147483646 h 1504"/>
                    <a:gd name="T24" fmla="*/ 2147483646 w 1158"/>
                    <a:gd name="T25" fmla="*/ 2147483646 h 1504"/>
                    <a:gd name="T26" fmla="*/ 2147483646 w 1158"/>
                    <a:gd name="T27" fmla="*/ 2147483646 h 1504"/>
                    <a:gd name="T28" fmla="*/ 2147483646 w 1158"/>
                    <a:gd name="T29" fmla="*/ 0 h 1504"/>
                    <a:gd name="T30" fmla="*/ 2147483646 w 1158"/>
                    <a:gd name="T31" fmla="*/ 2147483646 h 1504"/>
                    <a:gd name="T32" fmla="*/ 2147483646 w 1158"/>
                    <a:gd name="T33" fmla="*/ 2147483646 h 1504"/>
                    <a:gd name="T34" fmla="*/ 2147483646 w 1158"/>
                    <a:gd name="T35" fmla="*/ 2147483646 h 1504"/>
                    <a:gd name="T36" fmla="*/ 2147483646 w 1158"/>
                    <a:gd name="T37" fmla="*/ 2147483646 h 1504"/>
                    <a:gd name="T38" fmla="*/ 2147483646 w 1158"/>
                    <a:gd name="T39" fmla="*/ 2147483646 h 1504"/>
                    <a:gd name="T40" fmla="*/ 2147483646 w 1158"/>
                    <a:gd name="T41" fmla="*/ 2147483646 h 1504"/>
                    <a:gd name="T42" fmla="*/ 2147483646 w 1158"/>
                    <a:gd name="T43" fmla="*/ 2147483646 h 1504"/>
                    <a:gd name="T44" fmla="*/ 2147483646 w 1158"/>
                    <a:gd name="T45" fmla="*/ 2147483646 h 1504"/>
                    <a:gd name="T46" fmla="*/ 2147483646 w 1158"/>
                    <a:gd name="T47" fmla="*/ 2147483646 h 1504"/>
                    <a:gd name="T48" fmla="*/ 2147483646 w 1158"/>
                    <a:gd name="T49" fmla="*/ 2147483646 h 1504"/>
                    <a:gd name="T50" fmla="*/ 2147483646 w 1158"/>
                    <a:gd name="T51" fmla="*/ 2147483646 h 1504"/>
                    <a:gd name="T52" fmla="*/ 2147483646 w 1158"/>
                    <a:gd name="T53" fmla="*/ 2147483646 h 1504"/>
                    <a:gd name="T54" fmla="*/ 2147483646 w 1158"/>
                    <a:gd name="T55" fmla="*/ 2147483646 h 1504"/>
                    <a:gd name="T56" fmla="*/ 2147483646 w 1158"/>
                    <a:gd name="T57" fmla="*/ 2147483646 h 1504"/>
                    <a:gd name="T58" fmla="*/ 2147483646 w 1158"/>
                    <a:gd name="T59" fmla="*/ 2147483646 h 1504"/>
                    <a:gd name="T60" fmla="*/ 2147483646 w 1158"/>
                    <a:gd name="T61" fmla="*/ 2147483646 h 1504"/>
                    <a:gd name="T62" fmla="*/ 2147483646 w 1158"/>
                    <a:gd name="T63" fmla="*/ 2147483646 h 1504"/>
                    <a:gd name="T64" fmla="*/ 2147483646 w 1158"/>
                    <a:gd name="T65" fmla="*/ 2147483646 h 1504"/>
                    <a:gd name="T66" fmla="*/ 2147483646 w 1158"/>
                    <a:gd name="T67" fmla="*/ 2147483646 h 1504"/>
                    <a:gd name="T68" fmla="*/ 2147483646 w 1158"/>
                    <a:gd name="T69" fmla="*/ 2147483646 h 1504"/>
                    <a:gd name="T70" fmla="*/ 2147483646 w 1158"/>
                    <a:gd name="T71" fmla="*/ 2147483646 h 1504"/>
                    <a:gd name="T72" fmla="*/ 2147483646 w 1158"/>
                    <a:gd name="T73" fmla="*/ 2147483646 h 1504"/>
                    <a:gd name="T74" fmla="*/ 2147483646 w 1158"/>
                    <a:gd name="T75" fmla="*/ 2147483646 h 1504"/>
                    <a:gd name="T76" fmla="*/ 2147483646 w 1158"/>
                    <a:gd name="T77" fmla="*/ 2147483646 h 1504"/>
                    <a:gd name="T78" fmla="*/ 2147483646 w 1158"/>
                    <a:gd name="T79" fmla="*/ 2147483646 h 1504"/>
                    <a:gd name="T80" fmla="*/ 2147483646 w 1158"/>
                    <a:gd name="T81" fmla="*/ 2147483646 h 1504"/>
                    <a:gd name="T82" fmla="*/ 2147483646 w 1158"/>
                    <a:gd name="T83" fmla="*/ 2147483646 h 1504"/>
                    <a:gd name="T84" fmla="*/ 2147483646 w 1158"/>
                    <a:gd name="T85" fmla="*/ 2147483646 h 1504"/>
                    <a:gd name="T86" fmla="*/ 2147483646 w 1158"/>
                    <a:gd name="T87" fmla="*/ 2147483646 h 1504"/>
                    <a:gd name="T88" fmla="*/ 2147483646 w 1158"/>
                    <a:gd name="T89" fmla="*/ 2147483646 h 1504"/>
                    <a:gd name="T90" fmla="*/ 2147483646 w 1158"/>
                    <a:gd name="T91" fmla="*/ 2147483646 h 1504"/>
                    <a:gd name="T92" fmla="*/ 2147483646 w 1158"/>
                    <a:gd name="T93" fmla="*/ 2147483646 h 1504"/>
                    <a:gd name="T94" fmla="*/ 2147483646 w 1158"/>
                    <a:gd name="T95" fmla="*/ 2147483646 h 1504"/>
                    <a:gd name="T96" fmla="*/ 2147483646 w 1158"/>
                    <a:gd name="T97" fmla="*/ 2147483646 h 1504"/>
                    <a:gd name="T98" fmla="*/ 2147483646 w 1158"/>
                    <a:gd name="T99" fmla="*/ 2147483646 h 1504"/>
                    <a:gd name="T100" fmla="*/ 2147483646 w 1158"/>
                    <a:gd name="T101" fmla="*/ 2147483646 h 1504"/>
                    <a:gd name="T102" fmla="*/ 2147483646 w 1158"/>
                    <a:gd name="T103" fmla="*/ 2147483646 h 1504"/>
                    <a:gd name="T104" fmla="*/ 2147483646 w 1158"/>
                    <a:gd name="T105" fmla="*/ 2147483646 h 1504"/>
                    <a:gd name="T106" fmla="*/ 2147483646 w 1158"/>
                    <a:gd name="T107" fmla="*/ 2147483646 h 1504"/>
                    <a:gd name="T108" fmla="*/ 2147483646 w 1158"/>
                    <a:gd name="T109" fmla="*/ 2147483646 h 1504"/>
                    <a:gd name="T110" fmla="*/ 2147483646 w 1158"/>
                    <a:gd name="T111" fmla="*/ 2147483646 h 1504"/>
                    <a:gd name="T112" fmla="*/ 2147483646 w 1158"/>
                    <a:gd name="T113" fmla="*/ 2147483646 h 1504"/>
                    <a:gd name="T114" fmla="*/ 2147483646 w 1158"/>
                    <a:gd name="T115" fmla="*/ 2147483646 h 1504"/>
                    <a:gd name="T116" fmla="*/ 2147483646 w 1158"/>
                    <a:gd name="T117" fmla="*/ 2147483646 h 1504"/>
                    <a:gd name="T118" fmla="*/ 2147483646 w 1158"/>
                    <a:gd name="T119" fmla="*/ 2147483646 h 1504"/>
                    <a:gd name="T120" fmla="*/ 2147483646 w 1158"/>
                    <a:gd name="T121" fmla="*/ 2147483646 h 1504"/>
                    <a:gd name="T122" fmla="*/ 2147483646 w 1158"/>
                    <a:gd name="T123" fmla="*/ 2147483646 h 1504"/>
                    <a:gd name="T124" fmla="*/ 0 w 1158"/>
                    <a:gd name="T125" fmla="*/ 2147483646 h 15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58"/>
                    <a:gd name="T190" fmla="*/ 0 h 1504"/>
                    <a:gd name="T191" fmla="*/ 1158 w 1158"/>
                    <a:gd name="T192" fmla="*/ 1504 h 15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58" h="1504">
                      <a:moveTo>
                        <a:pt x="0" y="1410"/>
                      </a:moveTo>
                      <a:lnTo>
                        <a:pt x="9" y="1335"/>
                      </a:lnTo>
                      <a:lnTo>
                        <a:pt x="21" y="1259"/>
                      </a:lnTo>
                      <a:lnTo>
                        <a:pt x="35" y="1184"/>
                      </a:lnTo>
                      <a:lnTo>
                        <a:pt x="50" y="1108"/>
                      </a:lnTo>
                      <a:lnTo>
                        <a:pt x="66" y="1033"/>
                      </a:lnTo>
                      <a:lnTo>
                        <a:pt x="83" y="958"/>
                      </a:lnTo>
                      <a:lnTo>
                        <a:pt x="100" y="883"/>
                      </a:lnTo>
                      <a:lnTo>
                        <a:pt x="119" y="810"/>
                      </a:lnTo>
                      <a:lnTo>
                        <a:pt x="126" y="782"/>
                      </a:lnTo>
                      <a:lnTo>
                        <a:pt x="134" y="753"/>
                      </a:lnTo>
                      <a:lnTo>
                        <a:pt x="141" y="725"/>
                      </a:lnTo>
                      <a:lnTo>
                        <a:pt x="149" y="697"/>
                      </a:lnTo>
                      <a:lnTo>
                        <a:pt x="157" y="668"/>
                      </a:lnTo>
                      <a:lnTo>
                        <a:pt x="164" y="640"/>
                      </a:lnTo>
                      <a:lnTo>
                        <a:pt x="172" y="611"/>
                      </a:lnTo>
                      <a:lnTo>
                        <a:pt x="179" y="584"/>
                      </a:lnTo>
                      <a:lnTo>
                        <a:pt x="196" y="520"/>
                      </a:lnTo>
                      <a:lnTo>
                        <a:pt x="213" y="457"/>
                      </a:lnTo>
                      <a:lnTo>
                        <a:pt x="229" y="394"/>
                      </a:lnTo>
                      <a:lnTo>
                        <a:pt x="244" y="330"/>
                      </a:lnTo>
                      <a:lnTo>
                        <a:pt x="257" y="266"/>
                      </a:lnTo>
                      <a:lnTo>
                        <a:pt x="270" y="202"/>
                      </a:lnTo>
                      <a:lnTo>
                        <a:pt x="281" y="138"/>
                      </a:lnTo>
                      <a:lnTo>
                        <a:pt x="292" y="75"/>
                      </a:lnTo>
                      <a:lnTo>
                        <a:pt x="294" y="56"/>
                      </a:lnTo>
                      <a:lnTo>
                        <a:pt x="297" y="37"/>
                      </a:lnTo>
                      <a:lnTo>
                        <a:pt x="298" y="18"/>
                      </a:lnTo>
                      <a:lnTo>
                        <a:pt x="298" y="0"/>
                      </a:lnTo>
                      <a:lnTo>
                        <a:pt x="318" y="0"/>
                      </a:lnTo>
                      <a:lnTo>
                        <a:pt x="338" y="0"/>
                      </a:lnTo>
                      <a:lnTo>
                        <a:pt x="357" y="1"/>
                      </a:lnTo>
                      <a:lnTo>
                        <a:pt x="376" y="2"/>
                      </a:lnTo>
                      <a:lnTo>
                        <a:pt x="395" y="3"/>
                      </a:lnTo>
                      <a:lnTo>
                        <a:pt x="414" y="4"/>
                      </a:lnTo>
                      <a:lnTo>
                        <a:pt x="433" y="5"/>
                      </a:lnTo>
                      <a:lnTo>
                        <a:pt x="452" y="8"/>
                      </a:lnTo>
                      <a:lnTo>
                        <a:pt x="470" y="9"/>
                      </a:lnTo>
                      <a:lnTo>
                        <a:pt x="490" y="11"/>
                      </a:lnTo>
                      <a:lnTo>
                        <a:pt x="508" y="14"/>
                      </a:lnTo>
                      <a:lnTo>
                        <a:pt x="526" y="16"/>
                      </a:lnTo>
                      <a:lnTo>
                        <a:pt x="546" y="18"/>
                      </a:lnTo>
                      <a:lnTo>
                        <a:pt x="566" y="19"/>
                      </a:lnTo>
                      <a:lnTo>
                        <a:pt x="584" y="22"/>
                      </a:lnTo>
                      <a:lnTo>
                        <a:pt x="604" y="24"/>
                      </a:lnTo>
                      <a:lnTo>
                        <a:pt x="638" y="30"/>
                      </a:lnTo>
                      <a:lnTo>
                        <a:pt x="673" y="35"/>
                      </a:lnTo>
                      <a:lnTo>
                        <a:pt x="707" y="40"/>
                      </a:lnTo>
                      <a:lnTo>
                        <a:pt x="741" y="46"/>
                      </a:lnTo>
                      <a:lnTo>
                        <a:pt x="775" y="52"/>
                      </a:lnTo>
                      <a:lnTo>
                        <a:pt x="810" y="56"/>
                      </a:lnTo>
                      <a:lnTo>
                        <a:pt x="844" y="62"/>
                      </a:lnTo>
                      <a:lnTo>
                        <a:pt x="879" y="67"/>
                      </a:lnTo>
                      <a:lnTo>
                        <a:pt x="913" y="71"/>
                      </a:lnTo>
                      <a:lnTo>
                        <a:pt x="947" y="75"/>
                      </a:lnTo>
                      <a:lnTo>
                        <a:pt x="983" y="79"/>
                      </a:lnTo>
                      <a:lnTo>
                        <a:pt x="1017" y="81"/>
                      </a:lnTo>
                      <a:lnTo>
                        <a:pt x="1052" y="85"/>
                      </a:lnTo>
                      <a:lnTo>
                        <a:pt x="1087" y="86"/>
                      </a:lnTo>
                      <a:lnTo>
                        <a:pt x="1122" y="87"/>
                      </a:lnTo>
                      <a:lnTo>
                        <a:pt x="1158" y="88"/>
                      </a:lnTo>
                      <a:lnTo>
                        <a:pt x="1144" y="178"/>
                      </a:lnTo>
                      <a:lnTo>
                        <a:pt x="1129" y="268"/>
                      </a:lnTo>
                      <a:lnTo>
                        <a:pt x="1113" y="358"/>
                      </a:lnTo>
                      <a:lnTo>
                        <a:pt x="1094" y="448"/>
                      </a:lnTo>
                      <a:lnTo>
                        <a:pt x="1075" y="538"/>
                      </a:lnTo>
                      <a:lnTo>
                        <a:pt x="1054" y="627"/>
                      </a:lnTo>
                      <a:lnTo>
                        <a:pt x="1031" y="717"/>
                      </a:lnTo>
                      <a:lnTo>
                        <a:pt x="1007" y="808"/>
                      </a:lnTo>
                      <a:lnTo>
                        <a:pt x="998" y="839"/>
                      </a:lnTo>
                      <a:lnTo>
                        <a:pt x="988" y="871"/>
                      </a:lnTo>
                      <a:lnTo>
                        <a:pt x="980" y="902"/>
                      </a:lnTo>
                      <a:lnTo>
                        <a:pt x="971" y="932"/>
                      </a:lnTo>
                      <a:lnTo>
                        <a:pt x="963" y="962"/>
                      </a:lnTo>
                      <a:lnTo>
                        <a:pt x="955" y="993"/>
                      </a:lnTo>
                      <a:lnTo>
                        <a:pt x="947" y="1024"/>
                      </a:lnTo>
                      <a:lnTo>
                        <a:pt x="939" y="1055"/>
                      </a:lnTo>
                      <a:lnTo>
                        <a:pt x="926" y="1110"/>
                      </a:lnTo>
                      <a:lnTo>
                        <a:pt x="913" y="1167"/>
                      </a:lnTo>
                      <a:lnTo>
                        <a:pt x="902" y="1223"/>
                      </a:lnTo>
                      <a:lnTo>
                        <a:pt x="890" y="1279"/>
                      </a:lnTo>
                      <a:lnTo>
                        <a:pt x="880" y="1336"/>
                      </a:lnTo>
                      <a:lnTo>
                        <a:pt x="871" y="1392"/>
                      </a:lnTo>
                      <a:lnTo>
                        <a:pt x="863" y="1448"/>
                      </a:lnTo>
                      <a:lnTo>
                        <a:pt x="856" y="1504"/>
                      </a:lnTo>
                      <a:lnTo>
                        <a:pt x="844" y="1503"/>
                      </a:lnTo>
                      <a:lnTo>
                        <a:pt x="833" y="1502"/>
                      </a:lnTo>
                      <a:lnTo>
                        <a:pt x="821" y="1501"/>
                      </a:lnTo>
                      <a:lnTo>
                        <a:pt x="810" y="1500"/>
                      </a:lnTo>
                      <a:lnTo>
                        <a:pt x="797" y="1498"/>
                      </a:lnTo>
                      <a:lnTo>
                        <a:pt x="786" y="1497"/>
                      </a:lnTo>
                      <a:lnTo>
                        <a:pt x="774" y="1496"/>
                      </a:lnTo>
                      <a:lnTo>
                        <a:pt x="763" y="1495"/>
                      </a:lnTo>
                      <a:lnTo>
                        <a:pt x="738" y="1494"/>
                      </a:lnTo>
                      <a:lnTo>
                        <a:pt x="714" y="1493"/>
                      </a:lnTo>
                      <a:lnTo>
                        <a:pt x="690" y="1491"/>
                      </a:lnTo>
                      <a:lnTo>
                        <a:pt x="666" y="1489"/>
                      </a:lnTo>
                      <a:lnTo>
                        <a:pt x="642" y="1488"/>
                      </a:lnTo>
                      <a:lnTo>
                        <a:pt x="619" y="1486"/>
                      </a:lnTo>
                      <a:lnTo>
                        <a:pt x="594" y="1482"/>
                      </a:lnTo>
                      <a:lnTo>
                        <a:pt x="570" y="1480"/>
                      </a:lnTo>
                      <a:lnTo>
                        <a:pt x="546" y="1476"/>
                      </a:lnTo>
                      <a:lnTo>
                        <a:pt x="523" y="1474"/>
                      </a:lnTo>
                      <a:lnTo>
                        <a:pt x="499" y="1471"/>
                      </a:lnTo>
                      <a:lnTo>
                        <a:pt x="476" y="1467"/>
                      </a:lnTo>
                      <a:lnTo>
                        <a:pt x="452" y="1464"/>
                      </a:lnTo>
                      <a:lnTo>
                        <a:pt x="429" y="1460"/>
                      </a:lnTo>
                      <a:lnTo>
                        <a:pt x="404" y="1457"/>
                      </a:lnTo>
                      <a:lnTo>
                        <a:pt x="381" y="1452"/>
                      </a:lnTo>
                      <a:lnTo>
                        <a:pt x="357" y="1449"/>
                      </a:lnTo>
                      <a:lnTo>
                        <a:pt x="334" y="1445"/>
                      </a:lnTo>
                      <a:lnTo>
                        <a:pt x="310" y="1442"/>
                      </a:lnTo>
                      <a:lnTo>
                        <a:pt x="287" y="1438"/>
                      </a:lnTo>
                      <a:lnTo>
                        <a:pt x="263" y="1435"/>
                      </a:lnTo>
                      <a:lnTo>
                        <a:pt x="239" y="1432"/>
                      </a:lnTo>
                      <a:lnTo>
                        <a:pt x="216" y="1428"/>
                      </a:lnTo>
                      <a:lnTo>
                        <a:pt x="191" y="1426"/>
                      </a:lnTo>
                      <a:lnTo>
                        <a:pt x="168" y="1422"/>
                      </a:lnTo>
                      <a:lnTo>
                        <a:pt x="144" y="1420"/>
                      </a:lnTo>
                      <a:lnTo>
                        <a:pt x="120" y="1418"/>
                      </a:lnTo>
                      <a:lnTo>
                        <a:pt x="97" y="1415"/>
                      </a:lnTo>
                      <a:lnTo>
                        <a:pt x="73" y="1413"/>
                      </a:lnTo>
                      <a:lnTo>
                        <a:pt x="49" y="1412"/>
                      </a:lnTo>
                      <a:lnTo>
                        <a:pt x="24" y="1411"/>
                      </a:lnTo>
                      <a:lnTo>
                        <a:pt x="0" y="14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41" name="Freeform 125">
                  <a:extLst>
                    <a:ext uri="{FF2B5EF4-FFF2-40B4-BE49-F238E27FC236}">
                      <a16:creationId xmlns:a16="http://schemas.microsoft.com/office/drawing/2014/main" id="{F04AE18E-0622-4CF7-AEBF-BFA7644EC141}"/>
                    </a:ext>
                  </a:extLst>
                </p:cNvPr>
                <p:cNvSpPr>
                  <a:spLocks/>
                </p:cNvSpPr>
                <p:nvPr/>
              </p:nvSpPr>
              <p:spPr bwMode="auto">
                <a:xfrm>
                  <a:off x="4768850" y="4095750"/>
                  <a:ext cx="496887" cy="50800"/>
                </a:xfrm>
                <a:custGeom>
                  <a:avLst/>
                  <a:gdLst>
                    <a:gd name="T0" fmla="*/ 2147483646 w 628"/>
                    <a:gd name="T1" fmla="*/ 2147483646 h 66"/>
                    <a:gd name="T2" fmla="*/ 2147483646 w 628"/>
                    <a:gd name="T3" fmla="*/ 2147483646 h 66"/>
                    <a:gd name="T4" fmla="*/ 2147483646 w 628"/>
                    <a:gd name="T5" fmla="*/ 2147483646 h 66"/>
                    <a:gd name="T6" fmla="*/ 2147483646 w 628"/>
                    <a:gd name="T7" fmla="*/ 2147483646 h 66"/>
                    <a:gd name="T8" fmla="*/ 2147483646 w 628"/>
                    <a:gd name="T9" fmla="*/ 2147483646 h 66"/>
                    <a:gd name="T10" fmla="*/ 2147483646 w 628"/>
                    <a:gd name="T11" fmla="*/ 2147483646 h 66"/>
                    <a:gd name="T12" fmla="*/ 2147483646 w 628"/>
                    <a:gd name="T13" fmla="*/ 2147483646 h 66"/>
                    <a:gd name="T14" fmla="*/ 2147483646 w 628"/>
                    <a:gd name="T15" fmla="*/ 2147483646 h 66"/>
                    <a:gd name="T16" fmla="*/ 2147483646 w 628"/>
                    <a:gd name="T17" fmla="*/ 2147483646 h 66"/>
                    <a:gd name="T18" fmla="*/ 2147483646 w 628"/>
                    <a:gd name="T19" fmla="*/ 2147483646 h 66"/>
                    <a:gd name="T20" fmla="*/ 2147483646 w 628"/>
                    <a:gd name="T21" fmla="*/ 2147483646 h 66"/>
                    <a:gd name="T22" fmla="*/ 2147483646 w 628"/>
                    <a:gd name="T23" fmla="*/ 2147483646 h 66"/>
                    <a:gd name="T24" fmla="*/ 2147483646 w 628"/>
                    <a:gd name="T25" fmla="*/ 2147483646 h 66"/>
                    <a:gd name="T26" fmla="*/ 2147483646 w 628"/>
                    <a:gd name="T27" fmla="*/ 2147483646 h 66"/>
                    <a:gd name="T28" fmla="*/ 2147483646 w 628"/>
                    <a:gd name="T29" fmla="*/ 2147483646 h 66"/>
                    <a:gd name="T30" fmla="*/ 2147483646 w 628"/>
                    <a:gd name="T31" fmla="*/ 2147483646 h 66"/>
                    <a:gd name="T32" fmla="*/ 2147483646 w 628"/>
                    <a:gd name="T33" fmla="*/ 2147483646 h 66"/>
                    <a:gd name="T34" fmla="*/ 2147483646 w 628"/>
                    <a:gd name="T35" fmla="*/ 2147483646 h 66"/>
                    <a:gd name="T36" fmla="*/ 2147483646 w 628"/>
                    <a:gd name="T37" fmla="*/ 2147483646 h 66"/>
                    <a:gd name="T38" fmla="*/ 2147483646 w 628"/>
                    <a:gd name="T39" fmla="*/ 0 h 66"/>
                    <a:gd name="T40" fmla="*/ 2147483646 w 628"/>
                    <a:gd name="T41" fmla="*/ 0 h 66"/>
                    <a:gd name="T42" fmla="*/ 2147483646 w 628"/>
                    <a:gd name="T43" fmla="*/ 2147483646 h 66"/>
                    <a:gd name="T44" fmla="*/ 2147483646 w 628"/>
                    <a:gd name="T45" fmla="*/ 2147483646 h 66"/>
                    <a:gd name="T46" fmla="*/ 2147483646 w 628"/>
                    <a:gd name="T47" fmla="*/ 2147483646 h 66"/>
                    <a:gd name="T48" fmla="*/ 2147483646 w 628"/>
                    <a:gd name="T49" fmla="*/ 2147483646 h 66"/>
                    <a:gd name="T50" fmla="*/ 0 w 628"/>
                    <a:gd name="T51" fmla="*/ 2147483646 h 66"/>
                    <a:gd name="T52" fmla="*/ 2147483646 w 628"/>
                    <a:gd name="T53" fmla="*/ 2147483646 h 66"/>
                    <a:gd name="T54" fmla="*/ 2147483646 w 628"/>
                    <a:gd name="T55" fmla="*/ 2147483646 h 66"/>
                    <a:gd name="T56" fmla="*/ 2147483646 w 628"/>
                    <a:gd name="T57" fmla="*/ 2147483646 h 66"/>
                    <a:gd name="T58" fmla="*/ 2147483646 w 628"/>
                    <a:gd name="T59" fmla="*/ 2147483646 h 66"/>
                    <a:gd name="T60" fmla="*/ 2147483646 w 628"/>
                    <a:gd name="T61" fmla="*/ 2147483646 h 66"/>
                    <a:gd name="T62" fmla="*/ 2147483646 w 628"/>
                    <a:gd name="T63" fmla="*/ 2147483646 h 66"/>
                    <a:gd name="T64" fmla="*/ 2147483646 w 628"/>
                    <a:gd name="T65" fmla="*/ 2147483646 h 66"/>
                    <a:gd name="T66" fmla="*/ 2147483646 w 628"/>
                    <a:gd name="T67" fmla="*/ 2147483646 h 66"/>
                    <a:gd name="T68" fmla="*/ 2147483646 w 628"/>
                    <a:gd name="T69" fmla="*/ 2147483646 h 66"/>
                    <a:gd name="T70" fmla="*/ 2147483646 w 628"/>
                    <a:gd name="T71" fmla="*/ 2147483646 h 66"/>
                    <a:gd name="T72" fmla="*/ 2147483646 w 628"/>
                    <a:gd name="T73" fmla="*/ 2147483646 h 66"/>
                    <a:gd name="T74" fmla="*/ 2147483646 w 628"/>
                    <a:gd name="T75" fmla="*/ 2147483646 h 66"/>
                    <a:gd name="T76" fmla="*/ 2147483646 w 628"/>
                    <a:gd name="T77" fmla="*/ 2147483646 h 66"/>
                    <a:gd name="T78" fmla="*/ 2147483646 w 628"/>
                    <a:gd name="T79" fmla="*/ 2147483646 h 66"/>
                    <a:gd name="T80" fmla="*/ 2147483646 w 628"/>
                    <a:gd name="T81" fmla="*/ 2147483646 h 66"/>
                    <a:gd name="T82" fmla="*/ 2147483646 w 628"/>
                    <a:gd name="T83" fmla="*/ 2147483646 h 66"/>
                    <a:gd name="T84" fmla="*/ 2147483646 w 628"/>
                    <a:gd name="T85" fmla="*/ 2147483646 h 66"/>
                    <a:gd name="T86" fmla="*/ 2147483646 w 628"/>
                    <a:gd name="T87" fmla="*/ 2147483646 h 66"/>
                    <a:gd name="T88" fmla="*/ 2147483646 w 628"/>
                    <a:gd name="T89" fmla="*/ 2147483646 h 66"/>
                    <a:gd name="T90" fmla="*/ 2147483646 w 628"/>
                    <a:gd name="T91" fmla="*/ 2147483646 h 66"/>
                    <a:gd name="T92" fmla="*/ 2147483646 w 628"/>
                    <a:gd name="T93" fmla="*/ 2147483646 h 66"/>
                    <a:gd name="T94" fmla="*/ 2147483646 w 628"/>
                    <a:gd name="T95" fmla="*/ 2147483646 h 66"/>
                    <a:gd name="T96" fmla="*/ 2147483646 w 628"/>
                    <a:gd name="T97" fmla="*/ 2147483646 h 66"/>
                    <a:gd name="T98" fmla="*/ 2147483646 w 628"/>
                    <a:gd name="T99" fmla="*/ 2147483646 h 66"/>
                    <a:gd name="T100" fmla="*/ 2147483646 w 628"/>
                    <a:gd name="T101" fmla="*/ 2147483646 h 6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8"/>
                    <a:gd name="T154" fmla="*/ 0 h 66"/>
                    <a:gd name="T155" fmla="*/ 628 w 628"/>
                    <a:gd name="T156" fmla="*/ 66 h 6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8" h="66">
                      <a:moveTo>
                        <a:pt x="628" y="45"/>
                      </a:moveTo>
                      <a:lnTo>
                        <a:pt x="623" y="45"/>
                      </a:lnTo>
                      <a:lnTo>
                        <a:pt x="610" y="44"/>
                      </a:lnTo>
                      <a:lnTo>
                        <a:pt x="590" y="42"/>
                      </a:lnTo>
                      <a:lnTo>
                        <a:pt x="562" y="39"/>
                      </a:lnTo>
                      <a:lnTo>
                        <a:pt x="531" y="36"/>
                      </a:lnTo>
                      <a:lnTo>
                        <a:pt x="494" y="32"/>
                      </a:lnTo>
                      <a:lnTo>
                        <a:pt x="456" y="29"/>
                      </a:lnTo>
                      <a:lnTo>
                        <a:pt x="415" y="25"/>
                      </a:lnTo>
                      <a:lnTo>
                        <a:pt x="374" y="22"/>
                      </a:lnTo>
                      <a:lnTo>
                        <a:pt x="333" y="17"/>
                      </a:lnTo>
                      <a:lnTo>
                        <a:pt x="294" y="14"/>
                      </a:lnTo>
                      <a:lnTo>
                        <a:pt x="258" y="10"/>
                      </a:lnTo>
                      <a:lnTo>
                        <a:pt x="226" y="8"/>
                      </a:lnTo>
                      <a:lnTo>
                        <a:pt x="198" y="6"/>
                      </a:lnTo>
                      <a:lnTo>
                        <a:pt x="177" y="4"/>
                      </a:lnTo>
                      <a:lnTo>
                        <a:pt x="164" y="2"/>
                      </a:lnTo>
                      <a:lnTo>
                        <a:pt x="142" y="1"/>
                      </a:lnTo>
                      <a:lnTo>
                        <a:pt x="118" y="1"/>
                      </a:lnTo>
                      <a:lnTo>
                        <a:pt x="92" y="0"/>
                      </a:lnTo>
                      <a:lnTo>
                        <a:pt x="67" y="0"/>
                      </a:lnTo>
                      <a:lnTo>
                        <a:pt x="45" y="1"/>
                      </a:lnTo>
                      <a:lnTo>
                        <a:pt x="27" y="1"/>
                      </a:lnTo>
                      <a:lnTo>
                        <a:pt x="14" y="1"/>
                      </a:lnTo>
                      <a:lnTo>
                        <a:pt x="9" y="1"/>
                      </a:lnTo>
                      <a:lnTo>
                        <a:pt x="0" y="16"/>
                      </a:lnTo>
                      <a:lnTo>
                        <a:pt x="5" y="16"/>
                      </a:lnTo>
                      <a:lnTo>
                        <a:pt x="16" y="16"/>
                      </a:lnTo>
                      <a:lnTo>
                        <a:pt x="35" y="16"/>
                      </a:lnTo>
                      <a:lnTo>
                        <a:pt x="57" y="17"/>
                      </a:lnTo>
                      <a:lnTo>
                        <a:pt x="81" y="17"/>
                      </a:lnTo>
                      <a:lnTo>
                        <a:pt x="105" y="18"/>
                      </a:lnTo>
                      <a:lnTo>
                        <a:pt x="127" y="18"/>
                      </a:lnTo>
                      <a:lnTo>
                        <a:pt x="146" y="20"/>
                      </a:lnTo>
                      <a:lnTo>
                        <a:pt x="159" y="21"/>
                      </a:lnTo>
                      <a:lnTo>
                        <a:pt x="180" y="22"/>
                      </a:lnTo>
                      <a:lnTo>
                        <a:pt x="206" y="24"/>
                      </a:lnTo>
                      <a:lnTo>
                        <a:pt x="238" y="28"/>
                      </a:lnTo>
                      <a:lnTo>
                        <a:pt x="275" y="31"/>
                      </a:lnTo>
                      <a:lnTo>
                        <a:pt x="316" y="35"/>
                      </a:lnTo>
                      <a:lnTo>
                        <a:pt x="357" y="39"/>
                      </a:lnTo>
                      <a:lnTo>
                        <a:pt x="400" y="43"/>
                      </a:lnTo>
                      <a:lnTo>
                        <a:pt x="442" y="47"/>
                      </a:lnTo>
                      <a:lnTo>
                        <a:pt x="483" y="52"/>
                      </a:lnTo>
                      <a:lnTo>
                        <a:pt x="519" y="55"/>
                      </a:lnTo>
                      <a:lnTo>
                        <a:pt x="553" y="59"/>
                      </a:lnTo>
                      <a:lnTo>
                        <a:pt x="581" y="61"/>
                      </a:lnTo>
                      <a:lnTo>
                        <a:pt x="602" y="63"/>
                      </a:lnTo>
                      <a:lnTo>
                        <a:pt x="616" y="66"/>
                      </a:lnTo>
                      <a:lnTo>
                        <a:pt x="621" y="66"/>
                      </a:lnTo>
                      <a:lnTo>
                        <a:pt x="628"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42" name="Freeform 126">
                  <a:extLst>
                    <a:ext uri="{FF2B5EF4-FFF2-40B4-BE49-F238E27FC236}">
                      <a16:creationId xmlns:a16="http://schemas.microsoft.com/office/drawing/2014/main" id="{F1999676-5A18-47E8-8DDC-B7D96865C69C}"/>
                    </a:ext>
                  </a:extLst>
                </p:cNvPr>
                <p:cNvSpPr>
                  <a:spLocks/>
                </p:cNvSpPr>
                <p:nvPr/>
              </p:nvSpPr>
              <p:spPr bwMode="auto">
                <a:xfrm>
                  <a:off x="4895850" y="4217988"/>
                  <a:ext cx="341312" cy="47625"/>
                </a:xfrm>
                <a:custGeom>
                  <a:avLst/>
                  <a:gdLst>
                    <a:gd name="T0" fmla="*/ 2147483646 w 431"/>
                    <a:gd name="T1" fmla="*/ 0 h 60"/>
                    <a:gd name="T2" fmla="*/ 2147483646 w 431"/>
                    <a:gd name="T3" fmla="*/ 2147483646 h 60"/>
                    <a:gd name="T4" fmla="*/ 2147483646 w 431"/>
                    <a:gd name="T5" fmla="*/ 2147483646 h 60"/>
                    <a:gd name="T6" fmla="*/ 2147483646 w 431"/>
                    <a:gd name="T7" fmla="*/ 2147483646 h 60"/>
                    <a:gd name="T8" fmla="*/ 2147483646 w 431"/>
                    <a:gd name="T9" fmla="*/ 2147483646 h 60"/>
                    <a:gd name="T10" fmla="*/ 2147483646 w 431"/>
                    <a:gd name="T11" fmla="*/ 2147483646 h 60"/>
                    <a:gd name="T12" fmla="*/ 2147483646 w 431"/>
                    <a:gd name="T13" fmla="*/ 2147483646 h 60"/>
                    <a:gd name="T14" fmla="*/ 2147483646 w 431"/>
                    <a:gd name="T15" fmla="*/ 2147483646 h 60"/>
                    <a:gd name="T16" fmla="*/ 2147483646 w 431"/>
                    <a:gd name="T17" fmla="*/ 2147483646 h 60"/>
                    <a:gd name="T18" fmla="*/ 2147483646 w 431"/>
                    <a:gd name="T19" fmla="*/ 2147483646 h 60"/>
                    <a:gd name="T20" fmla="*/ 2147483646 w 431"/>
                    <a:gd name="T21" fmla="*/ 2147483646 h 60"/>
                    <a:gd name="T22" fmla="*/ 2147483646 w 431"/>
                    <a:gd name="T23" fmla="*/ 2147483646 h 60"/>
                    <a:gd name="T24" fmla="*/ 2147483646 w 431"/>
                    <a:gd name="T25" fmla="*/ 2147483646 h 60"/>
                    <a:gd name="T26" fmla="*/ 2147483646 w 431"/>
                    <a:gd name="T27" fmla="*/ 2147483646 h 60"/>
                    <a:gd name="T28" fmla="*/ 2147483646 w 431"/>
                    <a:gd name="T29" fmla="*/ 2147483646 h 60"/>
                    <a:gd name="T30" fmla="*/ 2147483646 w 431"/>
                    <a:gd name="T31" fmla="*/ 2147483646 h 60"/>
                    <a:gd name="T32" fmla="*/ 2147483646 w 431"/>
                    <a:gd name="T33" fmla="*/ 2147483646 h 60"/>
                    <a:gd name="T34" fmla="*/ 2147483646 w 431"/>
                    <a:gd name="T35" fmla="*/ 2147483646 h 60"/>
                    <a:gd name="T36" fmla="*/ 2147483646 w 431"/>
                    <a:gd name="T37" fmla="*/ 2147483646 h 60"/>
                    <a:gd name="T38" fmla="*/ 2147483646 w 431"/>
                    <a:gd name="T39" fmla="*/ 2147483646 h 60"/>
                    <a:gd name="T40" fmla="*/ 2147483646 w 431"/>
                    <a:gd name="T41" fmla="*/ 2147483646 h 60"/>
                    <a:gd name="T42" fmla="*/ 2147483646 w 431"/>
                    <a:gd name="T43" fmla="*/ 2147483646 h 60"/>
                    <a:gd name="T44" fmla="*/ 2147483646 w 431"/>
                    <a:gd name="T45" fmla="*/ 2147483646 h 60"/>
                    <a:gd name="T46" fmla="*/ 2147483646 w 431"/>
                    <a:gd name="T47" fmla="*/ 2147483646 h 60"/>
                    <a:gd name="T48" fmla="*/ 2147483646 w 431"/>
                    <a:gd name="T49" fmla="*/ 2147483646 h 60"/>
                    <a:gd name="T50" fmla="*/ 2147483646 w 431"/>
                    <a:gd name="T51" fmla="*/ 2147483646 h 60"/>
                    <a:gd name="T52" fmla="*/ 2147483646 w 431"/>
                    <a:gd name="T53" fmla="*/ 2147483646 h 60"/>
                    <a:gd name="T54" fmla="*/ 2147483646 w 431"/>
                    <a:gd name="T55" fmla="*/ 2147483646 h 60"/>
                    <a:gd name="T56" fmla="*/ 2147483646 w 431"/>
                    <a:gd name="T57" fmla="*/ 2147483646 h 60"/>
                    <a:gd name="T58" fmla="*/ 2147483646 w 431"/>
                    <a:gd name="T59" fmla="*/ 2147483646 h 60"/>
                    <a:gd name="T60" fmla="*/ 2147483646 w 431"/>
                    <a:gd name="T61" fmla="*/ 2147483646 h 60"/>
                    <a:gd name="T62" fmla="*/ 2147483646 w 431"/>
                    <a:gd name="T63" fmla="*/ 2147483646 h 60"/>
                    <a:gd name="T64" fmla="*/ 2147483646 w 431"/>
                    <a:gd name="T65" fmla="*/ 2147483646 h 60"/>
                    <a:gd name="T66" fmla="*/ 0 w 431"/>
                    <a:gd name="T67" fmla="*/ 2147483646 h 60"/>
                    <a:gd name="T68" fmla="*/ 2147483646 w 431"/>
                    <a:gd name="T69" fmla="*/ 0 h 6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31"/>
                    <a:gd name="T106" fmla="*/ 0 h 60"/>
                    <a:gd name="T107" fmla="*/ 431 w 431"/>
                    <a:gd name="T108" fmla="*/ 60 h 6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31" h="60">
                      <a:moveTo>
                        <a:pt x="7" y="0"/>
                      </a:moveTo>
                      <a:lnTo>
                        <a:pt x="31" y="3"/>
                      </a:lnTo>
                      <a:lnTo>
                        <a:pt x="59" y="5"/>
                      </a:lnTo>
                      <a:lnTo>
                        <a:pt x="90" y="7"/>
                      </a:lnTo>
                      <a:lnTo>
                        <a:pt x="123" y="11"/>
                      </a:lnTo>
                      <a:lnTo>
                        <a:pt x="158" y="14"/>
                      </a:lnTo>
                      <a:lnTo>
                        <a:pt x="192" y="18"/>
                      </a:lnTo>
                      <a:lnTo>
                        <a:pt x="228" y="21"/>
                      </a:lnTo>
                      <a:lnTo>
                        <a:pt x="263" y="23"/>
                      </a:lnTo>
                      <a:lnTo>
                        <a:pt x="296" y="27"/>
                      </a:lnTo>
                      <a:lnTo>
                        <a:pt x="327" y="30"/>
                      </a:lnTo>
                      <a:lnTo>
                        <a:pt x="356" y="33"/>
                      </a:lnTo>
                      <a:lnTo>
                        <a:pt x="381" y="35"/>
                      </a:lnTo>
                      <a:lnTo>
                        <a:pt x="402" y="37"/>
                      </a:lnTo>
                      <a:lnTo>
                        <a:pt x="417" y="38"/>
                      </a:lnTo>
                      <a:lnTo>
                        <a:pt x="427" y="40"/>
                      </a:lnTo>
                      <a:lnTo>
                        <a:pt x="431" y="40"/>
                      </a:lnTo>
                      <a:lnTo>
                        <a:pt x="424" y="60"/>
                      </a:lnTo>
                      <a:lnTo>
                        <a:pt x="421" y="60"/>
                      </a:lnTo>
                      <a:lnTo>
                        <a:pt x="411" y="59"/>
                      </a:lnTo>
                      <a:lnTo>
                        <a:pt x="395" y="57"/>
                      </a:lnTo>
                      <a:lnTo>
                        <a:pt x="376" y="56"/>
                      </a:lnTo>
                      <a:lnTo>
                        <a:pt x="351" y="52"/>
                      </a:lnTo>
                      <a:lnTo>
                        <a:pt x="324" y="50"/>
                      </a:lnTo>
                      <a:lnTo>
                        <a:pt x="293" y="46"/>
                      </a:lnTo>
                      <a:lnTo>
                        <a:pt x="259" y="43"/>
                      </a:lnTo>
                      <a:lnTo>
                        <a:pt x="225" y="40"/>
                      </a:lnTo>
                      <a:lnTo>
                        <a:pt x="190" y="36"/>
                      </a:lnTo>
                      <a:lnTo>
                        <a:pt x="154" y="33"/>
                      </a:lnTo>
                      <a:lnTo>
                        <a:pt x="120" y="29"/>
                      </a:lnTo>
                      <a:lnTo>
                        <a:pt x="87" y="26"/>
                      </a:lnTo>
                      <a:lnTo>
                        <a:pt x="54" y="22"/>
                      </a:lnTo>
                      <a:lnTo>
                        <a:pt x="25" y="20"/>
                      </a:lnTo>
                      <a:lnTo>
                        <a:pt x="0" y="18"/>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43" name="Freeform 127">
                  <a:extLst>
                    <a:ext uri="{FF2B5EF4-FFF2-40B4-BE49-F238E27FC236}">
                      <a16:creationId xmlns:a16="http://schemas.microsoft.com/office/drawing/2014/main" id="{18A22F1F-C13C-4FD2-AA84-B9995FD590AF}"/>
                    </a:ext>
                  </a:extLst>
                </p:cNvPr>
                <p:cNvSpPr>
                  <a:spLocks/>
                </p:cNvSpPr>
                <p:nvPr/>
              </p:nvSpPr>
              <p:spPr bwMode="auto">
                <a:xfrm>
                  <a:off x="4900613" y="4700588"/>
                  <a:ext cx="238125" cy="33337"/>
                </a:xfrm>
                <a:custGeom>
                  <a:avLst/>
                  <a:gdLst>
                    <a:gd name="T0" fmla="*/ 2147483646 w 301"/>
                    <a:gd name="T1" fmla="*/ 0 h 41"/>
                    <a:gd name="T2" fmla="*/ 2147483646 w 301"/>
                    <a:gd name="T3" fmla="*/ 2147483646 h 41"/>
                    <a:gd name="T4" fmla="*/ 2147483646 w 301"/>
                    <a:gd name="T5" fmla="*/ 2147483646 h 41"/>
                    <a:gd name="T6" fmla="*/ 2147483646 w 301"/>
                    <a:gd name="T7" fmla="*/ 2147483646 h 41"/>
                    <a:gd name="T8" fmla="*/ 2147483646 w 301"/>
                    <a:gd name="T9" fmla="*/ 2147483646 h 41"/>
                    <a:gd name="T10" fmla="*/ 2147483646 w 301"/>
                    <a:gd name="T11" fmla="*/ 2147483646 h 41"/>
                    <a:gd name="T12" fmla="*/ 2147483646 w 301"/>
                    <a:gd name="T13" fmla="*/ 2147483646 h 41"/>
                    <a:gd name="T14" fmla="*/ 2147483646 w 301"/>
                    <a:gd name="T15" fmla="*/ 2147483646 h 41"/>
                    <a:gd name="T16" fmla="*/ 2147483646 w 301"/>
                    <a:gd name="T17" fmla="*/ 2147483646 h 41"/>
                    <a:gd name="T18" fmla="*/ 2147483646 w 301"/>
                    <a:gd name="T19" fmla="*/ 2147483646 h 41"/>
                    <a:gd name="T20" fmla="*/ 2147483646 w 301"/>
                    <a:gd name="T21" fmla="*/ 2147483646 h 41"/>
                    <a:gd name="T22" fmla="*/ 2147483646 w 301"/>
                    <a:gd name="T23" fmla="*/ 2147483646 h 41"/>
                    <a:gd name="T24" fmla="*/ 2147483646 w 301"/>
                    <a:gd name="T25" fmla="*/ 2147483646 h 41"/>
                    <a:gd name="T26" fmla="*/ 2147483646 w 301"/>
                    <a:gd name="T27" fmla="*/ 2147483646 h 41"/>
                    <a:gd name="T28" fmla="*/ 2147483646 w 301"/>
                    <a:gd name="T29" fmla="*/ 2147483646 h 41"/>
                    <a:gd name="T30" fmla="*/ 2147483646 w 301"/>
                    <a:gd name="T31" fmla="*/ 2147483646 h 41"/>
                    <a:gd name="T32" fmla="*/ 2147483646 w 301"/>
                    <a:gd name="T33" fmla="*/ 2147483646 h 41"/>
                    <a:gd name="T34" fmla="*/ 2147483646 w 301"/>
                    <a:gd name="T35" fmla="*/ 2147483646 h 41"/>
                    <a:gd name="T36" fmla="*/ 2147483646 w 301"/>
                    <a:gd name="T37" fmla="*/ 2147483646 h 41"/>
                    <a:gd name="T38" fmla="*/ 2147483646 w 301"/>
                    <a:gd name="T39" fmla="*/ 2147483646 h 41"/>
                    <a:gd name="T40" fmla="*/ 2147483646 w 301"/>
                    <a:gd name="T41" fmla="*/ 2147483646 h 41"/>
                    <a:gd name="T42" fmla="*/ 2147483646 w 301"/>
                    <a:gd name="T43" fmla="*/ 2147483646 h 41"/>
                    <a:gd name="T44" fmla="*/ 2147483646 w 301"/>
                    <a:gd name="T45" fmla="*/ 2147483646 h 41"/>
                    <a:gd name="T46" fmla="*/ 2147483646 w 301"/>
                    <a:gd name="T47" fmla="*/ 2147483646 h 41"/>
                    <a:gd name="T48" fmla="*/ 2147483646 w 301"/>
                    <a:gd name="T49" fmla="*/ 2147483646 h 41"/>
                    <a:gd name="T50" fmla="*/ 2147483646 w 301"/>
                    <a:gd name="T51" fmla="*/ 2147483646 h 41"/>
                    <a:gd name="T52" fmla="*/ 2147483646 w 301"/>
                    <a:gd name="T53" fmla="*/ 2147483646 h 41"/>
                    <a:gd name="T54" fmla="*/ 2147483646 w 301"/>
                    <a:gd name="T55" fmla="*/ 2147483646 h 41"/>
                    <a:gd name="T56" fmla="*/ 2147483646 w 301"/>
                    <a:gd name="T57" fmla="*/ 2147483646 h 41"/>
                    <a:gd name="T58" fmla="*/ 2147483646 w 301"/>
                    <a:gd name="T59" fmla="*/ 2147483646 h 41"/>
                    <a:gd name="T60" fmla="*/ 2147483646 w 301"/>
                    <a:gd name="T61" fmla="*/ 2147483646 h 41"/>
                    <a:gd name="T62" fmla="*/ 2147483646 w 301"/>
                    <a:gd name="T63" fmla="*/ 2147483646 h 41"/>
                    <a:gd name="T64" fmla="*/ 2147483646 w 301"/>
                    <a:gd name="T65" fmla="*/ 2147483646 h 41"/>
                    <a:gd name="T66" fmla="*/ 0 w 301"/>
                    <a:gd name="T67" fmla="*/ 2147483646 h 41"/>
                    <a:gd name="T68" fmla="*/ 2147483646 w 301"/>
                    <a:gd name="T69" fmla="*/ 0 h 4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01"/>
                    <a:gd name="T106" fmla="*/ 0 h 41"/>
                    <a:gd name="T107" fmla="*/ 301 w 301"/>
                    <a:gd name="T108" fmla="*/ 41 h 4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01" h="41">
                      <a:moveTo>
                        <a:pt x="4" y="0"/>
                      </a:moveTo>
                      <a:lnTo>
                        <a:pt x="21" y="1"/>
                      </a:lnTo>
                      <a:lnTo>
                        <a:pt x="40" y="3"/>
                      </a:lnTo>
                      <a:lnTo>
                        <a:pt x="62" y="4"/>
                      </a:lnTo>
                      <a:lnTo>
                        <a:pt x="85" y="7"/>
                      </a:lnTo>
                      <a:lnTo>
                        <a:pt x="109" y="9"/>
                      </a:lnTo>
                      <a:lnTo>
                        <a:pt x="134" y="11"/>
                      </a:lnTo>
                      <a:lnTo>
                        <a:pt x="159" y="14"/>
                      </a:lnTo>
                      <a:lnTo>
                        <a:pt x="183" y="16"/>
                      </a:lnTo>
                      <a:lnTo>
                        <a:pt x="206" y="18"/>
                      </a:lnTo>
                      <a:lnTo>
                        <a:pt x="228" y="19"/>
                      </a:lnTo>
                      <a:lnTo>
                        <a:pt x="249" y="22"/>
                      </a:lnTo>
                      <a:lnTo>
                        <a:pt x="266" y="23"/>
                      </a:lnTo>
                      <a:lnTo>
                        <a:pt x="280" y="24"/>
                      </a:lnTo>
                      <a:lnTo>
                        <a:pt x="291" y="25"/>
                      </a:lnTo>
                      <a:lnTo>
                        <a:pt x="298" y="26"/>
                      </a:lnTo>
                      <a:lnTo>
                        <a:pt x="301" y="26"/>
                      </a:lnTo>
                      <a:lnTo>
                        <a:pt x="296" y="41"/>
                      </a:lnTo>
                      <a:lnTo>
                        <a:pt x="294" y="41"/>
                      </a:lnTo>
                      <a:lnTo>
                        <a:pt x="287" y="40"/>
                      </a:lnTo>
                      <a:lnTo>
                        <a:pt x="276" y="39"/>
                      </a:lnTo>
                      <a:lnTo>
                        <a:pt x="263" y="38"/>
                      </a:lnTo>
                      <a:lnTo>
                        <a:pt x="245" y="36"/>
                      </a:lnTo>
                      <a:lnTo>
                        <a:pt x="226" y="34"/>
                      </a:lnTo>
                      <a:lnTo>
                        <a:pt x="204" y="32"/>
                      </a:lnTo>
                      <a:lnTo>
                        <a:pt x="181" y="30"/>
                      </a:lnTo>
                      <a:lnTo>
                        <a:pt x="157" y="26"/>
                      </a:lnTo>
                      <a:lnTo>
                        <a:pt x="133" y="24"/>
                      </a:lnTo>
                      <a:lnTo>
                        <a:pt x="107" y="22"/>
                      </a:lnTo>
                      <a:lnTo>
                        <a:pt x="83" y="19"/>
                      </a:lnTo>
                      <a:lnTo>
                        <a:pt x="60" y="17"/>
                      </a:lnTo>
                      <a:lnTo>
                        <a:pt x="38" y="15"/>
                      </a:lnTo>
                      <a:lnTo>
                        <a:pt x="17" y="12"/>
                      </a:lnTo>
                      <a:lnTo>
                        <a:pt x="0" y="11"/>
                      </a:lnTo>
                      <a:lnTo>
                        <a:pt x="4" y="0"/>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44" name="Freeform 128">
                  <a:extLst>
                    <a:ext uri="{FF2B5EF4-FFF2-40B4-BE49-F238E27FC236}">
                      <a16:creationId xmlns:a16="http://schemas.microsoft.com/office/drawing/2014/main" id="{CFF012D6-ACA3-4593-AF2C-398DC64D2927}"/>
                    </a:ext>
                  </a:extLst>
                </p:cNvPr>
                <p:cNvSpPr>
                  <a:spLocks/>
                </p:cNvSpPr>
                <p:nvPr/>
              </p:nvSpPr>
              <p:spPr bwMode="auto">
                <a:xfrm>
                  <a:off x="4872038" y="4778375"/>
                  <a:ext cx="238125" cy="33337"/>
                </a:xfrm>
                <a:custGeom>
                  <a:avLst/>
                  <a:gdLst>
                    <a:gd name="T0" fmla="*/ 2147483646 w 301"/>
                    <a:gd name="T1" fmla="*/ 0 h 41"/>
                    <a:gd name="T2" fmla="*/ 2147483646 w 301"/>
                    <a:gd name="T3" fmla="*/ 2147483646 h 41"/>
                    <a:gd name="T4" fmla="*/ 2147483646 w 301"/>
                    <a:gd name="T5" fmla="*/ 2147483646 h 41"/>
                    <a:gd name="T6" fmla="*/ 2147483646 w 301"/>
                    <a:gd name="T7" fmla="*/ 2147483646 h 41"/>
                    <a:gd name="T8" fmla="*/ 2147483646 w 301"/>
                    <a:gd name="T9" fmla="*/ 2147483646 h 41"/>
                    <a:gd name="T10" fmla="*/ 2147483646 w 301"/>
                    <a:gd name="T11" fmla="*/ 2147483646 h 41"/>
                    <a:gd name="T12" fmla="*/ 2147483646 w 301"/>
                    <a:gd name="T13" fmla="*/ 2147483646 h 41"/>
                    <a:gd name="T14" fmla="*/ 2147483646 w 301"/>
                    <a:gd name="T15" fmla="*/ 2147483646 h 41"/>
                    <a:gd name="T16" fmla="*/ 2147483646 w 301"/>
                    <a:gd name="T17" fmla="*/ 2147483646 h 41"/>
                    <a:gd name="T18" fmla="*/ 2147483646 w 301"/>
                    <a:gd name="T19" fmla="*/ 2147483646 h 41"/>
                    <a:gd name="T20" fmla="*/ 2147483646 w 301"/>
                    <a:gd name="T21" fmla="*/ 2147483646 h 41"/>
                    <a:gd name="T22" fmla="*/ 2147483646 w 301"/>
                    <a:gd name="T23" fmla="*/ 2147483646 h 41"/>
                    <a:gd name="T24" fmla="*/ 2147483646 w 301"/>
                    <a:gd name="T25" fmla="*/ 2147483646 h 41"/>
                    <a:gd name="T26" fmla="*/ 2147483646 w 301"/>
                    <a:gd name="T27" fmla="*/ 2147483646 h 41"/>
                    <a:gd name="T28" fmla="*/ 2147483646 w 301"/>
                    <a:gd name="T29" fmla="*/ 2147483646 h 41"/>
                    <a:gd name="T30" fmla="*/ 2147483646 w 301"/>
                    <a:gd name="T31" fmla="*/ 2147483646 h 41"/>
                    <a:gd name="T32" fmla="*/ 2147483646 w 301"/>
                    <a:gd name="T33" fmla="*/ 2147483646 h 41"/>
                    <a:gd name="T34" fmla="*/ 2147483646 w 301"/>
                    <a:gd name="T35" fmla="*/ 2147483646 h 41"/>
                    <a:gd name="T36" fmla="*/ 2147483646 w 301"/>
                    <a:gd name="T37" fmla="*/ 2147483646 h 41"/>
                    <a:gd name="T38" fmla="*/ 2147483646 w 301"/>
                    <a:gd name="T39" fmla="*/ 2147483646 h 41"/>
                    <a:gd name="T40" fmla="*/ 2147483646 w 301"/>
                    <a:gd name="T41" fmla="*/ 2147483646 h 41"/>
                    <a:gd name="T42" fmla="*/ 2147483646 w 301"/>
                    <a:gd name="T43" fmla="*/ 2147483646 h 41"/>
                    <a:gd name="T44" fmla="*/ 2147483646 w 301"/>
                    <a:gd name="T45" fmla="*/ 2147483646 h 41"/>
                    <a:gd name="T46" fmla="*/ 2147483646 w 301"/>
                    <a:gd name="T47" fmla="*/ 2147483646 h 41"/>
                    <a:gd name="T48" fmla="*/ 2147483646 w 301"/>
                    <a:gd name="T49" fmla="*/ 2147483646 h 41"/>
                    <a:gd name="T50" fmla="*/ 2147483646 w 301"/>
                    <a:gd name="T51" fmla="*/ 2147483646 h 41"/>
                    <a:gd name="T52" fmla="*/ 2147483646 w 301"/>
                    <a:gd name="T53" fmla="*/ 2147483646 h 41"/>
                    <a:gd name="T54" fmla="*/ 2147483646 w 301"/>
                    <a:gd name="T55" fmla="*/ 2147483646 h 41"/>
                    <a:gd name="T56" fmla="*/ 2147483646 w 301"/>
                    <a:gd name="T57" fmla="*/ 2147483646 h 41"/>
                    <a:gd name="T58" fmla="*/ 2147483646 w 301"/>
                    <a:gd name="T59" fmla="*/ 2147483646 h 41"/>
                    <a:gd name="T60" fmla="*/ 2147483646 w 301"/>
                    <a:gd name="T61" fmla="*/ 2147483646 h 41"/>
                    <a:gd name="T62" fmla="*/ 2147483646 w 301"/>
                    <a:gd name="T63" fmla="*/ 2147483646 h 41"/>
                    <a:gd name="T64" fmla="*/ 2147483646 w 301"/>
                    <a:gd name="T65" fmla="*/ 2147483646 h 41"/>
                    <a:gd name="T66" fmla="*/ 0 w 301"/>
                    <a:gd name="T67" fmla="*/ 2147483646 h 41"/>
                    <a:gd name="T68" fmla="*/ 2147483646 w 301"/>
                    <a:gd name="T69" fmla="*/ 0 h 4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01"/>
                    <a:gd name="T106" fmla="*/ 0 h 41"/>
                    <a:gd name="T107" fmla="*/ 301 w 301"/>
                    <a:gd name="T108" fmla="*/ 41 h 4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01" h="41">
                      <a:moveTo>
                        <a:pt x="5" y="0"/>
                      </a:moveTo>
                      <a:lnTo>
                        <a:pt x="22" y="1"/>
                      </a:lnTo>
                      <a:lnTo>
                        <a:pt x="41" y="3"/>
                      </a:lnTo>
                      <a:lnTo>
                        <a:pt x="63" y="5"/>
                      </a:lnTo>
                      <a:lnTo>
                        <a:pt x="86" y="8"/>
                      </a:lnTo>
                      <a:lnTo>
                        <a:pt x="110" y="10"/>
                      </a:lnTo>
                      <a:lnTo>
                        <a:pt x="135" y="12"/>
                      </a:lnTo>
                      <a:lnTo>
                        <a:pt x="159" y="15"/>
                      </a:lnTo>
                      <a:lnTo>
                        <a:pt x="183" y="17"/>
                      </a:lnTo>
                      <a:lnTo>
                        <a:pt x="207" y="18"/>
                      </a:lnTo>
                      <a:lnTo>
                        <a:pt x="228" y="20"/>
                      </a:lnTo>
                      <a:lnTo>
                        <a:pt x="249" y="23"/>
                      </a:lnTo>
                      <a:lnTo>
                        <a:pt x="266" y="24"/>
                      </a:lnTo>
                      <a:lnTo>
                        <a:pt x="280" y="25"/>
                      </a:lnTo>
                      <a:lnTo>
                        <a:pt x="292" y="26"/>
                      </a:lnTo>
                      <a:lnTo>
                        <a:pt x="299" y="27"/>
                      </a:lnTo>
                      <a:lnTo>
                        <a:pt x="301" y="27"/>
                      </a:lnTo>
                      <a:lnTo>
                        <a:pt x="296" y="41"/>
                      </a:lnTo>
                      <a:lnTo>
                        <a:pt x="294" y="41"/>
                      </a:lnTo>
                      <a:lnTo>
                        <a:pt x="287" y="40"/>
                      </a:lnTo>
                      <a:lnTo>
                        <a:pt x="277" y="39"/>
                      </a:lnTo>
                      <a:lnTo>
                        <a:pt x="263" y="38"/>
                      </a:lnTo>
                      <a:lnTo>
                        <a:pt x="246" y="36"/>
                      </a:lnTo>
                      <a:lnTo>
                        <a:pt x="226" y="34"/>
                      </a:lnTo>
                      <a:lnTo>
                        <a:pt x="204" y="32"/>
                      </a:lnTo>
                      <a:lnTo>
                        <a:pt x="181" y="30"/>
                      </a:lnTo>
                      <a:lnTo>
                        <a:pt x="158" y="27"/>
                      </a:lnTo>
                      <a:lnTo>
                        <a:pt x="133" y="25"/>
                      </a:lnTo>
                      <a:lnTo>
                        <a:pt x="109" y="23"/>
                      </a:lnTo>
                      <a:lnTo>
                        <a:pt x="84" y="20"/>
                      </a:lnTo>
                      <a:lnTo>
                        <a:pt x="60" y="18"/>
                      </a:lnTo>
                      <a:lnTo>
                        <a:pt x="38" y="16"/>
                      </a:lnTo>
                      <a:lnTo>
                        <a:pt x="19" y="13"/>
                      </a:lnTo>
                      <a:lnTo>
                        <a:pt x="0" y="12"/>
                      </a:lnTo>
                      <a:lnTo>
                        <a:pt x="5" y="0"/>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45" name="Freeform 129">
                  <a:extLst>
                    <a:ext uri="{FF2B5EF4-FFF2-40B4-BE49-F238E27FC236}">
                      <a16:creationId xmlns:a16="http://schemas.microsoft.com/office/drawing/2014/main" id="{41EA7B67-5705-4158-AB8F-64058F0A7099}"/>
                    </a:ext>
                  </a:extLst>
                </p:cNvPr>
                <p:cNvSpPr>
                  <a:spLocks/>
                </p:cNvSpPr>
                <p:nvPr/>
              </p:nvSpPr>
              <p:spPr bwMode="auto">
                <a:xfrm>
                  <a:off x="4856163" y="4868863"/>
                  <a:ext cx="239712" cy="33337"/>
                </a:xfrm>
                <a:custGeom>
                  <a:avLst/>
                  <a:gdLst>
                    <a:gd name="T0" fmla="*/ 2147483646 w 300"/>
                    <a:gd name="T1" fmla="*/ 0 h 41"/>
                    <a:gd name="T2" fmla="*/ 2147483646 w 300"/>
                    <a:gd name="T3" fmla="*/ 2147483646 h 41"/>
                    <a:gd name="T4" fmla="*/ 2147483646 w 300"/>
                    <a:gd name="T5" fmla="*/ 2147483646 h 41"/>
                    <a:gd name="T6" fmla="*/ 2147483646 w 300"/>
                    <a:gd name="T7" fmla="*/ 2147483646 h 41"/>
                    <a:gd name="T8" fmla="*/ 2147483646 w 300"/>
                    <a:gd name="T9" fmla="*/ 2147483646 h 41"/>
                    <a:gd name="T10" fmla="*/ 2147483646 w 300"/>
                    <a:gd name="T11" fmla="*/ 2147483646 h 41"/>
                    <a:gd name="T12" fmla="*/ 2147483646 w 300"/>
                    <a:gd name="T13" fmla="*/ 2147483646 h 41"/>
                    <a:gd name="T14" fmla="*/ 2147483646 w 300"/>
                    <a:gd name="T15" fmla="*/ 2147483646 h 41"/>
                    <a:gd name="T16" fmla="*/ 2147483646 w 300"/>
                    <a:gd name="T17" fmla="*/ 2147483646 h 41"/>
                    <a:gd name="T18" fmla="*/ 2147483646 w 300"/>
                    <a:gd name="T19" fmla="*/ 2147483646 h 41"/>
                    <a:gd name="T20" fmla="*/ 2147483646 w 300"/>
                    <a:gd name="T21" fmla="*/ 2147483646 h 41"/>
                    <a:gd name="T22" fmla="*/ 2147483646 w 300"/>
                    <a:gd name="T23" fmla="*/ 2147483646 h 41"/>
                    <a:gd name="T24" fmla="*/ 2147483646 w 300"/>
                    <a:gd name="T25" fmla="*/ 2147483646 h 41"/>
                    <a:gd name="T26" fmla="*/ 2147483646 w 300"/>
                    <a:gd name="T27" fmla="*/ 2147483646 h 41"/>
                    <a:gd name="T28" fmla="*/ 2147483646 w 300"/>
                    <a:gd name="T29" fmla="*/ 2147483646 h 41"/>
                    <a:gd name="T30" fmla="*/ 2147483646 w 300"/>
                    <a:gd name="T31" fmla="*/ 2147483646 h 41"/>
                    <a:gd name="T32" fmla="*/ 2147483646 w 300"/>
                    <a:gd name="T33" fmla="*/ 2147483646 h 41"/>
                    <a:gd name="T34" fmla="*/ 2147483646 w 300"/>
                    <a:gd name="T35" fmla="*/ 2147483646 h 41"/>
                    <a:gd name="T36" fmla="*/ 2147483646 w 300"/>
                    <a:gd name="T37" fmla="*/ 2147483646 h 41"/>
                    <a:gd name="T38" fmla="*/ 2147483646 w 300"/>
                    <a:gd name="T39" fmla="*/ 2147483646 h 41"/>
                    <a:gd name="T40" fmla="*/ 2147483646 w 300"/>
                    <a:gd name="T41" fmla="*/ 2147483646 h 41"/>
                    <a:gd name="T42" fmla="*/ 2147483646 w 300"/>
                    <a:gd name="T43" fmla="*/ 2147483646 h 41"/>
                    <a:gd name="T44" fmla="*/ 2147483646 w 300"/>
                    <a:gd name="T45" fmla="*/ 2147483646 h 41"/>
                    <a:gd name="T46" fmla="*/ 2147483646 w 300"/>
                    <a:gd name="T47" fmla="*/ 2147483646 h 41"/>
                    <a:gd name="T48" fmla="*/ 2147483646 w 300"/>
                    <a:gd name="T49" fmla="*/ 2147483646 h 41"/>
                    <a:gd name="T50" fmla="*/ 2147483646 w 300"/>
                    <a:gd name="T51" fmla="*/ 2147483646 h 41"/>
                    <a:gd name="T52" fmla="*/ 2147483646 w 300"/>
                    <a:gd name="T53" fmla="*/ 2147483646 h 41"/>
                    <a:gd name="T54" fmla="*/ 2147483646 w 300"/>
                    <a:gd name="T55" fmla="*/ 2147483646 h 41"/>
                    <a:gd name="T56" fmla="*/ 2147483646 w 300"/>
                    <a:gd name="T57" fmla="*/ 2147483646 h 41"/>
                    <a:gd name="T58" fmla="*/ 2147483646 w 300"/>
                    <a:gd name="T59" fmla="*/ 2147483646 h 41"/>
                    <a:gd name="T60" fmla="*/ 2147483646 w 300"/>
                    <a:gd name="T61" fmla="*/ 2147483646 h 41"/>
                    <a:gd name="T62" fmla="*/ 2147483646 w 300"/>
                    <a:gd name="T63" fmla="*/ 2147483646 h 41"/>
                    <a:gd name="T64" fmla="*/ 2147483646 w 300"/>
                    <a:gd name="T65" fmla="*/ 2147483646 h 41"/>
                    <a:gd name="T66" fmla="*/ 0 w 300"/>
                    <a:gd name="T67" fmla="*/ 2147483646 h 41"/>
                    <a:gd name="T68" fmla="*/ 2147483646 w 300"/>
                    <a:gd name="T69" fmla="*/ 0 h 4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00"/>
                    <a:gd name="T106" fmla="*/ 0 h 41"/>
                    <a:gd name="T107" fmla="*/ 300 w 300"/>
                    <a:gd name="T108" fmla="*/ 41 h 4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00" h="41">
                      <a:moveTo>
                        <a:pt x="3" y="0"/>
                      </a:moveTo>
                      <a:lnTo>
                        <a:pt x="21" y="1"/>
                      </a:lnTo>
                      <a:lnTo>
                        <a:pt x="40" y="3"/>
                      </a:lnTo>
                      <a:lnTo>
                        <a:pt x="62" y="5"/>
                      </a:lnTo>
                      <a:lnTo>
                        <a:pt x="85" y="8"/>
                      </a:lnTo>
                      <a:lnTo>
                        <a:pt x="109" y="10"/>
                      </a:lnTo>
                      <a:lnTo>
                        <a:pt x="133" y="12"/>
                      </a:lnTo>
                      <a:lnTo>
                        <a:pt x="159" y="15"/>
                      </a:lnTo>
                      <a:lnTo>
                        <a:pt x="183" y="17"/>
                      </a:lnTo>
                      <a:lnTo>
                        <a:pt x="206" y="18"/>
                      </a:lnTo>
                      <a:lnTo>
                        <a:pt x="228" y="20"/>
                      </a:lnTo>
                      <a:lnTo>
                        <a:pt x="249" y="23"/>
                      </a:lnTo>
                      <a:lnTo>
                        <a:pt x="266" y="24"/>
                      </a:lnTo>
                      <a:lnTo>
                        <a:pt x="280" y="25"/>
                      </a:lnTo>
                      <a:lnTo>
                        <a:pt x="291" y="26"/>
                      </a:lnTo>
                      <a:lnTo>
                        <a:pt x="298" y="27"/>
                      </a:lnTo>
                      <a:lnTo>
                        <a:pt x="300" y="27"/>
                      </a:lnTo>
                      <a:lnTo>
                        <a:pt x="296" y="41"/>
                      </a:lnTo>
                      <a:lnTo>
                        <a:pt x="293" y="41"/>
                      </a:lnTo>
                      <a:lnTo>
                        <a:pt x="287" y="40"/>
                      </a:lnTo>
                      <a:lnTo>
                        <a:pt x="276" y="39"/>
                      </a:lnTo>
                      <a:lnTo>
                        <a:pt x="262" y="38"/>
                      </a:lnTo>
                      <a:lnTo>
                        <a:pt x="245" y="36"/>
                      </a:lnTo>
                      <a:lnTo>
                        <a:pt x="226" y="34"/>
                      </a:lnTo>
                      <a:lnTo>
                        <a:pt x="204" y="32"/>
                      </a:lnTo>
                      <a:lnTo>
                        <a:pt x="181" y="30"/>
                      </a:lnTo>
                      <a:lnTo>
                        <a:pt x="156" y="27"/>
                      </a:lnTo>
                      <a:lnTo>
                        <a:pt x="132" y="25"/>
                      </a:lnTo>
                      <a:lnTo>
                        <a:pt x="107" y="23"/>
                      </a:lnTo>
                      <a:lnTo>
                        <a:pt x="83" y="20"/>
                      </a:lnTo>
                      <a:lnTo>
                        <a:pt x="60" y="18"/>
                      </a:lnTo>
                      <a:lnTo>
                        <a:pt x="38" y="16"/>
                      </a:lnTo>
                      <a:lnTo>
                        <a:pt x="17" y="13"/>
                      </a:lnTo>
                      <a:lnTo>
                        <a:pt x="0" y="12"/>
                      </a:lnTo>
                      <a:lnTo>
                        <a:pt x="3" y="0"/>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46" name="Freeform 130">
                  <a:extLst>
                    <a:ext uri="{FF2B5EF4-FFF2-40B4-BE49-F238E27FC236}">
                      <a16:creationId xmlns:a16="http://schemas.microsoft.com/office/drawing/2014/main" id="{72FAC588-EC6C-4BF1-AE43-B4EC2FDF4F99}"/>
                    </a:ext>
                  </a:extLst>
                </p:cNvPr>
                <p:cNvSpPr>
                  <a:spLocks/>
                </p:cNvSpPr>
                <p:nvPr/>
              </p:nvSpPr>
              <p:spPr bwMode="auto">
                <a:xfrm>
                  <a:off x="4746625" y="4164013"/>
                  <a:ext cx="498475" cy="50800"/>
                </a:xfrm>
                <a:custGeom>
                  <a:avLst/>
                  <a:gdLst>
                    <a:gd name="T0" fmla="*/ 2147483646 w 627"/>
                    <a:gd name="T1" fmla="*/ 2147483646 h 65"/>
                    <a:gd name="T2" fmla="*/ 2147483646 w 627"/>
                    <a:gd name="T3" fmla="*/ 2147483646 h 65"/>
                    <a:gd name="T4" fmla="*/ 2147483646 w 627"/>
                    <a:gd name="T5" fmla="*/ 2147483646 h 65"/>
                    <a:gd name="T6" fmla="*/ 2147483646 w 627"/>
                    <a:gd name="T7" fmla="*/ 2147483646 h 65"/>
                    <a:gd name="T8" fmla="*/ 2147483646 w 627"/>
                    <a:gd name="T9" fmla="*/ 2147483646 h 65"/>
                    <a:gd name="T10" fmla="*/ 2147483646 w 627"/>
                    <a:gd name="T11" fmla="*/ 2147483646 h 65"/>
                    <a:gd name="T12" fmla="*/ 2147483646 w 627"/>
                    <a:gd name="T13" fmla="*/ 2147483646 h 65"/>
                    <a:gd name="T14" fmla="*/ 2147483646 w 627"/>
                    <a:gd name="T15" fmla="*/ 2147483646 h 65"/>
                    <a:gd name="T16" fmla="*/ 2147483646 w 627"/>
                    <a:gd name="T17" fmla="*/ 2147483646 h 65"/>
                    <a:gd name="T18" fmla="*/ 2147483646 w 627"/>
                    <a:gd name="T19" fmla="*/ 2147483646 h 65"/>
                    <a:gd name="T20" fmla="*/ 2147483646 w 627"/>
                    <a:gd name="T21" fmla="*/ 2147483646 h 65"/>
                    <a:gd name="T22" fmla="*/ 2147483646 w 627"/>
                    <a:gd name="T23" fmla="*/ 2147483646 h 65"/>
                    <a:gd name="T24" fmla="*/ 2147483646 w 627"/>
                    <a:gd name="T25" fmla="*/ 2147483646 h 65"/>
                    <a:gd name="T26" fmla="*/ 2147483646 w 627"/>
                    <a:gd name="T27" fmla="*/ 2147483646 h 65"/>
                    <a:gd name="T28" fmla="*/ 2147483646 w 627"/>
                    <a:gd name="T29" fmla="*/ 2147483646 h 65"/>
                    <a:gd name="T30" fmla="*/ 2147483646 w 627"/>
                    <a:gd name="T31" fmla="*/ 2147483646 h 65"/>
                    <a:gd name="T32" fmla="*/ 2147483646 w 627"/>
                    <a:gd name="T33" fmla="*/ 2147483646 h 65"/>
                    <a:gd name="T34" fmla="*/ 2147483646 w 627"/>
                    <a:gd name="T35" fmla="*/ 2147483646 h 65"/>
                    <a:gd name="T36" fmla="*/ 2147483646 w 627"/>
                    <a:gd name="T37" fmla="*/ 0 h 65"/>
                    <a:gd name="T38" fmla="*/ 2147483646 w 627"/>
                    <a:gd name="T39" fmla="*/ 0 h 65"/>
                    <a:gd name="T40" fmla="*/ 2147483646 w 627"/>
                    <a:gd name="T41" fmla="*/ 0 h 65"/>
                    <a:gd name="T42" fmla="*/ 2147483646 w 627"/>
                    <a:gd name="T43" fmla="*/ 0 h 65"/>
                    <a:gd name="T44" fmla="*/ 2147483646 w 627"/>
                    <a:gd name="T45" fmla="*/ 0 h 65"/>
                    <a:gd name="T46" fmla="*/ 2147483646 w 627"/>
                    <a:gd name="T47" fmla="*/ 0 h 65"/>
                    <a:gd name="T48" fmla="*/ 2147483646 w 627"/>
                    <a:gd name="T49" fmla="*/ 0 h 65"/>
                    <a:gd name="T50" fmla="*/ 0 w 627"/>
                    <a:gd name="T51" fmla="*/ 2147483646 h 65"/>
                    <a:gd name="T52" fmla="*/ 2147483646 w 627"/>
                    <a:gd name="T53" fmla="*/ 2147483646 h 65"/>
                    <a:gd name="T54" fmla="*/ 2147483646 w 627"/>
                    <a:gd name="T55" fmla="*/ 2147483646 h 65"/>
                    <a:gd name="T56" fmla="*/ 2147483646 w 627"/>
                    <a:gd name="T57" fmla="*/ 2147483646 h 65"/>
                    <a:gd name="T58" fmla="*/ 2147483646 w 627"/>
                    <a:gd name="T59" fmla="*/ 2147483646 h 65"/>
                    <a:gd name="T60" fmla="*/ 2147483646 w 627"/>
                    <a:gd name="T61" fmla="*/ 2147483646 h 65"/>
                    <a:gd name="T62" fmla="*/ 2147483646 w 627"/>
                    <a:gd name="T63" fmla="*/ 2147483646 h 65"/>
                    <a:gd name="T64" fmla="*/ 2147483646 w 627"/>
                    <a:gd name="T65" fmla="*/ 2147483646 h 65"/>
                    <a:gd name="T66" fmla="*/ 2147483646 w 627"/>
                    <a:gd name="T67" fmla="*/ 2147483646 h 65"/>
                    <a:gd name="T68" fmla="*/ 2147483646 w 627"/>
                    <a:gd name="T69" fmla="*/ 2147483646 h 65"/>
                    <a:gd name="T70" fmla="*/ 2147483646 w 627"/>
                    <a:gd name="T71" fmla="*/ 2147483646 h 65"/>
                    <a:gd name="T72" fmla="*/ 2147483646 w 627"/>
                    <a:gd name="T73" fmla="*/ 2147483646 h 65"/>
                    <a:gd name="T74" fmla="*/ 2147483646 w 627"/>
                    <a:gd name="T75" fmla="*/ 2147483646 h 65"/>
                    <a:gd name="T76" fmla="*/ 2147483646 w 627"/>
                    <a:gd name="T77" fmla="*/ 2147483646 h 65"/>
                    <a:gd name="T78" fmla="*/ 2147483646 w 627"/>
                    <a:gd name="T79" fmla="*/ 2147483646 h 65"/>
                    <a:gd name="T80" fmla="*/ 2147483646 w 627"/>
                    <a:gd name="T81" fmla="*/ 2147483646 h 65"/>
                    <a:gd name="T82" fmla="*/ 2147483646 w 627"/>
                    <a:gd name="T83" fmla="*/ 2147483646 h 65"/>
                    <a:gd name="T84" fmla="*/ 2147483646 w 627"/>
                    <a:gd name="T85" fmla="*/ 2147483646 h 65"/>
                    <a:gd name="T86" fmla="*/ 2147483646 w 627"/>
                    <a:gd name="T87" fmla="*/ 2147483646 h 65"/>
                    <a:gd name="T88" fmla="*/ 2147483646 w 627"/>
                    <a:gd name="T89" fmla="*/ 2147483646 h 65"/>
                    <a:gd name="T90" fmla="*/ 2147483646 w 627"/>
                    <a:gd name="T91" fmla="*/ 2147483646 h 65"/>
                    <a:gd name="T92" fmla="*/ 2147483646 w 627"/>
                    <a:gd name="T93" fmla="*/ 2147483646 h 65"/>
                    <a:gd name="T94" fmla="*/ 2147483646 w 627"/>
                    <a:gd name="T95" fmla="*/ 2147483646 h 65"/>
                    <a:gd name="T96" fmla="*/ 2147483646 w 627"/>
                    <a:gd name="T97" fmla="*/ 2147483646 h 65"/>
                    <a:gd name="T98" fmla="*/ 2147483646 w 627"/>
                    <a:gd name="T99" fmla="*/ 2147483646 h 65"/>
                    <a:gd name="T100" fmla="*/ 2147483646 w 627"/>
                    <a:gd name="T101" fmla="*/ 2147483646 h 6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7"/>
                    <a:gd name="T154" fmla="*/ 0 h 65"/>
                    <a:gd name="T155" fmla="*/ 627 w 627"/>
                    <a:gd name="T156" fmla="*/ 65 h 6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7" h="65">
                      <a:moveTo>
                        <a:pt x="627" y="45"/>
                      </a:moveTo>
                      <a:lnTo>
                        <a:pt x="623" y="45"/>
                      </a:lnTo>
                      <a:lnTo>
                        <a:pt x="610" y="44"/>
                      </a:lnTo>
                      <a:lnTo>
                        <a:pt x="589" y="42"/>
                      </a:lnTo>
                      <a:lnTo>
                        <a:pt x="562" y="40"/>
                      </a:lnTo>
                      <a:lnTo>
                        <a:pt x="531" y="36"/>
                      </a:lnTo>
                      <a:lnTo>
                        <a:pt x="494" y="33"/>
                      </a:lnTo>
                      <a:lnTo>
                        <a:pt x="456" y="29"/>
                      </a:lnTo>
                      <a:lnTo>
                        <a:pt x="414" y="26"/>
                      </a:lnTo>
                      <a:lnTo>
                        <a:pt x="374" y="21"/>
                      </a:lnTo>
                      <a:lnTo>
                        <a:pt x="332" y="18"/>
                      </a:lnTo>
                      <a:lnTo>
                        <a:pt x="293" y="14"/>
                      </a:lnTo>
                      <a:lnTo>
                        <a:pt x="258" y="11"/>
                      </a:lnTo>
                      <a:lnTo>
                        <a:pt x="225" y="9"/>
                      </a:lnTo>
                      <a:lnTo>
                        <a:pt x="198" y="5"/>
                      </a:lnTo>
                      <a:lnTo>
                        <a:pt x="177" y="4"/>
                      </a:lnTo>
                      <a:lnTo>
                        <a:pt x="163" y="3"/>
                      </a:lnTo>
                      <a:lnTo>
                        <a:pt x="142" y="2"/>
                      </a:lnTo>
                      <a:lnTo>
                        <a:pt x="118" y="0"/>
                      </a:lnTo>
                      <a:lnTo>
                        <a:pt x="92" y="0"/>
                      </a:lnTo>
                      <a:lnTo>
                        <a:pt x="68" y="0"/>
                      </a:lnTo>
                      <a:lnTo>
                        <a:pt x="45" y="0"/>
                      </a:lnTo>
                      <a:lnTo>
                        <a:pt x="26" y="0"/>
                      </a:lnTo>
                      <a:lnTo>
                        <a:pt x="13" y="0"/>
                      </a:lnTo>
                      <a:lnTo>
                        <a:pt x="9" y="0"/>
                      </a:lnTo>
                      <a:lnTo>
                        <a:pt x="0" y="15"/>
                      </a:lnTo>
                      <a:lnTo>
                        <a:pt x="4" y="15"/>
                      </a:lnTo>
                      <a:lnTo>
                        <a:pt x="16" y="15"/>
                      </a:lnTo>
                      <a:lnTo>
                        <a:pt x="34" y="17"/>
                      </a:lnTo>
                      <a:lnTo>
                        <a:pt x="56" y="17"/>
                      </a:lnTo>
                      <a:lnTo>
                        <a:pt x="80" y="18"/>
                      </a:lnTo>
                      <a:lnTo>
                        <a:pt x="104" y="18"/>
                      </a:lnTo>
                      <a:lnTo>
                        <a:pt x="126" y="19"/>
                      </a:lnTo>
                      <a:lnTo>
                        <a:pt x="146" y="19"/>
                      </a:lnTo>
                      <a:lnTo>
                        <a:pt x="159" y="20"/>
                      </a:lnTo>
                      <a:lnTo>
                        <a:pt x="179" y="21"/>
                      </a:lnTo>
                      <a:lnTo>
                        <a:pt x="207" y="23"/>
                      </a:lnTo>
                      <a:lnTo>
                        <a:pt x="239" y="27"/>
                      </a:lnTo>
                      <a:lnTo>
                        <a:pt x="276" y="30"/>
                      </a:lnTo>
                      <a:lnTo>
                        <a:pt x="315" y="35"/>
                      </a:lnTo>
                      <a:lnTo>
                        <a:pt x="358" y="38"/>
                      </a:lnTo>
                      <a:lnTo>
                        <a:pt x="400" y="43"/>
                      </a:lnTo>
                      <a:lnTo>
                        <a:pt x="442" y="47"/>
                      </a:lnTo>
                      <a:lnTo>
                        <a:pt x="482" y="51"/>
                      </a:lnTo>
                      <a:lnTo>
                        <a:pt x="519" y="55"/>
                      </a:lnTo>
                      <a:lnTo>
                        <a:pt x="552" y="58"/>
                      </a:lnTo>
                      <a:lnTo>
                        <a:pt x="580" y="60"/>
                      </a:lnTo>
                      <a:lnTo>
                        <a:pt x="602" y="63"/>
                      </a:lnTo>
                      <a:lnTo>
                        <a:pt x="616" y="65"/>
                      </a:lnTo>
                      <a:lnTo>
                        <a:pt x="620" y="65"/>
                      </a:lnTo>
                      <a:lnTo>
                        <a:pt x="627"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47" name="Freeform 131">
                  <a:extLst>
                    <a:ext uri="{FF2B5EF4-FFF2-40B4-BE49-F238E27FC236}">
                      <a16:creationId xmlns:a16="http://schemas.microsoft.com/office/drawing/2014/main" id="{0D50BF50-A87C-45F6-BC83-8AEADF45AFF9}"/>
                    </a:ext>
                  </a:extLst>
                </p:cNvPr>
                <p:cNvSpPr>
                  <a:spLocks/>
                </p:cNvSpPr>
                <p:nvPr/>
              </p:nvSpPr>
              <p:spPr bwMode="auto">
                <a:xfrm>
                  <a:off x="4705350" y="4332288"/>
                  <a:ext cx="498475" cy="52387"/>
                </a:xfrm>
                <a:custGeom>
                  <a:avLst/>
                  <a:gdLst>
                    <a:gd name="T0" fmla="*/ 2147483646 w 627"/>
                    <a:gd name="T1" fmla="*/ 2147483646 h 65"/>
                    <a:gd name="T2" fmla="*/ 2147483646 w 627"/>
                    <a:gd name="T3" fmla="*/ 2147483646 h 65"/>
                    <a:gd name="T4" fmla="*/ 2147483646 w 627"/>
                    <a:gd name="T5" fmla="*/ 2147483646 h 65"/>
                    <a:gd name="T6" fmla="*/ 2147483646 w 627"/>
                    <a:gd name="T7" fmla="*/ 2147483646 h 65"/>
                    <a:gd name="T8" fmla="*/ 2147483646 w 627"/>
                    <a:gd name="T9" fmla="*/ 2147483646 h 65"/>
                    <a:gd name="T10" fmla="*/ 2147483646 w 627"/>
                    <a:gd name="T11" fmla="*/ 2147483646 h 65"/>
                    <a:gd name="T12" fmla="*/ 2147483646 w 627"/>
                    <a:gd name="T13" fmla="*/ 2147483646 h 65"/>
                    <a:gd name="T14" fmla="*/ 2147483646 w 627"/>
                    <a:gd name="T15" fmla="*/ 2147483646 h 65"/>
                    <a:gd name="T16" fmla="*/ 2147483646 w 627"/>
                    <a:gd name="T17" fmla="*/ 2147483646 h 65"/>
                    <a:gd name="T18" fmla="*/ 2147483646 w 627"/>
                    <a:gd name="T19" fmla="*/ 2147483646 h 65"/>
                    <a:gd name="T20" fmla="*/ 2147483646 w 627"/>
                    <a:gd name="T21" fmla="*/ 2147483646 h 65"/>
                    <a:gd name="T22" fmla="*/ 2147483646 w 627"/>
                    <a:gd name="T23" fmla="*/ 2147483646 h 65"/>
                    <a:gd name="T24" fmla="*/ 2147483646 w 627"/>
                    <a:gd name="T25" fmla="*/ 2147483646 h 65"/>
                    <a:gd name="T26" fmla="*/ 2147483646 w 627"/>
                    <a:gd name="T27" fmla="*/ 2147483646 h 65"/>
                    <a:gd name="T28" fmla="*/ 2147483646 w 627"/>
                    <a:gd name="T29" fmla="*/ 2147483646 h 65"/>
                    <a:gd name="T30" fmla="*/ 2147483646 w 627"/>
                    <a:gd name="T31" fmla="*/ 2147483646 h 65"/>
                    <a:gd name="T32" fmla="*/ 2147483646 w 627"/>
                    <a:gd name="T33" fmla="*/ 2147483646 h 65"/>
                    <a:gd name="T34" fmla="*/ 2147483646 w 627"/>
                    <a:gd name="T35" fmla="*/ 2147483646 h 65"/>
                    <a:gd name="T36" fmla="*/ 2147483646 w 627"/>
                    <a:gd name="T37" fmla="*/ 2147483646 h 65"/>
                    <a:gd name="T38" fmla="*/ 2147483646 w 627"/>
                    <a:gd name="T39" fmla="*/ 0 h 65"/>
                    <a:gd name="T40" fmla="*/ 2147483646 w 627"/>
                    <a:gd name="T41" fmla="*/ 0 h 65"/>
                    <a:gd name="T42" fmla="*/ 2147483646 w 627"/>
                    <a:gd name="T43" fmla="*/ 2147483646 h 65"/>
                    <a:gd name="T44" fmla="*/ 2147483646 w 627"/>
                    <a:gd name="T45" fmla="*/ 2147483646 h 65"/>
                    <a:gd name="T46" fmla="*/ 2147483646 w 627"/>
                    <a:gd name="T47" fmla="*/ 2147483646 h 65"/>
                    <a:gd name="T48" fmla="*/ 2147483646 w 627"/>
                    <a:gd name="T49" fmla="*/ 2147483646 h 65"/>
                    <a:gd name="T50" fmla="*/ 0 w 627"/>
                    <a:gd name="T51" fmla="*/ 2147483646 h 65"/>
                    <a:gd name="T52" fmla="*/ 2147483646 w 627"/>
                    <a:gd name="T53" fmla="*/ 2147483646 h 65"/>
                    <a:gd name="T54" fmla="*/ 2147483646 w 627"/>
                    <a:gd name="T55" fmla="*/ 2147483646 h 65"/>
                    <a:gd name="T56" fmla="*/ 2147483646 w 627"/>
                    <a:gd name="T57" fmla="*/ 2147483646 h 65"/>
                    <a:gd name="T58" fmla="*/ 2147483646 w 627"/>
                    <a:gd name="T59" fmla="*/ 2147483646 h 65"/>
                    <a:gd name="T60" fmla="*/ 2147483646 w 627"/>
                    <a:gd name="T61" fmla="*/ 2147483646 h 65"/>
                    <a:gd name="T62" fmla="*/ 2147483646 w 627"/>
                    <a:gd name="T63" fmla="*/ 2147483646 h 65"/>
                    <a:gd name="T64" fmla="*/ 2147483646 w 627"/>
                    <a:gd name="T65" fmla="*/ 2147483646 h 65"/>
                    <a:gd name="T66" fmla="*/ 2147483646 w 627"/>
                    <a:gd name="T67" fmla="*/ 2147483646 h 65"/>
                    <a:gd name="T68" fmla="*/ 2147483646 w 627"/>
                    <a:gd name="T69" fmla="*/ 2147483646 h 65"/>
                    <a:gd name="T70" fmla="*/ 2147483646 w 627"/>
                    <a:gd name="T71" fmla="*/ 2147483646 h 65"/>
                    <a:gd name="T72" fmla="*/ 2147483646 w 627"/>
                    <a:gd name="T73" fmla="*/ 2147483646 h 65"/>
                    <a:gd name="T74" fmla="*/ 2147483646 w 627"/>
                    <a:gd name="T75" fmla="*/ 2147483646 h 65"/>
                    <a:gd name="T76" fmla="*/ 2147483646 w 627"/>
                    <a:gd name="T77" fmla="*/ 2147483646 h 65"/>
                    <a:gd name="T78" fmla="*/ 2147483646 w 627"/>
                    <a:gd name="T79" fmla="*/ 2147483646 h 65"/>
                    <a:gd name="T80" fmla="*/ 2147483646 w 627"/>
                    <a:gd name="T81" fmla="*/ 2147483646 h 65"/>
                    <a:gd name="T82" fmla="*/ 2147483646 w 627"/>
                    <a:gd name="T83" fmla="*/ 2147483646 h 65"/>
                    <a:gd name="T84" fmla="*/ 2147483646 w 627"/>
                    <a:gd name="T85" fmla="*/ 2147483646 h 65"/>
                    <a:gd name="T86" fmla="*/ 2147483646 w 627"/>
                    <a:gd name="T87" fmla="*/ 2147483646 h 65"/>
                    <a:gd name="T88" fmla="*/ 2147483646 w 627"/>
                    <a:gd name="T89" fmla="*/ 2147483646 h 65"/>
                    <a:gd name="T90" fmla="*/ 2147483646 w 627"/>
                    <a:gd name="T91" fmla="*/ 2147483646 h 65"/>
                    <a:gd name="T92" fmla="*/ 2147483646 w 627"/>
                    <a:gd name="T93" fmla="*/ 2147483646 h 65"/>
                    <a:gd name="T94" fmla="*/ 2147483646 w 627"/>
                    <a:gd name="T95" fmla="*/ 2147483646 h 65"/>
                    <a:gd name="T96" fmla="*/ 2147483646 w 627"/>
                    <a:gd name="T97" fmla="*/ 2147483646 h 65"/>
                    <a:gd name="T98" fmla="*/ 2147483646 w 627"/>
                    <a:gd name="T99" fmla="*/ 2147483646 h 65"/>
                    <a:gd name="T100" fmla="*/ 2147483646 w 627"/>
                    <a:gd name="T101" fmla="*/ 2147483646 h 6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7"/>
                    <a:gd name="T154" fmla="*/ 0 h 65"/>
                    <a:gd name="T155" fmla="*/ 627 w 627"/>
                    <a:gd name="T156" fmla="*/ 65 h 6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7" h="65">
                      <a:moveTo>
                        <a:pt x="627" y="44"/>
                      </a:moveTo>
                      <a:lnTo>
                        <a:pt x="623" y="44"/>
                      </a:lnTo>
                      <a:lnTo>
                        <a:pt x="610" y="43"/>
                      </a:lnTo>
                      <a:lnTo>
                        <a:pt x="589" y="41"/>
                      </a:lnTo>
                      <a:lnTo>
                        <a:pt x="562" y="39"/>
                      </a:lnTo>
                      <a:lnTo>
                        <a:pt x="531" y="35"/>
                      </a:lnTo>
                      <a:lnTo>
                        <a:pt x="494" y="32"/>
                      </a:lnTo>
                      <a:lnTo>
                        <a:pt x="456" y="28"/>
                      </a:lnTo>
                      <a:lnTo>
                        <a:pt x="414" y="25"/>
                      </a:lnTo>
                      <a:lnTo>
                        <a:pt x="374" y="21"/>
                      </a:lnTo>
                      <a:lnTo>
                        <a:pt x="333" y="17"/>
                      </a:lnTo>
                      <a:lnTo>
                        <a:pt x="293" y="13"/>
                      </a:lnTo>
                      <a:lnTo>
                        <a:pt x="258" y="10"/>
                      </a:lnTo>
                      <a:lnTo>
                        <a:pt x="225" y="8"/>
                      </a:lnTo>
                      <a:lnTo>
                        <a:pt x="198" y="5"/>
                      </a:lnTo>
                      <a:lnTo>
                        <a:pt x="177" y="3"/>
                      </a:lnTo>
                      <a:lnTo>
                        <a:pt x="163" y="2"/>
                      </a:lnTo>
                      <a:lnTo>
                        <a:pt x="143" y="1"/>
                      </a:lnTo>
                      <a:lnTo>
                        <a:pt x="118" y="1"/>
                      </a:lnTo>
                      <a:lnTo>
                        <a:pt x="92" y="0"/>
                      </a:lnTo>
                      <a:lnTo>
                        <a:pt x="68" y="0"/>
                      </a:lnTo>
                      <a:lnTo>
                        <a:pt x="45" y="1"/>
                      </a:lnTo>
                      <a:lnTo>
                        <a:pt x="26" y="1"/>
                      </a:lnTo>
                      <a:lnTo>
                        <a:pt x="14" y="1"/>
                      </a:lnTo>
                      <a:lnTo>
                        <a:pt x="9" y="1"/>
                      </a:lnTo>
                      <a:lnTo>
                        <a:pt x="0" y="16"/>
                      </a:lnTo>
                      <a:lnTo>
                        <a:pt x="4" y="16"/>
                      </a:lnTo>
                      <a:lnTo>
                        <a:pt x="16" y="16"/>
                      </a:lnTo>
                      <a:lnTo>
                        <a:pt x="34" y="16"/>
                      </a:lnTo>
                      <a:lnTo>
                        <a:pt x="56" y="17"/>
                      </a:lnTo>
                      <a:lnTo>
                        <a:pt x="80" y="17"/>
                      </a:lnTo>
                      <a:lnTo>
                        <a:pt x="105" y="18"/>
                      </a:lnTo>
                      <a:lnTo>
                        <a:pt x="126" y="18"/>
                      </a:lnTo>
                      <a:lnTo>
                        <a:pt x="146" y="19"/>
                      </a:lnTo>
                      <a:lnTo>
                        <a:pt x="159" y="20"/>
                      </a:lnTo>
                      <a:lnTo>
                        <a:pt x="179" y="21"/>
                      </a:lnTo>
                      <a:lnTo>
                        <a:pt x="207" y="24"/>
                      </a:lnTo>
                      <a:lnTo>
                        <a:pt x="239" y="27"/>
                      </a:lnTo>
                      <a:lnTo>
                        <a:pt x="276" y="31"/>
                      </a:lnTo>
                      <a:lnTo>
                        <a:pt x="315" y="34"/>
                      </a:lnTo>
                      <a:lnTo>
                        <a:pt x="358" y="39"/>
                      </a:lnTo>
                      <a:lnTo>
                        <a:pt x="401" y="42"/>
                      </a:lnTo>
                      <a:lnTo>
                        <a:pt x="442" y="47"/>
                      </a:lnTo>
                      <a:lnTo>
                        <a:pt x="482" y="51"/>
                      </a:lnTo>
                      <a:lnTo>
                        <a:pt x="519" y="55"/>
                      </a:lnTo>
                      <a:lnTo>
                        <a:pt x="553" y="58"/>
                      </a:lnTo>
                      <a:lnTo>
                        <a:pt x="580" y="61"/>
                      </a:lnTo>
                      <a:lnTo>
                        <a:pt x="602" y="63"/>
                      </a:lnTo>
                      <a:lnTo>
                        <a:pt x="616" y="65"/>
                      </a:lnTo>
                      <a:lnTo>
                        <a:pt x="621" y="65"/>
                      </a:lnTo>
                      <a:lnTo>
                        <a:pt x="627"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48" name="Freeform 132">
                  <a:extLst>
                    <a:ext uri="{FF2B5EF4-FFF2-40B4-BE49-F238E27FC236}">
                      <a16:creationId xmlns:a16="http://schemas.microsoft.com/office/drawing/2014/main" id="{96B8C54C-A817-442C-A78D-DD90840C2C43}"/>
                    </a:ext>
                  </a:extLst>
                </p:cNvPr>
                <p:cNvSpPr>
                  <a:spLocks/>
                </p:cNvSpPr>
                <p:nvPr/>
              </p:nvSpPr>
              <p:spPr bwMode="auto">
                <a:xfrm>
                  <a:off x="4679950" y="4441825"/>
                  <a:ext cx="498475" cy="52387"/>
                </a:xfrm>
                <a:custGeom>
                  <a:avLst/>
                  <a:gdLst>
                    <a:gd name="T0" fmla="*/ 2147483646 w 627"/>
                    <a:gd name="T1" fmla="*/ 2147483646 h 65"/>
                    <a:gd name="T2" fmla="*/ 2147483646 w 627"/>
                    <a:gd name="T3" fmla="*/ 2147483646 h 65"/>
                    <a:gd name="T4" fmla="*/ 2147483646 w 627"/>
                    <a:gd name="T5" fmla="*/ 2147483646 h 65"/>
                    <a:gd name="T6" fmla="*/ 2147483646 w 627"/>
                    <a:gd name="T7" fmla="*/ 2147483646 h 65"/>
                    <a:gd name="T8" fmla="*/ 2147483646 w 627"/>
                    <a:gd name="T9" fmla="*/ 2147483646 h 65"/>
                    <a:gd name="T10" fmla="*/ 2147483646 w 627"/>
                    <a:gd name="T11" fmla="*/ 2147483646 h 65"/>
                    <a:gd name="T12" fmla="*/ 2147483646 w 627"/>
                    <a:gd name="T13" fmla="*/ 2147483646 h 65"/>
                    <a:gd name="T14" fmla="*/ 2147483646 w 627"/>
                    <a:gd name="T15" fmla="*/ 2147483646 h 65"/>
                    <a:gd name="T16" fmla="*/ 2147483646 w 627"/>
                    <a:gd name="T17" fmla="*/ 2147483646 h 65"/>
                    <a:gd name="T18" fmla="*/ 2147483646 w 627"/>
                    <a:gd name="T19" fmla="*/ 2147483646 h 65"/>
                    <a:gd name="T20" fmla="*/ 2147483646 w 627"/>
                    <a:gd name="T21" fmla="*/ 2147483646 h 65"/>
                    <a:gd name="T22" fmla="*/ 2147483646 w 627"/>
                    <a:gd name="T23" fmla="*/ 2147483646 h 65"/>
                    <a:gd name="T24" fmla="*/ 2147483646 w 627"/>
                    <a:gd name="T25" fmla="*/ 2147483646 h 65"/>
                    <a:gd name="T26" fmla="*/ 2147483646 w 627"/>
                    <a:gd name="T27" fmla="*/ 2147483646 h 65"/>
                    <a:gd name="T28" fmla="*/ 2147483646 w 627"/>
                    <a:gd name="T29" fmla="*/ 2147483646 h 65"/>
                    <a:gd name="T30" fmla="*/ 2147483646 w 627"/>
                    <a:gd name="T31" fmla="*/ 2147483646 h 65"/>
                    <a:gd name="T32" fmla="*/ 2147483646 w 627"/>
                    <a:gd name="T33" fmla="*/ 2147483646 h 65"/>
                    <a:gd name="T34" fmla="*/ 2147483646 w 627"/>
                    <a:gd name="T35" fmla="*/ 2147483646 h 65"/>
                    <a:gd name="T36" fmla="*/ 2147483646 w 627"/>
                    <a:gd name="T37" fmla="*/ 2147483646 h 65"/>
                    <a:gd name="T38" fmla="*/ 2147483646 w 627"/>
                    <a:gd name="T39" fmla="*/ 0 h 65"/>
                    <a:gd name="T40" fmla="*/ 2147483646 w 627"/>
                    <a:gd name="T41" fmla="*/ 0 h 65"/>
                    <a:gd name="T42" fmla="*/ 2147483646 w 627"/>
                    <a:gd name="T43" fmla="*/ 2147483646 h 65"/>
                    <a:gd name="T44" fmla="*/ 2147483646 w 627"/>
                    <a:gd name="T45" fmla="*/ 2147483646 h 65"/>
                    <a:gd name="T46" fmla="*/ 2147483646 w 627"/>
                    <a:gd name="T47" fmla="*/ 2147483646 h 65"/>
                    <a:gd name="T48" fmla="*/ 2147483646 w 627"/>
                    <a:gd name="T49" fmla="*/ 2147483646 h 65"/>
                    <a:gd name="T50" fmla="*/ 0 w 627"/>
                    <a:gd name="T51" fmla="*/ 2147483646 h 65"/>
                    <a:gd name="T52" fmla="*/ 2147483646 w 627"/>
                    <a:gd name="T53" fmla="*/ 2147483646 h 65"/>
                    <a:gd name="T54" fmla="*/ 2147483646 w 627"/>
                    <a:gd name="T55" fmla="*/ 2147483646 h 65"/>
                    <a:gd name="T56" fmla="*/ 2147483646 w 627"/>
                    <a:gd name="T57" fmla="*/ 2147483646 h 65"/>
                    <a:gd name="T58" fmla="*/ 2147483646 w 627"/>
                    <a:gd name="T59" fmla="*/ 2147483646 h 65"/>
                    <a:gd name="T60" fmla="*/ 2147483646 w 627"/>
                    <a:gd name="T61" fmla="*/ 2147483646 h 65"/>
                    <a:gd name="T62" fmla="*/ 2147483646 w 627"/>
                    <a:gd name="T63" fmla="*/ 2147483646 h 65"/>
                    <a:gd name="T64" fmla="*/ 2147483646 w 627"/>
                    <a:gd name="T65" fmla="*/ 2147483646 h 65"/>
                    <a:gd name="T66" fmla="*/ 2147483646 w 627"/>
                    <a:gd name="T67" fmla="*/ 2147483646 h 65"/>
                    <a:gd name="T68" fmla="*/ 2147483646 w 627"/>
                    <a:gd name="T69" fmla="*/ 2147483646 h 65"/>
                    <a:gd name="T70" fmla="*/ 2147483646 w 627"/>
                    <a:gd name="T71" fmla="*/ 2147483646 h 65"/>
                    <a:gd name="T72" fmla="*/ 2147483646 w 627"/>
                    <a:gd name="T73" fmla="*/ 2147483646 h 65"/>
                    <a:gd name="T74" fmla="*/ 2147483646 w 627"/>
                    <a:gd name="T75" fmla="*/ 2147483646 h 65"/>
                    <a:gd name="T76" fmla="*/ 2147483646 w 627"/>
                    <a:gd name="T77" fmla="*/ 2147483646 h 65"/>
                    <a:gd name="T78" fmla="*/ 2147483646 w 627"/>
                    <a:gd name="T79" fmla="*/ 2147483646 h 65"/>
                    <a:gd name="T80" fmla="*/ 2147483646 w 627"/>
                    <a:gd name="T81" fmla="*/ 2147483646 h 65"/>
                    <a:gd name="T82" fmla="*/ 2147483646 w 627"/>
                    <a:gd name="T83" fmla="*/ 2147483646 h 65"/>
                    <a:gd name="T84" fmla="*/ 2147483646 w 627"/>
                    <a:gd name="T85" fmla="*/ 2147483646 h 65"/>
                    <a:gd name="T86" fmla="*/ 2147483646 w 627"/>
                    <a:gd name="T87" fmla="*/ 2147483646 h 65"/>
                    <a:gd name="T88" fmla="*/ 2147483646 w 627"/>
                    <a:gd name="T89" fmla="*/ 2147483646 h 65"/>
                    <a:gd name="T90" fmla="*/ 2147483646 w 627"/>
                    <a:gd name="T91" fmla="*/ 2147483646 h 65"/>
                    <a:gd name="T92" fmla="*/ 2147483646 w 627"/>
                    <a:gd name="T93" fmla="*/ 2147483646 h 65"/>
                    <a:gd name="T94" fmla="*/ 2147483646 w 627"/>
                    <a:gd name="T95" fmla="*/ 2147483646 h 65"/>
                    <a:gd name="T96" fmla="*/ 2147483646 w 627"/>
                    <a:gd name="T97" fmla="*/ 2147483646 h 65"/>
                    <a:gd name="T98" fmla="*/ 2147483646 w 627"/>
                    <a:gd name="T99" fmla="*/ 2147483646 h 65"/>
                    <a:gd name="T100" fmla="*/ 2147483646 w 627"/>
                    <a:gd name="T101" fmla="*/ 2147483646 h 6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7"/>
                    <a:gd name="T154" fmla="*/ 0 h 65"/>
                    <a:gd name="T155" fmla="*/ 627 w 627"/>
                    <a:gd name="T156" fmla="*/ 65 h 6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7" h="65">
                      <a:moveTo>
                        <a:pt x="627" y="45"/>
                      </a:moveTo>
                      <a:lnTo>
                        <a:pt x="623" y="45"/>
                      </a:lnTo>
                      <a:lnTo>
                        <a:pt x="610" y="43"/>
                      </a:lnTo>
                      <a:lnTo>
                        <a:pt x="589" y="41"/>
                      </a:lnTo>
                      <a:lnTo>
                        <a:pt x="562" y="39"/>
                      </a:lnTo>
                      <a:lnTo>
                        <a:pt x="530" y="35"/>
                      </a:lnTo>
                      <a:lnTo>
                        <a:pt x="494" y="32"/>
                      </a:lnTo>
                      <a:lnTo>
                        <a:pt x="456" y="28"/>
                      </a:lnTo>
                      <a:lnTo>
                        <a:pt x="414" y="25"/>
                      </a:lnTo>
                      <a:lnTo>
                        <a:pt x="374" y="22"/>
                      </a:lnTo>
                      <a:lnTo>
                        <a:pt x="332" y="17"/>
                      </a:lnTo>
                      <a:lnTo>
                        <a:pt x="293" y="13"/>
                      </a:lnTo>
                      <a:lnTo>
                        <a:pt x="257" y="10"/>
                      </a:lnTo>
                      <a:lnTo>
                        <a:pt x="225" y="8"/>
                      </a:lnTo>
                      <a:lnTo>
                        <a:pt x="198" y="5"/>
                      </a:lnTo>
                      <a:lnTo>
                        <a:pt x="177" y="3"/>
                      </a:lnTo>
                      <a:lnTo>
                        <a:pt x="163" y="2"/>
                      </a:lnTo>
                      <a:lnTo>
                        <a:pt x="141" y="1"/>
                      </a:lnTo>
                      <a:lnTo>
                        <a:pt x="117" y="1"/>
                      </a:lnTo>
                      <a:lnTo>
                        <a:pt x="92" y="0"/>
                      </a:lnTo>
                      <a:lnTo>
                        <a:pt x="66" y="0"/>
                      </a:lnTo>
                      <a:lnTo>
                        <a:pt x="44" y="1"/>
                      </a:lnTo>
                      <a:lnTo>
                        <a:pt x="26" y="1"/>
                      </a:lnTo>
                      <a:lnTo>
                        <a:pt x="13" y="1"/>
                      </a:lnTo>
                      <a:lnTo>
                        <a:pt x="9" y="1"/>
                      </a:lnTo>
                      <a:lnTo>
                        <a:pt x="0" y="16"/>
                      </a:lnTo>
                      <a:lnTo>
                        <a:pt x="4" y="16"/>
                      </a:lnTo>
                      <a:lnTo>
                        <a:pt x="16" y="16"/>
                      </a:lnTo>
                      <a:lnTo>
                        <a:pt x="34" y="16"/>
                      </a:lnTo>
                      <a:lnTo>
                        <a:pt x="56" y="17"/>
                      </a:lnTo>
                      <a:lnTo>
                        <a:pt x="80" y="17"/>
                      </a:lnTo>
                      <a:lnTo>
                        <a:pt x="104" y="18"/>
                      </a:lnTo>
                      <a:lnTo>
                        <a:pt x="126" y="18"/>
                      </a:lnTo>
                      <a:lnTo>
                        <a:pt x="146" y="19"/>
                      </a:lnTo>
                      <a:lnTo>
                        <a:pt x="158" y="20"/>
                      </a:lnTo>
                      <a:lnTo>
                        <a:pt x="179" y="22"/>
                      </a:lnTo>
                      <a:lnTo>
                        <a:pt x="206" y="24"/>
                      </a:lnTo>
                      <a:lnTo>
                        <a:pt x="238" y="27"/>
                      </a:lnTo>
                      <a:lnTo>
                        <a:pt x="275" y="31"/>
                      </a:lnTo>
                      <a:lnTo>
                        <a:pt x="315" y="34"/>
                      </a:lnTo>
                      <a:lnTo>
                        <a:pt x="357" y="39"/>
                      </a:lnTo>
                      <a:lnTo>
                        <a:pt x="399" y="42"/>
                      </a:lnTo>
                      <a:lnTo>
                        <a:pt x="442" y="47"/>
                      </a:lnTo>
                      <a:lnTo>
                        <a:pt x="482" y="51"/>
                      </a:lnTo>
                      <a:lnTo>
                        <a:pt x="519" y="55"/>
                      </a:lnTo>
                      <a:lnTo>
                        <a:pt x="552" y="58"/>
                      </a:lnTo>
                      <a:lnTo>
                        <a:pt x="580" y="61"/>
                      </a:lnTo>
                      <a:lnTo>
                        <a:pt x="602" y="63"/>
                      </a:lnTo>
                      <a:lnTo>
                        <a:pt x="616" y="65"/>
                      </a:lnTo>
                      <a:lnTo>
                        <a:pt x="620" y="65"/>
                      </a:lnTo>
                      <a:lnTo>
                        <a:pt x="627"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49" name="Freeform 133">
                  <a:extLst>
                    <a:ext uri="{FF2B5EF4-FFF2-40B4-BE49-F238E27FC236}">
                      <a16:creationId xmlns:a16="http://schemas.microsoft.com/office/drawing/2014/main" id="{7CB23675-6EBC-484B-8338-1D8CAFE5F5BB}"/>
                    </a:ext>
                  </a:extLst>
                </p:cNvPr>
                <p:cNvSpPr>
                  <a:spLocks/>
                </p:cNvSpPr>
                <p:nvPr/>
              </p:nvSpPr>
              <p:spPr bwMode="auto">
                <a:xfrm>
                  <a:off x="4659313" y="4489450"/>
                  <a:ext cx="496887" cy="52387"/>
                </a:xfrm>
                <a:custGeom>
                  <a:avLst/>
                  <a:gdLst>
                    <a:gd name="T0" fmla="*/ 2147483646 w 627"/>
                    <a:gd name="T1" fmla="*/ 2147483646 h 65"/>
                    <a:gd name="T2" fmla="*/ 2147483646 w 627"/>
                    <a:gd name="T3" fmla="*/ 2147483646 h 65"/>
                    <a:gd name="T4" fmla="*/ 2147483646 w 627"/>
                    <a:gd name="T5" fmla="*/ 2147483646 h 65"/>
                    <a:gd name="T6" fmla="*/ 2147483646 w 627"/>
                    <a:gd name="T7" fmla="*/ 2147483646 h 65"/>
                    <a:gd name="T8" fmla="*/ 2147483646 w 627"/>
                    <a:gd name="T9" fmla="*/ 2147483646 h 65"/>
                    <a:gd name="T10" fmla="*/ 2147483646 w 627"/>
                    <a:gd name="T11" fmla="*/ 2147483646 h 65"/>
                    <a:gd name="T12" fmla="*/ 2147483646 w 627"/>
                    <a:gd name="T13" fmla="*/ 2147483646 h 65"/>
                    <a:gd name="T14" fmla="*/ 2147483646 w 627"/>
                    <a:gd name="T15" fmla="*/ 2147483646 h 65"/>
                    <a:gd name="T16" fmla="*/ 2147483646 w 627"/>
                    <a:gd name="T17" fmla="*/ 2147483646 h 65"/>
                    <a:gd name="T18" fmla="*/ 2147483646 w 627"/>
                    <a:gd name="T19" fmla="*/ 2147483646 h 65"/>
                    <a:gd name="T20" fmla="*/ 2147483646 w 627"/>
                    <a:gd name="T21" fmla="*/ 2147483646 h 65"/>
                    <a:gd name="T22" fmla="*/ 2147483646 w 627"/>
                    <a:gd name="T23" fmla="*/ 2147483646 h 65"/>
                    <a:gd name="T24" fmla="*/ 2147483646 w 627"/>
                    <a:gd name="T25" fmla="*/ 2147483646 h 65"/>
                    <a:gd name="T26" fmla="*/ 2147483646 w 627"/>
                    <a:gd name="T27" fmla="*/ 2147483646 h 65"/>
                    <a:gd name="T28" fmla="*/ 2147483646 w 627"/>
                    <a:gd name="T29" fmla="*/ 2147483646 h 65"/>
                    <a:gd name="T30" fmla="*/ 2147483646 w 627"/>
                    <a:gd name="T31" fmla="*/ 2147483646 h 65"/>
                    <a:gd name="T32" fmla="*/ 2147483646 w 627"/>
                    <a:gd name="T33" fmla="*/ 2147483646 h 65"/>
                    <a:gd name="T34" fmla="*/ 2147483646 w 627"/>
                    <a:gd name="T35" fmla="*/ 2147483646 h 65"/>
                    <a:gd name="T36" fmla="*/ 2147483646 w 627"/>
                    <a:gd name="T37" fmla="*/ 2147483646 h 65"/>
                    <a:gd name="T38" fmla="*/ 2147483646 w 627"/>
                    <a:gd name="T39" fmla="*/ 0 h 65"/>
                    <a:gd name="T40" fmla="*/ 2147483646 w 627"/>
                    <a:gd name="T41" fmla="*/ 0 h 65"/>
                    <a:gd name="T42" fmla="*/ 2147483646 w 627"/>
                    <a:gd name="T43" fmla="*/ 2147483646 h 65"/>
                    <a:gd name="T44" fmla="*/ 2147483646 w 627"/>
                    <a:gd name="T45" fmla="*/ 2147483646 h 65"/>
                    <a:gd name="T46" fmla="*/ 2147483646 w 627"/>
                    <a:gd name="T47" fmla="*/ 2147483646 h 65"/>
                    <a:gd name="T48" fmla="*/ 2147483646 w 627"/>
                    <a:gd name="T49" fmla="*/ 2147483646 h 65"/>
                    <a:gd name="T50" fmla="*/ 0 w 627"/>
                    <a:gd name="T51" fmla="*/ 2147483646 h 65"/>
                    <a:gd name="T52" fmla="*/ 2147483646 w 627"/>
                    <a:gd name="T53" fmla="*/ 2147483646 h 65"/>
                    <a:gd name="T54" fmla="*/ 2147483646 w 627"/>
                    <a:gd name="T55" fmla="*/ 2147483646 h 65"/>
                    <a:gd name="T56" fmla="*/ 2147483646 w 627"/>
                    <a:gd name="T57" fmla="*/ 2147483646 h 65"/>
                    <a:gd name="T58" fmla="*/ 2147483646 w 627"/>
                    <a:gd name="T59" fmla="*/ 2147483646 h 65"/>
                    <a:gd name="T60" fmla="*/ 2147483646 w 627"/>
                    <a:gd name="T61" fmla="*/ 2147483646 h 65"/>
                    <a:gd name="T62" fmla="*/ 2147483646 w 627"/>
                    <a:gd name="T63" fmla="*/ 2147483646 h 65"/>
                    <a:gd name="T64" fmla="*/ 2147483646 w 627"/>
                    <a:gd name="T65" fmla="*/ 2147483646 h 65"/>
                    <a:gd name="T66" fmla="*/ 2147483646 w 627"/>
                    <a:gd name="T67" fmla="*/ 2147483646 h 65"/>
                    <a:gd name="T68" fmla="*/ 2147483646 w 627"/>
                    <a:gd name="T69" fmla="*/ 2147483646 h 65"/>
                    <a:gd name="T70" fmla="*/ 2147483646 w 627"/>
                    <a:gd name="T71" fmla="*/ 2147483646 h 65"/>
                    <a:gd name="T72" fmla="*/ 2147483646 w 627"/>
                    <a:gd name="T73" fmla="*/ 2147483646 h 65"/>
                    <a:gd name="T74" fmla="*/ 2147483646 w 627"/>
                    <a:gd name="T75" fmla="*/ 2147483646 h 65"/>
                    <a:gd name="T76" fmla="*/ 2147483646 w 627"/>
                    <a:gd name="T77" fmla="*/ 2147483646 h 65"/>
                    <a:gd name="T78" fmla="*/ 2147483646 w 627"/>
                    <a:gd name="T79" fmla="*/ 2147483646 h 65"/>
                    <a:gd name="T80" fmla="*/ 2147483646 w 627"/>
                    <a:gd name="T81" fmla="*/ 2147483646 h 65"/>
                    <a:gd name="T82" fmla="*/ 2147483646 w 627"/>
                    <a:gd name="T83" fmla="*/ 2147483646 h 65"/>
                    <a:gd name="T84" fmla="*/ 2147483646 w 627"/>
                    <a:gd name="T85" fmla="*/ 2147483646 h 65"/>
                    <a:gd name="T86" fmla="*/ 2147483646 w 627"/>
                    <a:gd name="T87" fmla="*/ 2147483646 h 65"/>
                    <a:gd name="T88" fmla="*/ 2147483646 w 627"/>
                    <a:gd name="T89" fmla="*/ 2147483646 h 65"/>
                    <a:gd name="T90" fmla="*/ 2147483646 w 627"/>
                    <a:gd name="T91" fmla="*/ 2147483646 h 65"/>
                    <a:gd name="T92" fmla="*/ 2147483646 w 627"/>
                    <a:gd name="T93" fmla="*/ 2147483646 h 65"/>
                    <a:gd name="T94" fmla="*/ 2147483646 w 627"/>
                    <a:gd name="T95" fmla="*/ 2147483646 h 65"/>
                    <a:gd name="T96" fmla="*/ 2147483646 w 627"/>
                    <a:gd name="T97" fmla="*/ 2147483646 h 65"/>
                    <a:gd name="T98" fmla="*/ 2147483646 w 627"/>
                    <a:gd name="T99" fmla="*/ 2147483646 h 65"/>
                    <a:gd name="T100" fmla="*/ 2147483646 w 627"/>
                    <a:gd name="T101" fmla="*/ 2147483646 h 6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7"/>
                    <a:gd name="T154" fmla="*/ 0 h 65"/>
                    <a:gd name="T155" fmla="*/ 627 w 627"/>
                    <a:gd name="T156" fmla="*/ 65 h 6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7" h="65">
                      <a:moveTo>
                        <a:pt x="627" y="44"/>
                      </a:moveTo>
                      <a:lnTo>
                        <a:pt x="622" y="44"/>
                      </a:lnTo>
                      <a:lnTo>
                        <a:pt x="609" y="43"/>
                      </a:lnTo>
                      <a:lnTo>
                        <a:pt x="589" y="41"/>
                      </a:lnTo>
                      <a:lnTo>
                        <a:pt x="562" y="39"/>
                      </a:lnTo>
                      <a:lnTo>
                        <a:pt x="530" y="35"/>
                      </a:lnTo>
                      <a:lnTo>
                        <a:pt x="494" y="32"/>
                      </a:lnTo>
                      <a:lnTo>
                        <a:pt x="455" y="28"/>
                      </a:lnTo>
                      <a:lnTo>
                        <a:pt x="415" y="25"/>
                      </a:lnTo>
                      <a:lnTo>
                        <a:pt x="373" y="21"/>
                      </a:lnTo>
                      <a:lnTo>
                        <a:pt x="333" y="17"/>
                      </a:lnTo>
                      <a:lnTo>
                        <a:pt x="294" y="13"/>
                      </a:lnTo>
                      <a:lnTo>
                        <a:pt x="258" y="10"/>
                      </a:lnTo>
                      <a:lnTo>
                        <a:pt x="226" y="8"/>
                      </a:lnTo>
                      <a:lnTo>
                        <a:pt x="198" y="5"/>
                      </a:lnTo>
                      <a:lnTo>
                        <a:pt x="177" y="3"/>
                      </a:lnTo>
                      <a:lnTo>
                        <a:pt x="164" y="2"/>
                      </a:lnTo>
                      <a:lnTo>
                        <a:pt x="142" y="1"/>
                      </a:lnTo>
                      <a:lnTo>
                        <a:pt x="118" y="1"/>
                      </a:lnTo>
                      <a:lnTo>
                        <a:pt x="92" y="0"/>
                      </a:lnTo>
                      <a:lnTo>
                        <a:pt x="67" y="0"/>
                      </a:lnTo>
                      <a:lnTo>
                        <a:pt x="45" y="1"/>
                      </a:lnTo>
                      <a:lnTo>
                        <a:pt x="27" y="1"/>
                      </a:lnTo>
                      <a:lnTo>
                        <a:pt x="14" y="1"/>
                      </a:lnTo>
                      <a:lnTo>
                        <a:pt x="9" y="1"/>
                      </a:lnTo>
                      <a:lnTo>
                        <a:pt x="0" y="16"/>
                      </a:lnTo>
                      <a:lnTo>
                        <a:pt x="5" y="16"/>
                      </a:lnTo>
                      <a:lnTo>
                        <a:pt x="16" y="16"/>
                      </a:lnTo>
                      <a:lnTo>
                        <a:pt x="35" y="16"/>
                      </a:lnTo>
                      <a:lnTo>
                        <a:pt x="55" y="17"/>
                      </a:lnTo>
                      <a:lnTo>
                        <a:pt x="80" y="17"/>
                      </a:lnTo>
                      <a:lnTo>
                        <a:pt x="104" y="18"/>
                      </a:lnTo>
                      <a:lnTo>
                        <a:pt x="126" y="18"/>
                      </a:lnTo>
                      <a:lnTo>
                        <a:pt x="145" y="19"/>
                      </a:lnTo>
                      <a:lnTo>
                        <a:pt x="158" y="20"/>
                      </a:lnTo>
                      <a:lnTo>
                        <a:pt x="179" y="21"/>
                      </a:lnTo>
                      <a:lnTo>
                        <a:pt x="206" y="24"/>
                      </a:lnTo>
                      <a:lnTo>
                        <a:pt x="238" y="27"/>
                      </a:lnTo>
                      <a:lnTo>
                        <a:pt x="275" y="31"/>
                      </a:lnTo>
                      <a:lnTo>
                        <a:pt x="316" y="34"/>
                      </a:lnTo>
                      <a:lnTo>
                        <a:pt x="357" y="39"/>
                      </a:lnTo>
                      <a:lnTo>
                        <a:pt x="400" y="42"/>
                      </a:lnTo>
                      <a:lnTo>
                        <a:pt x="442" y="47"/>
                      </a:lnTo>
                      <a:lnTo>
                        <a:pt x="483" y="51"/>
                      </a:lnTo>
                      <a:lnTo>
                        <a:pt x="519" y="55"/>
                      </a:lnTo>
                      <a:lnTo>
                        <a:pt x="553" y="58"/>
                      </a:lnTo>
                      <a:lnTo>
                        <a:pt x="580" y="61"/>
                      </a:lnTo>
                      <a:lnTo>
                        <a:pt x="602" y="63"/>
                      </a:lnTo>
                      <a:lnTo>
                        <a:pt x="616" y="65"/>
                      </a:lnTo>
                      <a:lnTo>
                        <a:pt x="621" y="65"/>
                      </a:lnTo>
                      <a:lnTo>
                        <a:pt x="627"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50" name="Freeform 134">
                  <a:extLst>
                    <a:ext uri="{FF2B5EF4-FFF2-40B4-BE49-F238E27FC236}">
                      <a16:creationId xmlns:a16="http://schemas.microsoft.com/office/drawing/2014/main" id="{DEB2A87F-31BA-4E2E-A524-101393EB28BB}"/>
                    </a:ext>
                  </a:extLst>
                </p:cNvPr>
                <p:cNvSpPr>
                  <a:spLocks/>
                </p:cNvSpPr>
                <p:nvPr/>
              </p:nvSpPr>
              <p:spPr bwMode="auto">
                <a:xfrm>
                  <a:off x="4641850" y="4560888"/>
                  <a:ext cx="496887" cy="50800"/>
                </a:xfrm>
                <a:custGeom>
                  <a:avLst/>
                  <a:gdLst>
                    <a:gd name="T0" fmla="*/ 2147483646 w 627"/>
                    <a:gd name="T1" fmla="*/ 2147483646 h 65"/>
                    <a:gd name="T2" fmla="*/ 2147483646 w 627"/>
                    <a:gd name="T3" fmla="*/ 2147483646 h 65"/>
                    <a:gd name="T4" fmla="*/ 2147483646 w 627"/>
                    <a:gd name="T5" fmla="*/ 2147483646 h 65"/>
                    <a:gd name="T6" fmla="*/ 2147483646 w 627"/>
                    <a:gd name="T7" fmla="*/ 2147483646 h 65"/>
                    <a:gd name="T8" fmla="*/ 2147483646 w 627"/>
                    <a:gd name="T9" fmla="*/ 2147483646 h 65"/>
                    <a:gd name="T10" fmla="*/ 2147483646 w 627"/>
                    <a:gd name="T11" fmla="*/ 2147483646 h 65"/>
                    <a:gd name="T12" fmla="*/ 2147483646 w 627"/>
                    <a:gd name="T13" fmla="*/ 2147483646 h 65"/>
                    <a:gd name="T14" fmla="*/ 2147483646 w 627"/>
                    <a:gd name="T15" fmla="*/ 2147483646 h 65"/>
                    <a:gd name="T16" fmla="*/ 2147483646 w 627"/>
                    <a:gd name="T17" fmla="*/ 2147483646 h 65"/>
                    <a:gd name="T18" fmla="*/ 2147483646 w 627"/>
                    <a:gd name="T19" fmla="*/ 2147483646 h 65"/>
                    <a:gd name="T20" fmla="*/ 2147483646 w 627"/>
                    <a:gd name="T21" fmla="*/ 2147483646 h 65"/>
                    <a:gd name="T22" fmla="*/ 2147483646 w 627"/>
                    <a:gd name="T23" fmla="*/ 2147483646 h 65"/>
                    <a:gd name="T24" fmla="*/ 2147483646 w 627"/>
                    <a:gd name="T25" fmla="*/ 2147483646 h 65"/>
                    <a:gd name="T26" fmla="*/ 2147483646 w 627"/>
                    <a:gd name="T27" fmla="*/ 2147483646 h 65"/>
                    <a:gd name="T28" fmla="*/ 2147483646 w 627"/>
                    <a:gd name="T29" fmla="*/ 2147483646 h 65"/>
                    <a:gd name="T30" fmla="*/ 2147483646 w 627"/>
                    <a:gd name="T31" fmla="*/ 2147483646 h 65"/>
                    <a:gd name="T32" fmla="*/ 2147483646 w 627"/>
                    <a:gd name="T33" fmla="*/ 2147483646 h 65"/>
                    <a:gd name="T34" fmla="*/ 2147483646 w 627"/>
                    <a:gd name="T35" fmla="*/ 2147483646 h 65"/>
                    <a:gd name="T36" fmla="*/ 2147483646 w 627"/>
                    <a:gd name="T37" fmla="*/ 0 h 65"/>
                    <a:gd name="T38" fmla="*/ 2147483646 w 627"/>
                    <a:gd name="T39" fmla="*/ 0 h 65"/>
                    <a:gd name="T40" fmla="*/ 2147483646 w 627"/>
                    <a:gd name="T41" fmla="*/ 0 h 65"/>
                    <a:gd name="T42" fmla="*/ 2147483646 w 627"/>
                    <a:gd name="T43" fmla="*/ 0 h 65"/>
                    <a:gd name="T44" fmla="*/ 2147483646 w 627"/>
                    <a:gd name="T45" fmla="*/ 0 h 65"/>
                    <a:gd name="T46" fmla="*/ 2147483646 w 627"/>
                    <a:gd name="T47" fmla="*/ 0 h 65"/>
                    <a:gd name="T48" fmla="*/ 2147483646 w 627"/>
                    <a:gd name="T49" fmla="*/ 0 h 65"/>
                    <a:gd name="T50" fmla="*/ 0 w 627"/>
                    <a:gd name="T51" fmla="*/ 2147483646 h 65"/>
                    <a:gd name="T52" fmla="*/ 2147483646 w 627"/>
                    <a:gd name="T53" fmla="*/ 2147483646 h 65"/>
                    <a:gd name="T54" fmla="*/ 2147483646 w 627"/>
                    <a:gd name="T55" fmla="*/ 2147483646 h 65"/>
                    <a:gd name="T56" fmla="*/ 2147483646 w 627"/>
                    <a:gd name="T57" fmla="*/ 2147483646 h 65"/>
                    <a:gd name="T58" fmla="*/ 2147483646 w 627"/>
                    <a:gd name="T59" fmla="*/ 2147483646 h 65"/>
                    <a:gd name="T60" fmla="*/ 2147483646 w 627"/>
                    <a:gd name="T61" fmla="*/ 2147483646 h 65"/>
                    <a:gd name="T62" fmla="*/ 2147483646 w 627"/>
                    <a:gd name="T63" fmla="*/ 2147483646 h 65"/>
                    <a:gd name="T64" fmla="*/ 2147483646 w 627"/>
                    <a:gd name="T65" fmla="*/ 2147483646 h 65"/>
                    <a:gd name="T66" fmla="*/ 2147483646 w 627"/>
                    <a:gd name="T67" fmla="*/ 2147483646 h 65"/>
                    <a:gd name="T68" fmla="*/ 2147483646 w 627"/>
                    <a:gd name="T69" fmla="*/ 2147483646 h 65"/>
                    <a:gd name="T70" fmla="*/ 2147483646 w 627"/>
                    <a:gd name="T71" fmla="*/ 2147483646 h 65"/>
                    <a:gd name="T72" fmla="*/ 2147483646 w 627"/>
                    <a:gd name="T73" fmla="*/ 2147483646 h 65"/>
                    <a:gd name="T74" fmla="*/ 2147483646 w 627"/>
                    <a:gd name="T75" fmla="*/ 2147483646 h 65"/>
                    <a:gd name="T76" fmla="*/ 2147483646 w 627"/>
                    <a:gd name="T77" fmla="*/ 2147483646 h 65"/>
                    <a:gd name="T78" fmla="*/ 2147483646 w 627"/>
                    <a:gd name="T79" fmla="*/ 2147483646 h 65"/>
                    <a:gd name="T80" fmla="*/ 2147483646 w 627"/>
                    <a:gd name="T81" fmla="*/ 2147483646 h 65"/>
                    <a:gd name="T82" fmla="*/ 2147483646 w 627"/>
                    <a:gd name="T83" fmla="*/ 2147483646 h 65"/>
                    <a:gd name="T84" fmla="*/ 2147483646 w 627"/>
                    <a:gd name="T85" fmla="*/ 2147483646 h 65"/>
                    <a:gd name="T86" fmla="*/ 2147483646 w 627"/>
                    <a:gd name="T87" fmla="*/ 2147483646 h 65"/>
                    <a:gd name="T88" fmla="*/ 2147483646 w 627"/>
                    <a:gd name="T89" fmla="*/ 2147483646 h 65"/>
                    <a:gd name="T90" fmla="*/ 2147483646 w 627"/>
                    <a:gd name="T91" fmla="*/ 2147483646 h 65"/>
                    <a:gd name="T92" fmla="*/ 2147483646 w 627"/>
                    <a:gd name="T93" fmla="*/ 2147483646 h 65"/>
                    <a:gd name="T94" fmla="*/ 2147483646 w 627"/>
                    <a:gd name="T95" fmla="*/ 2147483646 h 65"/>
                    <a:gd name="T96" fmla="*/ 2147483646 w 627"/>
                    <a:gd name="T97" fmla="*/ 2147483646 h 65"/>
                    <a:gd name="T98" fmla="*/ 2147483646 w 627"/>
                    <a:gd name="T99" fmla="*/ 2147483646 h 65"/>
                    <a:gd name="T100" fmla="*/ 2147483646 w 627"/>
                    <a:gd name="T101" fmla="*/ 2147483646 h 6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7"/>
                    <a:gd name="T154" fmla="*/ 0 h 65"/>
                    <a:gd name="T155" fmla="*/ 627 w 627"/>
                    <a:gd name="T156" fmla="*/ 65 h 6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7" h="65">
                      <a:moveTo>
                        <a:pt x="627" y="45"/>
                      </a:moveTo>
                      <a:lnTo>
                        <a:pt x="622" y="45"/>
                      </a:lnTo>
                      <a:lnTo>
                        <a:pt x="609" y="44"/>
                      </a:lnTo>
                      <a:lnTo>
                        <a:pt x="589" y="42"/>
                      </a:lnTo>
                      <a:lnTo>
                        <a:pt x="561" y="40"/>
                      </a:lnTo>
                      <a:lnTo>
                        <a:pt x="530" y="36"/>
                      </a:lnTo>
                      <a:lnTo>
                        <a:pt x="493" y="33"/>
                      </a:lnTo>
                      <a:lnTo>
                        <a:pt x="455" y="29"/>
                      </a:lnTo>
                      <a:lnTo>
                        <a:pt x="415" y="26"/>
                      </a:lnTo>
                      <a:lnTo>
                        <a:pt x="373" y="21"/>
                      </a:lnTo>
                      <a:lnTo>
                        <a:pt x="333" y="18"/>
                      </a:lnTo>
                      <a:lnTo>
                        <a:pt x="294" y="14"/>
                      </a:lnTo>
                      <a:lnTo>
                        <a:pt x="257" y="11"/>
                      </a:lnTo>
                      <a:lnTo>
                        <a:pt x="225" y="8"/>
                      </a:lnTo>
                      <a:lnTo>
                        <a:pt x="198" y="5"/>
                      </a:lnTo>
                      <a:lnTo>
                        <a:pt x="178" y="4"/>
                      </a:lnTo>
                      <a:lnTo>
                        <a:pt x="164" y="3"/>
                      </a:lnTo>
                      <a:lnTo>
                        <a:pt x="142" y="2"/>
                      </a:lnTo>
                      <a:lnTo>
                        <a:pt x="118" y="0"/>
                      </a:lnTo>
                      <a:lnTo>
                        <a:pt x="92" y="0"/>
                      </a:lnTo>
                      <a:lnTo>
                        <a:pt x="67" y="0"/>
                      </a:lnTo>
                      <a:lnTo>
                        <a:pt x="44" y="0"/>
                      </a:lnTo>
                      <a:lnTo>
                        <a:pt x="25" y="0"/>
                      </a:lnTo>
                      <a:lnTo>
                        <a:pt x="13" y="0"/>
                      </a:lnTo>
                      <a:lnTo>
                        <a:pt x="8" y="0"/>
                      </a:lnTo>
                      <a:lnTo>
                        <a:pt x="0" y="15"/>
                      </a:lnTo>
                      <a:lnTo>
                        <a:pt x="5" y="15"/>
                      </a:lnTo>
                      <a:lnTo>
                        <a:pt x="16" y="15"/>
                      </a:lnTo>
                      <a:lnTo>
                        <a:pt x="35" y="17"/>
                      </a:lnTo>
                      <a:lnTo>
                        <a:pt x="55" y="17"/>
                      </a:lnTo>
                      <a:lnTo>
                        <a:pt x="80" y="18"/>
                      </a:lnTo>
                      <a:lnTo>
                        <a:pt x="104" y="18"/>
                      </a:lnTo>
                      <a:lnTo>
                        <a:pt x="126" y="19"/>
                      </a:lnTo>
                      <a:lnTo>
                        <a:pt x="145" y="19"/>
                      </a:lnTo>
                      <a:lnTo>
                        <a:pt x="158" y="20"/>
                      </a:lnTo>
                      <a:lnTo>
                        <a:pt x="179" y="21"/>
                      </a:lnTo>
                      <a:lnTo>
                        <a:pt x="206" y="23"/>
                      </a:lnTo>
                      <a:lnTo>
                        <a:pt x="239" y="27"/>
                      </a:lnTo>
                      <a:lnTo>
                        <a:pt x="275" y="30"/>
                      </a:lnTo>
                      <a:lnTo>
                        <a:pt x="315" y="35"/>
                      </a:lnTo>
                      <a:lnTo>
                        <a:pt x="357" y="38"/>
                      </a:lnTo>
                      <a:lnTo>
                        <a:pt x="400" y="43"/>
                      </a:lnTo>
                      <a:lnTo>
                        <a:pt x="441" y="46"/>
                      </a:lnTo>
                      <a:lnTo>
                        <a:pt x="482" y="51"/>
                      </a:lnTo>
                      <a:lnTo>
                        <a:pt x="518" y="55"/>
                      </a:lnTo>
                      <a:lnTo>
                        <a:pt x="552" y="58"/>
                      </a:lnTo>
                      <a:lnTo>
                        <a:pt x="579" y="60"/>
                      </a:lnTo>
                      <a:lnTo>
                        <a:pt x="601" y="63"/>
                      </a:lnTo>
                      <a:lnTo>
                        <a:pt x="615" y="65"/>
                      </a:lnTo>
                      <a:lnTo>
                        <a:pt x="620" y="65"/>
                      </a:lnTo>
                      <a:lnTo>
                        <a:pt x="627"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51" name="Freeform 135">
                  <a:extLst>
                    <a:ext uri="{FF2B5EF4-FFF2-40B4-BE49-F238E27FC236}">
                      <a16:creationId xmlns:a16="http://schemas.microsoft.com/office/drawing/2014/main" id="{4FD6E108-D779-4F14-B1E0-9CAE853BB23A}"/>
                    </a:ext>
                  </a:extLst>
                </p:cNvPr>
                <p:cNvSpPr>
                  <a:spLocks/>
                </p:cNvSpPr>
                <p:nvPr/>
              </p:nvSpPr>
              <p:spPr bwMode="auto">
                <a:xfrm>
                  <a:off x="4752975" y="3913188"/>
                  <a:ext cx="561975" cy="117475"/>
                </a:xfrm>
                <a:custGeom>
                  <a:avLst/>
                  <a:gdLst>
                    <a:gd name="T0" fmla="*/ 2147483646 w 708"/>
                    <a:gd name="T1" fmla="*/ 2147483646 h 147"/>
                    <a:gd name="T2" fmla="*/ 2147483646 w 708"/>
                    <a:gd name="T3" fmla="*/ 2147483646 h 147"/>
                    <a:gd name="T4" fmla="*/ 2147483646 w 708"/>
                    <a:gd name="T5" fmla="*/ 2147483646 h 147"/>
                    <a:gd name="T6" fmla="*/ 2147483646 w 708"/>
                    <a:gd name="T7" fmla="*/ 2147483646 h 147"/>
                    <a:gd name="T8" fmla="*/ 2147483646 w 708"/>
                    <a:gd name="T9" fmla="*/ 2147483646 h 147"/>
                    <a:gd name="T10" fmla="*/ 2147483646 w 708"/>
                    <a:gd name="T11" fmla="*/ 2147483646 h 147"/>
                    <a:gd name="T12" fmla="*/ 2147483646 w 708"/>
                    <a:gd name="T13" fmla="*/ 2147483646 h 147"/>
                    <a:gd name="T14" fmla="*/ 2147483646 w 708"/>
                    <a:gd name="T15" fmla="*/ 2147483646 h 147"/>
                    <a:gd name="T16" fmla="*/ 2147483646 w 708"/>
                    <a:gd name="T17" fmla="*/ 2147483646 h 147"/>
                    <a:gd name="T18" fmla="*/ 2147483646 w 708"/>
                    <a:gd name="T19" fmla="*/ 2147483646 h 147"/>
                    <a:gd name="T20" fmla="*/ 2147483646 w 708"/>
                    <a:gd name="T21" fmla="*/ 2147483646 h 147"/>
                    <a:gd name="T22" fmla="*/ 2147483646 w 708"/>
                    <a:gd name="T23" fmla="*/ 2147483646 h 147"/>
                    <a:gd name="T24" fmla="*/ 2147483646 w 708"/>
                    <a:gd name="T25" fmla="*/ 2147483646 h 147"/>
                    <a:gd name="T26" fmla="*/ 2147483646 w 708"/>
                    <a:gd name="T27" fmla="*/ 2147483646 h 147"/>
                    <a:gd name="T28" fmla="*/ 2147483646 w 708"/>
                    <a:gd name="T29" fmla="*/ 2147483646 h 147"/>
                    <a:gd name="T30" fmla="*/ 2147483646 w 708"/>
                    <a:gd name="T31" fmla="*/ 2147483646 h 147"/>
                    <a:gd name="T32" fmla="*/ 2147483646 w 708"/>
                    <a:gd name="T33" fmla="*/ 2147483646 h 147"/>
                    <a:gd name="T34" fmla="*/ 2147483646 w 708"/>
                    <a:gd name="T35" fmla="*/ 2147483646 h 147"/>
                    <a:gd name="T36" fmla="*/ 2147483646 w 708"/>
                    <a:gd name="T37" fmla="*/ 2147483646 h 147"/>
                    <a:gd name="T38" fmla="*/ 2147483646 w 708"/>
                    <a:gd name="T39" fmla="*/ 2147483646 h 147"/>
                    <a:gd name="T40" fmla="*/ 2147483646 w 708"/>
                    <a:gd name="T41" fmla="*/ 2147483646 h 147"/>
                    <a:gd name="T42" fmla="*/ 2147483646 w 708"/>
                    <a:gd name="T43" fmla="*/ 2147483646 h 147"/>
                    <a:gd name="T44" fmla="*/ 2147483646 w 708"/>
                    <a:gd name="T45" fmla="*/ 2147483646 h 147"/>
                    <a:gd name="T46" fmla="*/ 2147483646 w 708"/>
                    <a:gd name="T47" fmla="*/ 2147483646 h 147"/>
                    <a:gd name="T48" fmla="*/ 2147483646 w 708"/>
                    <a:gd name="T49" fmla="*/ 0 h 147"/>
                    <a:gd name="T50" fmla="*/ 0 w 708"/>
                    <a:gd name="T51" fmla="*/ 2147483646 h 147"/>
                    <a:gd name="T52" fmla="*/ 2147483646 w 708"/>
                    <a:gd name="T53" fmla="*/ 2147483646 h 147"/>
                    <a:gd name="T54" fmla="*/ 2147483646 w 708"/>
                    <a:gd name="T55" fmla="*/ 2147483646 h 147"/>
                    <a:gd name="T56" fmla="*/ 2147483646 w 708"/>
                    <a:gd name="T57" fmla="*/ 2147483646 h 147"/>
                    <a:gd name="T58" fmla="*/ 2147483646 w 708"/>
                    <a:gd name="T59" fmla="*/ 2147483646 h 147"/>
                    <a:gd name="T60" fmla="*/ 2147483646 w 708"/>
                    <a:gd name="T61" fmla="*/ 2147483646 h 147"/>
                    <a:gd name="T62" fmla="*/ 2147483646 w 708"/>
                    <a:gd name="T63" fmla="*/ 2147483646 h 147"/>
                    <a:gd name="T64" fmla="*/ 2147483646 w 708"/>
                    <a:gd name="T65" fmla="*/ 2147483646 h 147"/>
                    <a:gd name="T66" fmla="*/ 2147483646 w 708"/>
                    <a:gd name="T67" fmla="*/ 2147483646 h 147"/>
                    <a:gd name="T68" fmla="*/ 2147483646 w 708"/>
                    <a:gd name="T69" fmla="*/ 2147483646 h 147"/>
                    <a:gd name="T70" fmla="*/ 2147483646 w 708"/>
                    <a:gd name="T71" fmla="*/ 2147483646 h 147"/>
                    <a:gd name="T72" fmla="*/ 2147483646 w 708"/>
                    <a:gd name="T73" fmla="*/ 2147483646 h 147"/>
                    <a:gd name="T74" fmla="*/ 2147483646 w 708"/>
                    <a:gd name="T75" fmla="*/ 2147483646 h 147"/>
                    <a:gd name="T76" fmla="*/ 2147483646 w 708"/>
                    <a:gd name="T77" fmla="*/ 2147483646 h 147"/>
                    <a:gd name="T78" fmla="*/ 2147483646 w 708"/>
                    <a:gd name="T79" fmla="*/ 2147483646 h 147"/>
                    <a:gd name="T80" fmla="*/ 2147483646 w 708"/>
                    <a:gd name="T81" fmla="*/ 2147483646 h 147"/>
                    <a:gd name="T82" fmla="*/ 2147483646 w 708"/>
                    <a:gd name="T83" fmla="*/ 2147483646 h 147"/>
                    <a:gd name="T84" fmla="*/ 2147483646 w 708"/>
                    <a:gd name="T85" fmla="*/ 2147483646 h 147"/>
                    <a:gd name="T86" fmla="*/ 2147483646 w 708"/>
                    <a:gd name="T87" fmla="*/ 2147483646 h 147"/>
                    <a:gd name="T88" fmla="*/ 2147483646 w 708"/>
                    <a:gd name="T89" fmla="*/ 2147483646 h 147"/>
                    <a:gd name="T90" fmla="*/ 2147483646 w 708"/>
                    <a:gd name="T91" fmla="*/ 2147483646 h 147"/>
                    <a:gd name="T92" fmla="*/ 2147483646 w 708"/>
                    <a:gd name="T93" fmla="*/ 2147483646 h 147"/>
                    <a:gd name="T94" fmla="*/ 2147483646 w 708"/>
                    <a:gd name="T95" fmla="*/ 2147483646 h 147"/>
                    <a:gd name="T96" fmla="*/ 2147483646 w 708"/>
                    <a:gd name="T97" fmla="*/ 2147483646 h 147"/>
                    <a:gd name="T98" fmla="*/ 2147483646 w 708"/>
                    <a:gd name="T99" fmla="*/ 2147483646 h 147"/>
                    <a:gd name="T100" fmla="*/ 2147483646 w 708"/>
                    <a:gd name="T101" fmla="*/ 2147483646 h 14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08"/>
                    <a:gd name="T154" fmla="*/ 0 h 147"/>
                    <a:gd name="T155" fmla="*/ 708 w 708"/>
                    <a:gd name="T156" fmla="*/ 147 h 14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08" h="147">
                      <a:moveTo>
                        <a:pt x="708" y="68"/>
                      </a:moveTo>
                      <a:lnTo>
                        <a:pt x="703" y="68"/>
                      </a:lnTo>
                      <a:lnTo>
                        <a:pt x="689" y="67"/>
                      </a:lnTo>
                      <a:lnTo>
                        <a:pt x="668" y="64"/>
                      </a:lnTo>
                      <a:lnTo>
                        <a:pt x="640" y="62"/>
                      </a:lnTo>
                      <a:lnTo>
                        <a:pt x="605" y="59"/>
                      </a:lnTo>
                      <a:lnTo>
                        <a:pt x="567" y="55"/>
                      </a:lnTo>
                      <a:lnTo>
                        <a:pt x="526" y="52"/>
                      </a:lnTo>
                      <a:lnTo>
                        <a:pt x="483" y="48"/>
                      </a:lnTo>
                      <a:lnTo>
                        <a:pt x="438" y="45"/>
                      </a:lnTo>
                      <a:lnTo>
                        <a:pt x="395" y="40"/>
                      </a:lnTo>
                      <a:lnTo>
                        <a:pt x="351" y="37"/>
                      </a:lnTo>
                      <a:lnTo>
                        <a:pt x="311" y="33"/>
                      </a:lnTo>
                      <a:lnTo>
                        <a:pt x="274" y="31"/>
                      </a:lnTo>
                      <a:lnTo>
                        <a:pt x="240" y="29"/>
                      </a:lnTo>
                      <a:lnTo>
                        <a:pt x="214" y="26"/>
                      </a:lnTo>
                      <a:lnTo>
                        <a:pt x="194" y="25"/>
                      </a:lnTo>
                      <a:lnTo>
                        <a:pt x="162" y="23"/>
                      </a:lnTo>
                      <a:lnTo>
                        <a:pt x="131" y="19"/>
                      </a:lnTo>
                      <a:lnTo>
                        <a:pt x="102" y="16"/>
                      </a:lnTo>
                      <a:lnTo>
                        <a:pt x="75" y="11"/>
                      </a:lnTo>
                      <a:lnTo>
                        <a:pt x="51" y="7"/>
                      </a:lnTo>
                      <a:lnTo>
                        <a:pt x="34" y="3"/>
                      </a:lnTo>
                      <a:lnTo>
                        <a:pt x="23" y="1"/>
                      </a:lnTo>
                      <a:lnTo>
                        <a:pt x="18" y="0"/>
                      </a:lnTo>
                      <a:lnTo>
                        <a:pt x="0" y="90"/>
                      </a:lnTo>
                      <a:lnTo>
                        <a:pt x="5" y="90"/>
                      </a:lnTo>
                      <a:lnTo>
                        <a:pt x="20" y="91"/>
                      </a:lnTo>
                      <a:lnTo>
                        <a:pt x="45" y="93"/>
                      </a:lnTo>
                      <a:lnTo>
                        <a:pt x="77" y="94"/>
                      </a:lnTo>
                      <a:lnTo>
                        <a:pt x="114" y="98"/>
                      </a:lnTo>
                      <a:lnTo>
                        <a:pt x="156" y="100"/>
                      </a:lnTo>
                      <a:lnTo>
                        <a:pt x="202" y="103"/>
                      </a:lnTo>
                      <a:lnTo>
                        <a:pt x="251" y="107"/>
                      </a:lnTo>
                      <a:lnTo>
                        <a:pt x="300" y="110"/>
                      </a:lnTo>
                      <a:lnTo>
                        <a:pt x="350" y="114"/>
                      </a:lnTo>
                      <a:lnTo>
                        <a:pt x="397" y="117"/>
                      </a:lnTo>
                      <a:lnTo>
                        <a:pt x="441" y="121"/>
                      </a:lnTo>
                      <a:lnTo>
                        <a:pt x="481" y="123"/>
                      </a:lnTo>
                      <a:lnTo>
                        <a:pt x="517" y="127"/>
                      </a:lnTo>
                      <a:lnTo>
                        <a:pt x="544" y="129"/>
                      </a:lnTo>
                      <a:lnTo>
                        <a:pt x="564" y="131"/>
                      </a:lnTo>
                      <a:lnTo>
                        <a:pt x="588" y="135"/>
                      </a:lnTo>
                      <a:lnTo>
                        <a:pt x="611" y="137"/>
                      </a:lnTo>
                      <a:lnTo>
                        <a:pt x="634" y="140"/>
                      </a:lnTo>
                      <a:lnTo>
                        <a:pt x="654" y="143"/>
                      </a:lnTo>
                      <a:lnTo>
                        <a:pt x="671" y="144"/>
                      </a:lnTo>
                      <a:lnTo>
                        <a:pt x="685" y="146"/>
                      </a:lnTo>
                      <a:lnTo>
                        <a:pt x="693" y="147"/>
                      </a:lnTo>
                      <a:lnTo>
                        <a:pt x="696" y="147"/>
                      </a:lnTo>
                      <a:lnTo>
                        <a:pt x="708" y="68"/>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52" name="Freeform 136">
                  <a:extLst>
                    <a:ext uri="{FF2B5EF4-FFF2-40B4-BE49-F238E27FC236}">
                      <a16:creationId xmlns:a16="http://schemas.microsoft.com/office/drawing/2014/main" id="{F7796B5B-34A1-4067-8D4C-CCC282269AFC}"/>
                    </a:ext>
                  </a:extLst>
                </p:cNvPr>
                <p:cNvSpPr>
                  <a:spLocks/>
                </p:cNvSpPr>
                <p:nvPr/>
              </p:nvSpPr>
              <p:spPr bwMode="auto">
                <a:xfrm>
                  <a:off x="4592638" y="4640263"/>
                  <a:ext cx="219075" cy="173037"/>
                </a:xfrm>
                <a:custGeom>
                  <a:avLst/>
                  <a:gdLst>
                    <a:gd name="T0" fmla="*/ 2147483646 w 275"/>
                    <a:gd name="T1" fmla="*/ 2147483646 h 216"/>
                    <a:gd name="T2" fmla="*/ 2147483646 w 275"/>
                    <a:gd name="T3" fmla="*/ 2147483646 h 216"/>
                    <a:gd name="T4" fmla="*/ 2147483646 w 275"/>
                    <a:gd name="T5" fmla="*/ 2147483646 h 216"/>
                    <a:gd name="T6" fmla="*/ 2147483646 w 275"/>
                    <a:gd name="T7" fmla="*/ 2147483646 h 216"/>
                    <a:gd name="T8" fmla="*/ 2147483646 w 275"/>
                    <a:gd name="T9" fmla="*/ 2147483646 h 216"/>
                    <a:gd name="T10" fmla="*/ 2147483646 w 275"/>
                    <a:gd name="T11" fmla="*/ 2147483646 h 216"/>
                    <a:gd name="T12" fmla="*/ 2147483646 w 275"/>
                    <a:gd name="T13" fmla="*/ 2147483646 h 216"/>
                    <a:gd name="T14" fmla="*/ 2147483646 w 275"/>
                    <a:gd name="T15" fmla="*/ 2147483646 h 216"/>
                    <a:gd name="T16" fmla="*/ 0 w 275"/>
                    <a:gd name="T17" fmla="*/ 2147483646 h 216"/>
                    <a:gd name="T18" fmla="*/ 2147483646 w 275"/>
                    <a:gd name="T19" fmla="*/ 2147483646 h 216"/>
                    <a:gd name="T20" fmla="*/ 2147483646 w 275"/>
                    <a:gd name="T21" fmla="*/ 2147483646 h 216"/>
                    <a:gd name="T22" fmla="*/ 2147483646 w 275"/>
                    <a:gd name="T23" fmla="*/ 2147483646 h 216"/>
                    <a:gd name="T24" fmla="*/ 2147483646 w 275"/>
                    <a:gd name="T25" fmla="*/ 2147483646 h 216"/>
                    <a:gd name="T26" fmla="*/ 2147483646 w 275"/>
                    <a:gd name="T27" fmla="*/ 2147483646 h 216"/>
                    <a:gd name="T28" fmla="*/ 2147483646 w 275"/>
                    <a:gd name="T29" fmla="*/ 2147483646 h 216"/>
                    <a:gd name="T30" fmla="*/ 2147483646 w 275"/>
                    <a:gd name="T31" fmla="*/ 2147483646 h 216"/>
                    <a:gd name="T32" fmla="*/ 2147483646 w 275"/>
                    <a:gd name="T33" fmla="*/ 0 h 216"/>
                    <a:gd name="T34" fmla="*/ 2147483646 w 275"/>
                    <a:gd name="T35" fmla="*/ 2147483646 h 216"/>
                    <a:gd name="T36" fmla="*/ 2147483646 w 275"/>
                    <a:gd name="T37" fmla="*/ 2147483646 h 216"/>
                    <a:gd name="T38" fmla="*/ 2147483646 w 275"/>
                    <a:gd name="T39" fmla="*/ 2147483646 h 216"/>
                    <a:gd name="T40" fmla="*/ 2147483646 w 275"/>
                    <a:gd name="T41" fmla="*/ 2147483646 h 216"/>
                    <a:gd name="T42" fmla="*/ 2147483646 w 275"/>
                    <a:gd name="T43" fmla="*/ 2147483646 h 216"/>
                    <a:gd name="T44" fmla="*/ 2147483646 w 275"/>
                    <a:gd name="T45" fmla="*/ 2147483646 h 216"/>
                    <a:gd name="T46" fmla="*/ 2147483646 w 275"/>
                    <a:gd name="T47" fmla="*/ 2147483646 h 216"/>
                    <a:gd name="T48" fmla="*/ 2147483646 w 275"/>
                    <a:gd name="T49" fmla="*/ 2147483646 h 216"/>
                    <a:gd name="T50" fmla="*/ 2147483646 w 275"/>
                    <a:gd name="T51" fmla="*/ 2147483646 h 216"/>
                    <a:gd name="T52" fmla="*/ 2147483646 w 275"/>
                    <a:gd name="T53" fmla="*/ 2147483646 h 216"/>
                    <a:gd name="T54" fmla="*/ 2147483646 w 275"/>
                    <a:gd name="T55" fmla="*/ 2147483646 h 216"/>
                    <a:gd name="T56" fmla="*/ 2147483646 w 275"/>
                    <a:gd name="T57" fmla="*/ 2147483646 h 216"/>
                    <a:gd name="T58" fmla="*/ 2147483646 w 275"/>
                    <a:gd name="T59" fmla="*/ 2147483646 h 216"/>
                    <a:gd name="T60" fmla="*/ 2147483646 w 275"/>
                    <a:gd name="T61" fmla="*/ 2147483646 h 216"/>
                    <a:gd name="T62" fmla="*/ 2147483646 w 275"/>
                    <a:gd name="T63" fmla="*/ 2147483646 h 216"/>
                    <a:gd name="T64" fmla="*/ 2147483646 w 275"/>
                    <a:gd name="T65" fmla="*/ 2147483646 h 21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5"/>
                    <a:gd name="T100" fmla="*/ 0 h 216"/>
                    <a:gd name="T101" fmla="*/ 275 w 275"/>
                    <a:gd name="T102" fmla="*/ 216 h 21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5" h="216">
                      <a:moveTo>
                        <a:pt x="137" y="216"/>
                      </a:moveTo>
                      <a:lnTo>
                        <a:pt x="109" y="214"/>
                      </a:lnTo>
                      <a:lnTo>
                        <a:pt x="84" y="208"/>
                      </a:lnTo>
                      <a:lnTo>
                        <a:pt x="61" y="198"/>
                      </a:lnTo>
                      <a:lnTo>
                        <a:pt x="40" y="184"/>
                      </a:lnTo>
                      <a:lnTo>
                        <a:pt x="24" y="169"/>
                      </a:lnTo>
                      <a:lnTo>
                        <a:pt x="10" y="151"/>
                      </a:lnTo>
                      <a:lnTo>
                        <a:pt x="2" y="130"/>
                      </a:lnTo>
                      <a:lnTo>
                        <a:pt x="0" y="108"/>
                      </a:lnTo>
                      <a:lnTo>
                        <a:pt x="2" y="86"/>
                      </a:lnTo>
                      <a:lnTo>
                        <a:pt x="10" y="65"/>
                      </a:lnTo>
                      <a:lnTo>
                        <a:pt x="24" y="47"/>
                      </a:lnTo>
                      <a:lnTo>
                        <a:pt x="40" y="31"/>
                      </a:lnTo>
                      <a:lnTo>
                        <a:pt x="61" y="18"/>
                      </a:lnTo>
                      <a:lnTo>
                        <a:pt x="84" y="8"/>
                      </a:lnTo>
                      <a:lnTo>
                        <a:pt x="109" y="2"/>
                      </a:lnTo>
                      <a:lnTo>
                        <a:pt x="137" y="0"/>
                      </a:lnTo>
                      <a:lnTo>
                        <a:pt x="165" y="2"/>
                      </a:lnTo>
                      <a:lnTo>
                        <a:pt x="191" y="8"/>
                      </a:lnTo>
                      <a:lnTo>
                        <a:pt x="214" y="18"/>
                      </a:lnTo>
                      <a:lnTo>
                        <a:pt x="235" y="31"/>
                      </a:lnTo>
                      <a:lnTo>
                        <a:pt x="251" y="47"/>
                      </a:lnTo>
                      <a:lnTo>
                        <a:pt x="265" y="65"/>
                      </a:lnTo>
                      <a:lnTo>
                        <a:pt x="273" y="86"/>
                      </a:lnTo>
                      <a:lnTo>
                        <a:pt x="275" y="108"/>
                      </a:lnTo>
                      <a:lnTo>
                        <a:pt x="273" y="130"/>
                      </a:lnTo>
                      <a:lnTo>
                        <a:pt x="265" y="151"/>
                      </a:lnTo>
                      <a:lnTo>
                        <a:pt x="251" y="169"/>
                      </a:lnTo>
                      <a:lnTo>
                        <a:pt x="235" y="184"/>
                      </a:lnTo>
                      <a:lnTo>
                        <a:pt x="214" y="198"/>
                      </a:lnTo>
                      <a:lnTo>
                        <a:pt x="191" y="208"/>
                      </a:lnTo>
                      <a:lnTo>
                        <a:pt x="165" y="214"/>
                      </a:lnTo>
                      <a:lnTo>
                        <a:pt x="137" y="216"/>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87419" name="그룹 1006">
                <a:extLst>
                  <a:ext uri="{FF2B5EF4-FFF2-40B4-BE49-F238E27FC236}">
                    <a16:creationId xmlns:a16="http://schemas.microsoft.com/office/drawing/2014/main" id="{8A5AFA4A-7B35-4021-99E5-6BA37B397691}"/>
                  </a:ext>
                </a:extLst>
              </p:cNvPr>
              <p:cNvGrpSpPr>
                <a:grpSpLocks/>
              </p:cNvGrpSpPr>
              <p:nvPr/>
            </p:nvGrpSpPr>
            <p:grpSpPr bwMode="auto">
              <a:xfrm>
                <a:off x="6024575" y="1071546"/>
                <a:ext cx="309571" cy="285761"/>
                <a:chOff x="4357686" y="3500438"/>
                <a:chExt cx="1000132" cy="857256"/>
              </a:xfrm>
            </p:grpSpPr>
            <p:sp>
              <p:nvSpPr>
                <p:cNvPr id="87420" name="Freeform 137">
                  <a:extLst>
                    <a:ext uri="{FF2B5EF4-FFF2-40B4-BE49-F238E27FC236}">
                      <a16:creationId xmlns:a16="http://schemas.microsoft.com/office/drawing/2014/main" id="{AFF6A6BD-33D0-4DFB-8432-8D4F63A0D333}"/>
                    </a:ext>
                  </a:extLst>
                </p:cNvPr>
                <p:cNvSpPr>
                  <a:spLocks/>
                </p:cNvSpPr>
                <p:nvPr/>
              </p:nvSpPr>
              <p:spPr bwMode="auto">
                <a:xfrm>
                  <a:off x="5096328" y="3879609"/>
                  <a:ext cx="261490" cy="424507"/>
                </a:xfrm>
                <a:custGeom>
                  <a:avLst/>
                  <a:gdLst>
                    <a:gd name="T0" fmla="*/ 2147483646 w 388"/>
                    <a:gd name="T1" fmla="*/ 0 h 413"/>
                    <a:gd name="T2" fmla="*/ 0 w 388"/>
                    <a:gd name="T3" fmla="*/ 2147483646 h 413"/>
                    <a:gd name="T4" fmla="*/ 2147483646 w 388"/>
                    <a:gd name="T5" fmla="*/ 2147483646 h 413"/>
                    <a:gd name="T6" fmla="*/ 2147483646 w 388"/>
                    <a:gd name="T7" fmla="*/ 2147483646 h 413"/>
                    <a:gd name="T8" fmla="*/ 2147483646 w 388"/>
                    <a:gd name="T9" fmla="*/ 2147483646 h 413"/>
                    <a:gd name="T10" fmla="*/ 2147483646 w 388"/>
                    <a:gd name="T11" fmla="*/ 2147483646 h 413"/>
                    <a:gd name="T12" fmla="*/ 2147483646 w 388"/>
                    <a:gd name="T13" fmla="*/ 2147483646 h 413"/>
                    <a:gd name="T14" fmla="*/ 2147483646 w 388"/>
                    <a:gd name="T15" fmla="*/ 2147483646 h 413"/>
                    <a:gd name="T16" fmla="*/ 2147483646 w 388"/>
                    <a:gd name="T17" fmla="*/ 2147483646 h 413"/>
                    <a:gd name="T18" fmla="*/ 2147483646 w 388"/>
                    <a:gd name="T19" fmla="*/ 2147483646 h 413"/>
                    <a:gd name="T20" fmla="*/ 2147483646 w 388"/>
                    <a:gd name="T21" fmla="*/ 2147483646 h 413"/>
                    <a:gd name="T22" fmla="*/ 2147483646 w 388"/>
                    <a:gd name="T23" fmla="*/ 2147483646 h 413"/>
                    <a:gd name="T24" fmla="*/ 2147483646 w 388"/>
                    <a:gd name="T25" fmla="*/ 2147483646 h 413"/>
                    <a:gd name="T26" fmla="*/ 2147483646 w 388"/>
                    <a:gd name="T27" fmla="*/ 2147483646 h 413"/>
                    <a:gd name="T28" fmla="*/ 2147483646 w 388"/>
                    <a:gd name="T29" fmla="*/ 2147483646 h 413"/>
                    <a:gd name="T30" fmla="*/ 2147483646 w 388"/>
                    <a:gd name="T31" fmla="*/ 2147483646 h 413"/>
                    <a:gd name="T32" fmla="*/ 2147483646 w 388"/>
                    <a:gd name="T33" fmla="*/ 2147483646 h 413"/>
                    <a:gd name="T34" fmla="*/ 2147483646 w 388"/>
                    <a:gd name="T35" fmla="*/ 2147483646 h 413"/>
                    <a:gd name="T36" fmla="*/ 2147483646 w 388"/>
                    <a:gd name="T37" fmla="*/ 2147483646 h 413"/>
                    <a:gd name="T38" fmla="*/ 2147483646 w 388"/>
                    <a:gd name="T39" fmla="*/ 2147483646 h 413"/>
                    <a:gd name="T40" fmla="*/ 2147483646 w 388"/>
                    <a:gd name="T41" fmla="*/ 2147483646 h 413"/>
                    <a:gd name="T42" fmla="*/ 2147483646 w 388"/>
                    <a:gd name="T43" fmla="*/ 2147483646 h 413"/>
                    <a:gd name="T44" fmla="*/ 2147483646 w 388"/>
                    <a:gd name="T45" fmla="*/ 2147483646 h 413"/>
                    <a:gd name="T46" fmla="*/ 2147483646 w 388"/>
                    <a:gd name="T47" fmla="*/ 2147483646 h 413"/>
                    <a:gd name="T48" fmla="*/ 2147483646 w 388"/>
                    <a:gd name="T49" fmla="*/ 2147483646 h 413"/>
                    <a:gd name="T50" fmla="*/ 2147483646 w 388"/>
                    <a:gd name="T51" fmla="*/ 2147483646 h 413"/>
                    <a:gd name="T52" fmla="*/ 2147483646 w 388"/>
                    <a:gd name="T53" fmla="*/ 2147483646 h 413"/>
                    <a:gd name="T54" fmla="*/ 2147483646 w 388"/>
                    <a:gd name="T55" fmla="*/ 2147483646 h 413"/>
                    <a:gd name="T56" fmla="*/ 2147483646 w 388"/>
                    <a:gd name="T57" fmla="*/ 2147483646 h 413"/>
                    <a:gd name="T58" fmla="*/ 2147483646 w 388"/>
                    <a:gd name="T59" fmla="*/ 2147483646 h 413"/>
                    <a:gd name="T60" fmla="*/ 2147483646 w 388"/>
                    <a:gd name="T61" fmla="*/ 2147483646 h 413"/>
                    <a:gd name="T62" fmla="*/ 2147483646 w 388"/>
                    <a:gd name="T63" fmla="*/ 2147483646 h 413"/>
                    <a:gd name="T64" fmla="*/ 2147483646 w 388"/>
                    <a:gd name="T65" fmla="*/ 2147483646 h 413"/>
                    <a:gd name="T66" fmla="*/ 2147483646 w 388"/>
                    <a:gd name="T67" fmla="*/ 2147483646 h 413"/>
                    <a:gd name="T68" fmla="*/ 2147483646 w 388"/>
                    <a:gd name="T69" fmla="*/ 2147483646 h 413"/>
                    <a:gd name="T70" fmla="*/ 2147483646 w 388"/>
                    <a:gd name="T71" fmla="*/ 2147483646 h 413"/>
                    <a:gd name="T72" fmla="*/ 2147483646 w 388"/>
                    <a:gd name="T73" fmla="*/ 2147483646 h 413"/>
                    <a:gd name="T74" fmla="*/ 2147483646 w 388"/>
                    <a:gd name="T75" fmla="*/ 2147483646 h 413"/>
                    <a:gd name="T76" fmla="*/ 2147483646 w 388"/>
                    <a:gd name="T77" fmla="*/ 2147483646 h 413"/>
                    <a:gd name="T78" fmla="*/ 2147483646 w 388"/>
                    <a:gd name="T79" fmla="*/ 2147483646 h 413"/>
                    <a:gd name="T80" fmla="*/ 2147483646 w 388"/>
                    <a:gd name="T81" fmla="*/ 2147483646 h 413"/>
                    <a:gd name="T82" fmla="*/ 2147483646 w 388"/>
                    <a:gd name="T83" fmla="*/ 2147483646 h 413"/>
                    <a:gd name="T84" fmla="*/ 2147483646 w 388"/>
                    <a:gd name="T85" fmla="*/ 2147483646 h 413"/>
                    <a:gd name="T86" fmla="*/ 2147483646 w 388"/>
                    <a:gd name="T87" fmla="*/ 2147483646 h 413"/>
                    <a:gd name="T88" fmla="*/ 2147483646 w 388"/>
                    <a:gd name="T89" fmla="*/ 2147483646 h 413"/>
                    <a:gd name="T90" fmla="*/ 2147483646 w 388"/>
                    <a:gd name="T91" fmla="*/ 2147483646 h 413"/>
                    <a:gd name="T92" fmla="*/ 2147483646 w 388"/>
                    <a:gd name="T93" fmla="*/ 2147483646 h 413"/>
                    <a:gd name="T94" fmla="*/ 2147483646 w 388"/>
                    <a:gd name="T95" fmla="*/ 2147483646 h 413"/>
                    <a:gd name="T96" fmla="*/ 2147483646 w 388"/>
                    <a:gd name="T97" fmla="*/ 2147483646 h 413"/>
                    <a:gd name="T98" fmla="*/ 2147483646 w 388"/>
                    <a:gd name="T99" fmla="*/ 2147483646 h 413"/>
                    <a:gd name="T100" fmla="*/ 2147483646 w 388"/>
                    <a:gd name="T101" fmla="*/ 2147483646 h 413"/>
                    <a:gd name="T102" fmla="*/ 2147483646 w 388"/>
                    <a:gd name="T103" fmla="*/ 2147483646 h 413"/>
                    <a:gd name="T104" fmla="*/ 2147483646 w 388"/>
                    <a:gd name="T105" fmla="*/ 2147483646 h 413"/>
                    <a:gd name="T106" fmla="*/ 2147483646 w 388"/>
                    <a:gd name="T107" fmla="*/ 2147483646 h 413"/>
                    <a:gd name="T108" fmla="*/ 2147483646 w 388"/>
                    <a:gd name="T109" fmla="*/ 2147483646 h 413"/>
                    <a:gd name="T110" fmla="*/ 2147483646 w 388"/>
                    <a:gd name="T111" fmla="*/ 0 h 413"/>
                    <a:gd name="T112" fmla="*/ 2147483646 w 388"/>
                    <a:gd name="T113" fmla="*/ 0 h 413"/>
                    <a:gd name="T114" fmla="*/ 2147483646 w 388"/>
                    <a:gd name="T115" fmla="*/ 0 h 413"/>
                    <a:gd name="T116" fmla="*/ 2147483646 w 388"/>
                    <a:gd name="T117" fmla="*/ 0 h 41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88"/>
                    <a:gd name="T178" fmla="*/ 0 h 413"/>
                    <a:gd name="T179" fmla="*/ 388 w 388"/>
                    <a:gd name="T180" fmla="*/ 413 h 41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88" h="413">
                      <a:moveTo>
                        <a:pt x="56" y="0"/>
                      </a:moveTo>
                      <a:lnTo>
                        <a:pt x="0" y="84"/>
                      </a:lnTo>
                      <a:lnTo>
                        <a:pt x="108" y="413"/>
                      </a:lnTo>
                      <a:lnTo>
                        <a:pt x="110" y="413"/>
                      </a:lnTo>
                      <a:lnTo>
                        <a:pt x="115" y="413"/>
                      </a:lnTo>
                      <a:lnTo>
                        <a:pt x="123" y="413"/>
                      </a:lnTo>
                      <a:lnTo>
                        <a:pt x="133" y="411"/>
                      </a:lnTo>
                      <a:lnTo>
                        <a:pt x="146" y="411"/>
                      </a:lnTo>
                      <a:lnTo>
                        <a:pt x="160" y="410"/>
                      </a:lnTo>
                      <a:lnTo>
                        <a:pt x="176" y="409"/>
                      </a:lnTo>
                      <a:lnTo>
                        <a:pt x="193" y="408"/>
                      </a:lnTo>
                      <a:lnTo>
                        <a:pt x="211" y="406"/>
                      </a:lnTo>
                      <a:lnTo>
                        <a:pt x="228" y="403"/>
                      </a:lnTo>
                      <a:lnTo>
                        <a:pt x="245" y="400"/>
                      </a:lnTo>
                      <a:lnTo>
                        <a:pt x="261" y="397"/>
                      </a:lnTo>
                      <a:lnTo>
                        <a:pt x="277" y="392"/>
                      </a:lnTo>
                      <a:lnTo>
                        <a:pt x="292" y="387"/>
                      </a:lnTo>
                      <a:lnTo>
                        <a:pt x="305" y="382"/>
                      </a:lnTo>
                      <a:lnTo>
                        <a:pt x="315" y="375"/>
                      </a:lnTo>
                      <a:lnTo>
                        <a:pt x="332" y="356"/>
                      </a:lnTo>
                      <a:lnTo>
                        <a:pt x="343" y="333"/>
                      </a:lnTo>
                      <a:lnTo>
                        <a:pt x="350" y="304"/>
                      </a:lnTo>
                      <a:lnTo>
                        <a:pt x="353" y="273"/>
                      </a:lnTo>
                      <a:lnTo>
                        <a:pt x="353" y="242"/>
                      </a:lnTo>
                      <a:lnTo>
                        <a:pt x="351" y="212"/>
                      </a:lnTo>
                      <a:lnTo>
                        <a:pt x="347" y="185"/>
                      </a:lnTo>
                      <a:lnTo>
                        <a:pt x="341" y="163"/>
                      </a:lnTo>
                      <a:lnTo>
                        <a:pt x="338" y="145"/>
                      </a:lnTo>
                      <a:lnTo>
                        <a:pt x="342" y="130"/>
                      </a:lnTo>
                      <a:lnTo>
                        <a:pt x="349" y="119"/>
                      </a:lnTo>
                      <a:lnTo>
                        <a:pt x="358" y="109"/>
                      </a:lnTo>
                      <a:lnTo>
                        <a:pt x="368" y="102"/>
                      </a:lnTo>
                      <a:lnTo>
                        <a:pt x="379" y="97"/>
                      </a:lnTo>
                      <a:lnTo>
                        <a:pt x="386" y="95"/>
                      </a:lnTo>
                      <a:lnTo>
                        <a:pt x="388" y="94"/>
                      </a:lnTo>
                      <a:lnTo>
                        <a:pt x="385" y="92"/>
                      </a:lnTo>
                      <a:lnTo>
                        <a:pt x="375" y="88"/>
                      </a:lnTo>
                      <a:lnTo>
                        <a:pt x="362" y="81"/>
                      </a:lnTo>
                      <a:lnTo>
                        <a:pt x="343" y="73"/>
                      </a:lnTo>
                      <a:lnTo>
                        <a:pt x="322" y="64"/>
                      </a:lnTo>
                      <a:lnTo>
                        <a:pt x="298" y="53"/>
                      </a:lnTo>
                      <a:lnTo>
                        <a:pt x="274" y="42"/>
                      </a:lnTo>
                      <a:lnTo>
                        <a:pt x="249" y="31"/>
                      </a:lnTo>
                      <a:lnTo>
                        <a:pt x="236" y="27"/>
                      </a:lnTo>
                      <a:lnTo>
                        <a:pt x="221" y="22"/>
                      </a:lnTo>
                      <a:lnTo>
                        <a:pt x="206" y="19"/>
                      </a:lnTo>
                      <a:lnTo>
                        <a:pt x="191" y="15"/>
                      </a:lnTo>
                      <a:lnTo>
                        <a:pt x="175" y="12"/>
                      </a:lnTo>
                      <a:lnTo>
                        <a:pt x="159" y="9"/>
                      </a:lnTo>
                      <a:lnTo>
                        <a:pt x="143" y="7"/>
                      </a:lnTo>
                      <a:lnTo>
                        <a:pt x="128" y="5"/>
                      </a:lnTo>
                      <a:lnTo>
                        <a:pt x="114" y="4"/>
                      </a:lnTo>
                      <a:lnTo>
                        <a:pt x="100" y="3"/>
                      </a:lnTo>
                      <a:lnTo>
                        <a:pt x="87" y="1"/>
                      </a:lnTo>
                      <a:lnTo>
                        <a:pt x="77" y="1"/>
                      </a:lnTo>
                      <a:lnTo>
                        <a:pt x="69" y="0"/>
                      </a:lnTo>
                      <a:lnTo>
                        <a:pt x="62" y="0"/>
                      </a:lnTo>
                      <a:lnTo>
                        <a:pt x="57" y="0"/>
                      </a:lnTo>
                      <a:lnTo>
                        <a:pt x="56" y="0"/>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21" name="Freeform 138">
                  <a:extLst>
                    <a:ext uri="{FF2B5EF4-FFF2-40B4-BE49-F238E27FC236}">
                      <a16:creationId xmlns:a16="http://schemas.microsoft.com/office/drawing/2014/main" id="{F383BE72-BA58-4875-B9DA-1FDCC06290AF}"/>
                    </a:ext>
                  </a:extLst>
                </p:cNvPr>
                <p:cNvSpPr>
                  <a:spLocks/>
                </p:cNvSpPr>
                <p:nvPr/>
              </p:nvSpPr>
              <p:spPr bwMode="auto">
                <a:xfrm>
                  <a:off x="4357686" y="3500438"/>
                  <a:ext cx="950260" cy="857256"/>
                </a:xfrm>
                <a:custGeom>
                  <a:avLst/>
                  <a:gdLst>
                    <a:gd name="T0" fmla="*/ 2147483646 w 1409"/>
                    <a:gd name="T1" fmla="*/ 2147483646 h 830"/>
                    <a:gd name="T2" fmla="*/ 2147483646 w 1409"/>
                    <a:gd name="T3" fmla="*/ 2147483646 h 830"/>
                    <a:gd name="T4" fmla="*/ 2147483646 w 1409"/>
                    <a:gd name="T5" fmla="*/ 2147483646 h 830"/>
                    <a:gd name="T6" fmla="*/ 2147483646 w 1409"/>
                    <a:gd name="T7" fmla="*/ 2147483646 h 830"/>
                    <a:gd name="T8" fmla="*/ 2147483646 w 1409"/>
                    <a:gd name="T9" fmla="*/ 2147483646 h 830"/>
                    <a:gd name="T10" fmla="*/ 2147483646 w 1409"/>
                    <a:gd name="T11" fmla="*/ 2147483646 h 830"/>
                    <a:gd name="T12" fmla="*/ 2147483646 w 1409"/>
                    <a:gd name="T13" fmla="*/ 2147483646 h 830"/>
                    <a:gd name="T14" fmla="*/ 2147483646 w 1409"/>
                    <a:gd name="T15" fmla="*/ 2147483646 h 830"/>
                    <a:gd name="T16" fmla="*/ 2147483646 w 1409"/>
                    <a:gd name="T17" fmla="*/ 2147483646 h 830"/>
                    <a:gd name="T18" fmla="*/ 2147483646 w 1409"/>
                    <a:gd name="T19" fmla="*/ 2147483646 h 830"/>
                    <a:gd name="T20" fmla="*/ 2147483646 w 1409"/>
                    <a:gd name="T21" fmla="*/ 2147483646 h 830"/>
                    <a:gd name="T22" fmla="*/ 2147483646 w 1409"/>
                    <a:gd name="T23" fmla="*/ 2147483646 h 830"/>
                    <a:gd name="T24" fmla="*/ 2147483646 w 1409"/>
                    <a:gd name="T25" fmla="*/ 2147483646 h 830"/>
                    <a:gd name="T26" fmla="*/ 2147483646 w 1409"/>
                    <a:gd name="T27" fmla="*/ 2147483646 h 830"/>
                    <a:gd name="T28" fmla="*/ 2147483646 w 1409"/>
                    <a:gd name="T29" fmla="*/ 2147483646 h 830"/>
                    <a:gd name="T30" fmla="*/ 2147483646 w 1409"/>
                    <a:gd name="T31" fmla="*/ 2147483646 h 830"/>
                    <a:gd name="T32" fmla="*/ 2147483646 w 1409"/>
                    <a:gd name="T33" fmla="*/ 2147483646 h 830"/>
                    <a:gd name="T34" fmla="*/ 2147483646 w 1409"/>
                    <a:gd name="T35" fmla="*/ 2147483646 h 830"/>
                    <a:gd name="T36" fmla="*/ 2147483646 w 1409"/>
                    <a:gd name="T37" fmla="*/ 2147483646 h 830"/>
                    <a:gd name="T38" fmla="*/ 2147483646 w 1409"/>
                    <a:gd name="T39" fmla="*/ 2147483646 h 830"/>
                    <a:gd name="T40" fmla="*/ 2147483646 w 1409"/>
                    <a:gd name="T41" fmla="*/ 2147483646 h 830"/>
                    <a:gd name="T42" fmla="*/ 2147483646 w 1409"/>
                    <a:gd name="T43" fmla="*/ 2147483646 h 830"/>
                    <a:gd name="T44" fmla="*/ 2147483646 w 1409"/>
                    <a:gd name="T45" fmla="*/ 2147483646 h 830"/>
                    <a:gd name="T46" fmla="*/ 2147483646 w 1409"/>
                    <a:gd name="T47" fmla="*/ 2147483646 h 830"/>
                    <a:gd name="T48" fmla="*/ 2147483646 w 1409"/>
                    <a:gd name="T49" fmla="*/ 2147483646 h 830"/>
                    <a:gd name="T50" fmla="*/ 2147483646 w 1409"/>
                    <a:gd name="T51" fmla="*/ 2147483646 h 830"/>
                    <a:gd name="T52" fmla="*/ 2147483646 w 1409"/>
                    <a:gd name="T53" fmla="*/ 2147483646 h 830"/>
                    <a:gd name="T54" fmla="*/ 2147483646 w 1409"/>
                    <a:gd name="T55" fmla="*/ 2147483646 h 830"/>
                    <a:gd name="T56" fmla="*/ 2147483646 w 1409"/>
                    <a:gd name="T57" fmla="*/ 2147483646 h 830"/>
                    <a:gd name="T58" fmla="*/ 2147483646 w 1409"/>
                    <a:gd name="T59" fmla="*/ 2147483646 h 830"/>
                    <a:gd name="T60" fmla="*/ 2147483646 w 1409"/>
                    <a:gd name="T61" fmla="*/ 2147483646 h 830"/>
                    <a:gd name="T62" fmla="*/ 2147483646 w 1409"/>
                    <a:gd name="T63" fmla="*/ 2147483646 h 830"/>
                    <a:gd name="T64" fmla="*/ 2147483646 w 1409"/>
                    <a:gd name="T65" fmla="*/ 2147483646 h 830"/>
                    <a:gd name="T66" fmla="*/ 2147483646 w 1409"/>
                    <a:gd name="T67" fmla="*/ 2147483646 h 830"/>
                    <a:gd name="T68" fmla="*/ 2147483646 w 1409"/>
                    <a:gd name="T69" fmla="*/ 2147483646 h 830"/>
                    <a:gd name="T70" fmla="*/ 2147483646 w 1409"/>
                    <a:gd name="T71" fmla="*/ 2147483646 h 830"/>
                    <a:gd name="T72" fmla="*/ 2147483646 w 1409"/>
                    <a:gd name="T73" fmla="*/ 2147483646 h 830"/>
                    <a:gd name="T74" fmla="*/ 2147483646 w 1409"/>
                    <a:gd name="T75" fmla="*/ 2147483646 h 830"/>
                    <a:gd name="T76" fmla="*/ 2147483646 w 1409"/>
                    <a:gd name="T77" fmla="*/ 2147483646 h 830"/>
                    <a:gd name="T78" fmla="*/ 2147483646 w 1409"/>
                    <a:gd name="T79" fmla="*/ 2147483646 h 830"/>
                    <a:gd name="T80" fmla="*/ 2147483646 w 1409"/>
                    <a:gd name="T81" fmla="*/ 2147483646 h 830"/>
                    <a:gd name="T82" fmla="*/ 2147483646 w 1409"/>
                    <a:gd name="T83" fmla="*/ 2147483646 h 830"/>
                    <a:gd name="T84" fmla="*/ 2147483646 w 1409"/>
                    <a:gd name="T85" fmla="*/ 2147483646 h 830"/>
                    <a:gd name="T86" fmla="*/ 2147483646 w 1409"/>
                    <a:gd name="T87" fmla="*/ 2147483646 h 830"/>
                    <a:gd name="T88" fmla="*/ 2147483646 w 1409"/>
                    <a:gd name="T89" fmla="*/ 2147483646 h 830"/>
                    <a:gd name="T90" fmla="*/ 2147483646 w 1409"/>
                    <a:gd name="T91" fmla="*/ 2147483646 h 830"/>
                    <a:gd name="T92" fmla="*/ 2147483646 w 1409"/>
                    <a:gd name="T93" fmla="*/ 2147483646 h 830"/>
                    <a:gd name="T94" fmla="*/ 2147483646 w 1409"/>
                    <a:gd name="T95" fmla="*/ 2147483646 h 830"/>
                    <a:gd name="T96" fmla="*/ 2147483646 w 1409"/>
                    <a:gd name="T97" fmla="*/ 2147483646 h 830"/>
                    <a:gd name="T98" fmla="*/ 2147483646 w 1409"/>
                    <a:gd name="T99" fmla="*/ 2147483646 h 830"/>
                    <a:gd name="T100" fmla="*/ 2147483646 w 1409"/>
                    <a:gd name="T101" fmla="*/ 0 h 830"/>
                    <a:gd name="T102" fmla="*/ 2147483646 w 1409"/>
                    <a:gd name="T103" fmla="*/ 2147483646 h 83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09"/>
                    <a:gd name="T157" fmla="*/ 0 h 830"/>
                    <a:gd name="T158" fmla="*/ 1409 w 1409"/>
                    <a:gd name="T159" fmla="*/ 830 h 83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09" h="830">
                      <a:moveTo>
                        <a:pt x="694" y="59"/>
                      </a:moveTo>
                      <a:lnTo>
                        <a:pt x="693" y="79"/>
                      </a:lnTo>
                      <a:lnTo>
                        <a:pt x="688" y="100"/>
                      </a:lnTo>
                      <a:lnTo>
                        <a:pt x="683" y="122"/>
                      </a:lnTo>
                      <a:lnTo>
                        <a:pt x="676" y="142"/>
                      </a:lnTo>
                      <a:lnTo>
                        <a:pt x="670" y="160"/>
                      </a:lnTo>
                      <a:lnTo>
                        <a:pt x="664" y="176"/>
                      </a:lnTo>
                      <a:lnTo>
                        <a:pt x="658" y="191"/>
                      </a:lnTo>
                      <a:lnTo>
                        <a:pt x="653" y="206"/>
                      </a:lnTo>
                      <a:lnTo>
                        <a:pt x="647" y="220"/>
                      </a:lnTo>
                      <a:lnTo>
                        <a:pt x="640" y="235"/>
                      </a:lnTo>
                      <a:lnTo>
                        <a:pt x="632" y="250"/>
                      </a:lnTo>
                      <a:lnTo>
                        <a:pt x="622" y="266"/>
                      </a:lnTo>
                      <a:lnTo>
                        <a:pt x="645" y="276"/>
                      </a:lnTo>
                      <a:lnTo>
                        <a:pt x="668" y="286"/>
                      </a:lnTo>
                      <a:lnTo>
                        <a:pt x="691" y="295"/>
                      </a:lnTo>
                      <a:lnTo>
                        <a:pt x="714" y="304"/>
                      </a:lnTo>
                      <a:lnTo>
                        <a:pt x="737" y="313"/>
                      </a:lnTo>
                      <a:lnTo>
                        <a:pt x="761" y="321"/>
                      </a:lnTo>
                      <a:lnTo>
                        <a:pt x="784" y="329"/>
                      </a:lnTo>
                      <a:lnTo>
                        <a:pt x="808" y="337"/>
                      </a:lnTo>
                      <a:lnTo>
                        <a:pt x="832" y="346"/>
                      </a:lnTo>
                      <a:lnTo>
                        <a:pt x="855" y="352"/>
                      </a:lnTo>
                      <a:lnTo>
                        <a:pt x="880" y="360"/>
                      </a:lnTo>
                      <a:lnTo>
                        <a:pt x="904" y="369"/>
                      </a:lnTo>
                      <a:lnTo>
                        <a:pt x="927" y="375"/>
                      </a:lnTo>
                      <a:lnTo>
                        <a:pt x="951" y="384"/>
                      </a:lnTo>
                      <a:lnTo>
                        <a:pt x="975" y="392"/>
                      </a:lnTo>
                      <a:lnTo>
                        <a:pt x="998" y="400"/>
                      </a:lnTo>
                      <a:lnTo>
                        <a:pt x="1010" y="389"/>
                      </a:lnTo>
                      <a:lnTo>
                        <a:pt x="1019" y="375"/>
                      </a:lnTo>
                      <a:lnTo>
                        <a:pt x="1028" y="362"/>
                      </a:lnTo>
                      <a:lnTo>
                        <a:pt x="1036" y="348"/>
                      </a:lnTo>
                      <a:lnTo>
                        <a:pt x="1047" y="336"/>
                      </a:lnTo>
                      <a:lnTo>
                        <a:pt x="1058" y="328"/>
                      </a:lnTo>
                      <a:lnTo>
                        <a:pt x="1073" y="327"/>
                      </a:lnTo>
                      <a:lnTo>
                        <a:pt x="1091" y="332"/>
                      </a:lnTo>
                      <a:lnTo>
                        <a:pt x="1097" y="336"/>
                      </a:lnTo>
                      <a:lnTo>
                        <a:pt x="1104" y="340"/>
                      </a:lnTo>
                      <a:lnTo>
                        <a:pt x="1111" y="342"/>
                      </a:lnTo>
                      <a:lnTo>
                        <a:pt x="1118" y="343"/>
                      </a:lnTo>
                      <a:lnTo>
                        <a:pt x="1126" y="343"/>
                      </a:lnTo>
                      <a:lnTo>
                        <a:pt x="1134" y="341"/>
                      </a:lnTo>
                      <a:lnTo>
                        <a:pt x="1141" y="339"/>
                      </a:lnTo>
                      <a:lnTo>
                        <a:pt x="1148" y="334"/>
                      </a:lnTo>
                      <a:lnTo>
                        <a:pt x="1165" y="337"/>
                      </a:lnTo>
                      <a:lnTo>
                        <a:pt x="1182" y="341"/>
                      </a:lnTo>
                      <a:lnTo>
                        <a:pt x="1200" y="344"/>
                      </a:lnTo>
                      <a:lnTo>
                        <a:pt x="1217" y="348"/>
                      </a:lnTo>
                      <a:lnTo>
                        <a:pt x="1233" y="352"/>
                      </a:lnTo>
                      <a:lnTo>
                        <a:pt x="1250" y="357"/>
                      </a:lnTo>
                      <a:lnTo>
                        <a:pt x="1268" y="362"/>
                      </a:lnTo>
                      <a:lnTo>
                        <a:pt x="1284" y="367"/>
                      </a:lnTo>
                      <a:lnTo>
                        <a:pt x="1300" y="373"/>
                      </a:lnTo>
                      <a:lnTo>
                        <a:pt x="1316" y="379"/>
                      </a:lnTo>
                      <a:lnTo>
                        <a:pt x="1332" y="385"/>
                      </a:lnTo>
                      <a:lnTo>
                        <a:pt x="1348" y="392"/>
                      </a:lnTo>
                      <a:lnTo>
                        <a:pt x="1364" y="400"/>
                      </a:lnTo>
                      <a:lnTo>
                        <a:pt x="1379" y="408"/>
                      </a:lnTo>
                      <a:lnTo>
                        <a:pt x="1394" y="416"/>
                      </a:lnTo>
                      <a:lnTo>
                        <a:pt x="1409" y="425"/>
                      </a:lnTo>
                      <a:lnTo>
                        <a:pt x="1393" y="425"/>
                      </a:lnTo>
                      <a:lnTo>
                        <a:pt x="1377" y="425"/>
                      </a:lnTo>
                      <a:lnTo>
                        <a:pt x="1361" y="423"/>
                      </a:lnTo>
                      <a:lnTo>
                        <a:pt x="1346" y="420"/>
                      </a:lnTo>
                      <a:lnTo>
                        <a:pt x="1330" y="417"/>
                      </a:lnTo>
                      <a:lnTo>
                        <a:pt x="1314" y="413"/>
                      </a:lnTo>
                      <a:lnTo>
                        <a:pt x="1298" y="410"/>
                      </a:lnTo>
                      <a:lnTo>
                        <a:pt x="1283" y="405"/>
                      </a:lnTo>
                      <a:lnTo>
                        <a:pt x="1266" y="402"/>
                      </a:lnTo>
                      <a:lnTo>
                        <a:pt x="1250" y="397"/>
                      </a:lnTo>
                      <a:lnTo>
                        <a:pt x="1234" y="394"/>
                      </a:lnTo>
                      <a:lnTo>
                        <a:pt x="1219" y="392"/>
                      </a:lnTo>
                      <a:lnTo>
                        <a:pt x="1203" y="389"/>
                      </a:lnTo>
                      <a:lnTo>
                        <a:pt x="1187" y="388"/>
                      </a:lnTo>
                      <a:lnTo>
                        <a:pt x="1172" y="387"/>
                      </a:lnTo>
                      <a:lnTo>
                        <a:pt x="1156" y="388"/>
                      </a:lnTo>
                      <a:lnTo>
                        <a:pt x="1149" y="394"/>
                      </a:lnTo>
                      <a:lnTo>
                        <a:pt x="1142" y="400"/>
                      </a:lnTo>
                      <a:lnTo>
                        <a:pt x="1135" y="405"/>
                      </a:lnTo>
                      <a:lnTo>
                        <a:pt x="1129" y="411"/>
                      </a:lnTo>
                      <a:lnTo>
                        <a:pt x="1124" y="418"/>
                      </a:lnTo>
                      <a:lnTo>
                        <a:pt x="1119" y="425"/>
                      </a:lnTo>
                      <a:lnTo>
                        <a:pt x="1114" y="433"/>
                      </a:lnTo>
                      <a:lnTo>
                        <a:pt x="1110" y="441"/>
                      </a:lnTo>
                      <a:lnTo>
                        <a:pt x="1118" y="440"/>
                      </a:lnTo>
                      <a:lnTo>
                        <a:pt x="1126" y="440"/>
                      </a:lnTo>
                      <a:lnTo>
                        <a:pt x="1134" y="440"/>
                      </a:lnTo>
                      <a:lnTo>
                        <a:pt x="1141" y="441"/>
                      </a:lnTo>
                      <a:lnTo>
                        <a:pt x="1149" y="442"/>
                      </a:lnTo>
                      <a:lnTo>
                        <a:pt x="1157" y="445"/>
                      </a:lnTo>
                      <a:lnTo>
                        <a:pt x="1164" y="447"/>
                      </a:lnTo>
                      <a:lnTo>
                        <a:pt x="1172" y="450"/>
                      </a:lnTo>
                      <a:lnTo>
                        <a:pt x="1186" y="466"/>
                      </a:lnTo>
                      <a:lnTo>
                        <a:pt x="1203" y="481"/>
                      </a:lnTo>
                      <a:lnTo>
                        <a:pt x="1223" y="494"/>
                      </a:lnTo>
                      <a:lnTo>
                        <a:pt x="1243" y="504"/>
                      </a:lnTo>
                      <a:lnTo>
                        <a:pt x="1266" y="515"/>
                      </a:lnTo>
                      <a:lnTo>
                        <a:pt x="1290" y="525"/>
                      </a:lnTo>
                      <a:lnTo>
                        <a:pt x="1313" y="536"/>
                      </a:lnTo>
                      <a:lnTo>
                        <a:pt x="1334" y="546"/>
                      </a:lnTo>
                      <a:lnTo>
                        <a:pt x="1354" y="557"/>
                      </a:lnTo>
                      <a:lnTo>
                        <a:pt x="1371" y="570"/>
                      </a:lnTo>
                      <a:lnTo>
                        <a:pt x="1385" y="585"/>
                      </a:lnTo>
                      <a:lnTo>
                        <a:pt x="1395" y="602"/>
                      </a:lnTo>
                      <a:lnTo>
                        <a:pt x="1400" y="622"/>
                      </a:lnTo>
                      <a:lnTo>
                        <a:pt x="1400" y="645"/>
                      </a:lnTo>
                      <a:lnTo>
                        <a:pt x="1393" y="672"/>
                      </a:lnTo>
                      <a:lnTo>
                        <a:pt x="1379" y="701"/>
                      </a:lnTo>
                      <a:lnTo>
                        <a:pt x="1360" y="718"/>
                      </a:lnTo>
                      <a:lnTo>
                        <a:pt x="1340" y="731"/>
                      </a:lnTo>
                      <a:lnTo>
                        <a:pt x="1318" y="741"/>
                      </a:lnTo>
                      <a:lnTo>
                        <a:pt x="1295" y="749"/>
                      </a:lnTo>
                      <a:lnTo>
                        <a:pt x="1272" y="756"/>
                      </a:lnTo>
                      <a:lnTo>
                        <a:pt x="1249" y="763"/>
                      </a:lnTo>
                      <a:lnTo>
                        <a:pt x="1225" y="771"/>
                      </a:lnTo>
                      <a:lnTo>
                        <a:pt x="1203" y="779"/>
                      </a:lnTo>
                      <a:lnTo>
                        <a:pt x="1185" y="780"/>
                      </a:lnTo>
                      <a:lnTo>
                        <a:pt x="1167" y="779"/>
                      </a:lnTo>
                      <a:lnTo>
                        <a:pt x="1150" y="777"/>
                      </a:lnTo>
                      <a:lnTo>
                        <a:pt x="1133" y="775"/>
                      </a:lnTo>
                      <a:lnTo>
                        <a:pt x="1116" y="772"/>
                      </a:lnTo>
                      <a:lnTo>
                        <a:pt x="1100" y="767"/>
                      </a:lnTo>
                      <a:lnTo>
                        <a:pt x="1083" y="761"/>
                      </a:lnTo>
                      <a:lnTo>
                        <a:pt x="1067" y="756"/>
                      </a:lnTo>
                      <a:lnTo>
                        <a:pt x="1051" y="749"/>
                      </a:lnTo>
                      <a:lnTo>
                        <a:pt x="1036" y="742"/>
                      </a:lnTo>
                      <a:lnTo>
                        <a:pt x="1021" y="734"/>
                      </a:lnTo>
                      <a:lnTo>
                        <a:pt x="1006" y="726"/>
                      </a:lnTo>
                      <a:lnTo>
                        <a:pt x="992" y="716"/>
                      </a:lnTo>
                      <a:lnTo>
                        <a:pt x="977" y="706"/>
                      </a:lnTo>
                      <a:lnTo>
                        <a:pt x="965" y="697"/>
                      </a:lnTo>
                      <a:lnTo>
                        <a:pt x="951" y="686"/>
                      </a:lnTo>
                      <a:lnTo>
                        <a:pt x="947" y="680"/>
                      </a:lnTo>
                      <a:lnTo>
                        <a:pt x="944" y="672"/>
                      </a:lnTo>
                      <a:lnTo>
                        <a:pt x="943" y="665"/>
                      </a:lnTo>
                      <a:lnTo>
                        <a:pt x="947" y="658"/>
                      </a:lnTo>
                      <a:lnTo>
                        <a:pt x="942" y="653"/>
                      </a:lnTo>
                      <a:lnTo>
                        <a:pt x="935" y="648"/>
                      </a:lnTo>
                      <a:lnTo>
                        <a:pt x="928" y="644"/>
                      </a:lnTo>
                      <a:lnTo>
                        <a:pt x="921" y="639"/>
                      </a:lnTo>
                      <a:lnTo>
                        <a:pt x="916" y="635"/>
                      </a:lnTo>
                      <a:lnTo>
                        <a:pt x="912" y="629"/>
                      </a:lnTo>
                      <a:lnTo>
                        <a:pt x="909" y="622"/>
                      </a:lnTo>
                      <a:lnTo>
                        <a:pt x="911" y="614"/>
                      </a:lnTo>
                      <a:lnTo>
                        <a:pt x="890" y="627"/>
                      </a:lnTo>
                      <a:lnTo>
                        <a:pt x="869" y="639"/>
                      </a:lnTo>
                      <a:lnTo>
                        <a:pt x="848" y="654"/>
                      </a:lnTo>
                      <a:lnTo>
                        <a:pt x="828" y="669"/>
                      </a:lnTo>
                      <a:lnTo>
                        <a:pt x="807" y="683"/>
                      </a:lnTo>
                      <a:lnTo>
                        <a:pt x="785" y="697"/>
                      </a:lnTo>
                      <a:lnTo>
                        <a:pt x="763" y="707"/>
                      </a:lnTo>
                      <a:lnTo>
                        <a:pt x="740" y="716"/>
                      </a:lnTo>
                      <a:lnTo>
                        <a:pt x="728" y="719"/>
                      </a:lnTo>
                      <a:lnTo>
                        <a:pt x="714" y="721"/>
                      </a:lnTo>
                      <a:lnTo>
                        <a:pt x="701" y="723"/>
                      </a:lnTo>
                      <a:lnTo>
                        <a:pt x="688" y="725"/>
                      </a:lnTo>
                      <a:lnTo>
                        <a:pt x="676" y="727"/>
                      </a:lnTo>
                      <a:lnTo>
                        <a:pt x="663" y="729"/>
                      </a:lnTo>
                      <a:lnTo>
                        <a:pt x="650" y="730"/>
                      </a:lnTo>
                      <a:lnTo>
                        <a:pt x="638" y="731"/>
                      </a:lnTo>
                      <a:lnTo>
                        <a:pt x="625" y="734"/>
                      </a:lnTo>
                      <a:lnTo>
                        <a:pt x="612" y="734"/>
                      </a:lnTo>
                      <a:lnTo>
                        <a:pt x="600" y="735"/>
                      </a:lnTo>
                      <a:lnTo>
                        <a:pt x="587" y="735"/>
                      </a:lnTo>
                      <a:lnTo>
                        <a:pt x="574" y="734"/>
                      </a:lnTo>
                      <a:lnTo>
                        <a:pt x="562" y="734"/>
                      </a:lnTo>
                      <a:lnTo>
                        <a:pt x="549" y="733"/>
                      </a:lnTo>
                      <a:lnTo>
                        <a:pt x="535" y="730"/>
                      </a:lnTo>
                      <a:lnTo>
                        <a:pt x="520" y="753"/>
                      </a:lnTo>
                      <a:lnTo>
                        <a:pt x="503" y="771"/>
                      </a:lnTo>
                      <a:lnTo>
                        <a:pt x="482" y="783"/>
                      </a:lnTo>
                      <a:lnTo>
                        <a:pt x="460" y="794"/>
                      </a:lnTo>
                      <a:lnTo>
                        <a:pt x="436" y="801"/>
                      </a:lnTo>
                      <a:lnTo>
                        <a:pt x="412" y="805"/>
                      </a:lnTo>
                      <a:lnTo>
                        <a:pt x="387" y="809"/>
                      </a:lnTo>
                      <a:lnTo>
                        <a:pt x="362" y="811"/>
                      </a:lnTo>
                      <a:lnTo>
                        <a:pt x="352" y="806"/>
                      </a:lnTo>
                      <a:lnTo>
                        <a:pt x="343" y="802"/>
                      </a:lnTo>
                      <a:lnTo>
                        <a:pt x="333" y="797"/>
                      </a:lnTo>
                      <a:lnTo>
                        <a:pt x="323" y="791"/>
                      </a:lnTo>
                      <a:lnTo>
                        <a:pt x="314" y="786"/>
                      </a:lnTo>
                      <a:lnTo>
                        <a:pt x="305" y="779"/>
                      </a:lnTo>
                      <a:lnTo>
                        <a:pt x="296" y="772"/>
                      </a:lnTo>
                      <a:lnTo>
                        <a:pt x="288" y="764"/>
                      </a:lnTo>
                      <a:lnTo>
                        <a:pt x="274" y="768"/>
                      </a:lnTo>
                      <a:lnTo>
                        <a:pt x="260" y="772"/>
                      </a:lnTo>
                      <a:lnTo>
                        <a:pt x="246" y="775"/>
                      </a:lnTo>
                      <a:lnTo>
                        <a:pt x="232" y="777"/>
                      </a:lnTo>
                      <a:lnTo>
                        <a:pt x="220" y="780"/>
                      </a:lnTo>
                      <a:lnTo>
                        <a:pt x="206" y="783"/>
                      </a:lnTo>
                      <a:lnTo>
                        <a:pt x="192" y="786"/>
                      </a:lnTo>
                      <a:lnTo>
                        <a:pt x="178" y="788"/>
                      </a:lnTo>
                      <a:lnTo>
                        <a:pt x="166" y="791"/>
                      </a:lnTo>
                      <a:lnTo>
                        <a:pt x="152" y="795"/>
                      </a:lnTo>
                      <a:lnTo>
                        <a:pt x="139" y="798"/>
                      </a:lnTo>
                      <a:lnTo>
                        <a:pt x="126" y="803"/>
                      </a:lnTo>
                      <a:lnTo>
                        <a:pt x="114" y="809"/>
                      </a:lnTo>
                      <a:lnTo>
                        <a:pt x="101" y="814"/>
                      </a:lnTo>
                      <a:lnTo>
                        <a:pt x="88" y="821"/>
                      </a:lnTo>
                      <a:lnTo>
                        <a:pt x="77" y="829"/>
                      </a:lnTo>
                      <a:lnTo>
                        <a:pt x="71" y="830"/>
                      </a:lnTo>
                      <a:lnTo>
                        <a:pt x="66" y="830"/>
                      </a:lnTo>
                      <a:lnTo>
                        <a:pt x="63" y="827"/>
                      </a:lnTo>
                      <a:lnTo>
                        <a:pt x="62" y="822"/>
                      </a:lnTo>
                      <a:lnTo>
                        <a:pt x="65" y="811"/>
                      </a:lnTo>
                      <a:lnTo>
                        <a:pt x="69" y="801"/>
                      </a:lnTo>
                      <a:lnTo>
                        <a:pt x="73" y="790"/>
                      </a:lnTo>
                      <a:lnTo>
                        <a:pt x="79" y="779"/>
                      </a:lnTo>
                      <a:lnTo>
                        <a:pt x="85" y="768"/>
                      </a:lnTo>
                      <a:lnTo>
                        <a:pt x="91" y="758"/>
                      </a:lnTo>
                      <a:lnTo>
                        <a:pt x="98" y="749"/>
                      </a:lnTo>
                      <a:lnTo>
                        <a:pt x="103" y="738"/>
                      </a:lnTo>
                      <a:lnTo>
                        <a:pt x="68" y="742"/>
                      </a:lnTo>
                      <a:lnTo>
                        <a:pt x="39" y="733"/>
                      </a:lnTo>
                      <a:lnTo>
                        <a:pt x="17" y="715"/>
                      </a:lnTo>
                      <a:lnTo>
                        <a:pt x="4" y="692"/>
                      </a:lnTo>
                      <a:lnTo>
                        <a:pt x="0" y="666"/>
                      </a:lnTo>
                      <a:lnTo>
                        <a:pt x="7" y="639"/>
                      </a:lnTo>
                      <a:lnTo>
                        <a:pt x="26" y="615"/>
                      </a:lnTo>
                      <a:lnTo>
                        <a:pt x="57" y="597"/>
                      </a:lnTo>
                      <a:lnTo>
                        <a:pt x="70" y="583"/>
                      </a:lnTo>
                      <a:lnTo>
                        <a:pt x="83" y="570"/>
                      </a:lnTo>
                      <a:lnTo>
                        <a:pt x="94" y="555"/>
                      </a:lnTo>
                      <a:lnTo>
                        <a:pt x="106" y="541"/>
                      </a:lnTo>
                      <a:lnTo>
                        <a:pt x="117" y="526"/>
                      </a:lnTo>
                      <a:lnTo>
                        <a:pt x="129" y="511"/>
                      </a:lnTo>
                      <a:lnTo>
                        <a:pt x="141" y="498"/>
                      </a:lnTo>
                      <a:lnTo>
                        <a:pt x="153" y="483"/>
                      </a:lnTo>
                      <a:lnTo>
                        <a:pt x="164" y="469"/>
                      </a:lnTo>
                      <a:lnTo>
                        <a:pt x="177" y="455"/>
                      </a:lnTo>
                      <a:lnTo>
                        <a:pt x="190" y="442"/>
                      </a:lnTo>
                      <a:lnTo>
                        <a:pt x="204" y="430"/>
                      </a:lnTo>
                      <a:lnTo>
                        <a:pt x="217" y="418"/>
                      </a:lnTo>
                      <a:lnTo>
                        <a:pt x="232" y="407"/>
                      </a:lnTo>
                      <a:lnTo>
                        <a:pt x="248" y="397"/>
                      </a:lnTo>
                      <a:lnTo>
                        <a:pt x="265" y="388"/>
                      </a:lnTo>
                      <a:lnTo>
                        <a:pt x="364" y="336"/>
                      </a:lnTo>
                      <a:lnTo>
                        <a:pt x="380" y="316"/>
                      </a:lnTo>
                      <a:lnTo>
                        <a:pt x="395" y="295"/>
                      </a:lnTo>
                      <a:lnTo>
                        <a:pt x="410" y="274"/>
                      </a:lnTo>
                      <a:lnTo>
                        <a:pt x="425" y="252"/>
                      </a:lnTo>
                      <a:lnTo>
                        <a:pt x="438" y="230"/>
                      </a:lnTo>
                      <a:lnTo>
                        <a:pt x="452" y="208"/>
                      </a:lnTo>
                      <a:lnTo>
                        <a:pt x="466" y="187"/>
                      </a:lnTo>
                      <a:lnTo>
                        <a:pt x="480" y="165"/>
                      </a:lnTo>
                      <a:lnTo>
                        <a:pt x="494" y="143"/>
                      </a:lnTo>
                      <a:lnTo>
                        <a:pt x="508" y="121"/>
                      </a:lnTo>
                      <a:lnTo>
                        <a:pt x="523" y="99"/>
                      </a:lnTo>
                      <a:lnTo>
                        <a:pt x="538" y="78"/>
                      </a:lnTo>
                      <a:lnTo>
                        <a:pt x="554" y="58"/>
                      </a:lnTo>
                      <a:lnTo>
                        <a:pt x="570" y="38"/>
                      </a:lnTo>
                      <a:lnTo>
                        <a:pt x="588" y="18"/>
                      </a:lnTo>
                      <a:lnTo>
                        <a:pt x="607" y="0"/>
                      </a:lnTo>
                      <a:lnTo>
                        <a:pt x="618" y="0"/>
                      </a:lnTo>
                      <a:lnTo>
                        <a:pt x="630" y="2"/>
                      </a:lnTo>
                      <a:lnTo>
                        <a:pt x="640" y="6"/>
                      </a:lnTo>
                      <a:lnTo>
                        <a:pt x="650" y="11"/>
                      </a:lnTo>
                      <a:lnTo>
                        <a:pt x="660" y="18"/>
                      </a:lnTo>
                      <a:lnTo>
                        <a:pt x="669" y="25"/>
                      </a:lnTo>
                      <a:lnTo>
                        <a:pt x="678" y="34"/>
                      </a:lnTo>
                      <a:lnTo>
                        <a:pt x="687" y="43"/>
                      </a:lnTo>
                      <a:lnTo>
                        <a:pt x="694"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22" name="Freeform 139">
                  <a:extLst>
                    <a:ext uri="{FF2B5EF4-FFF2-40B4-BE49-F238E27FC236}">
                      <a16:creationId xmlns:a16="http://schemas.microsoft.com/office/drawing/2014/main" id="{85D789EF-0AA1-4815-A08D-9163238BF6A2}"/>
                    </a:ext>
                  </a:extLst>
                </p:cNvPr>
                <p:cNvSpPr>
                  <a:spLocks/>
                </p:cNvSpPr>
                <p:nvPr/>
              </p:nvSpPr>
              <p:spPr bwMode="auto">
                <a:xfrm>
                  <a:off x="4638046" y="3531349"/>
                  <a:ext cx="163094" cy="319410"/>
                </a:xfrm>
                <a:custGeom>
                  <a:avLst/>
                  <a:gdLst>
                    <a:gd name="T0" fmla="*/ 2147483646 w 242"/>
                    <a:gd name="T1" fmla="*/ 2147483646 h 309"/>
                    <a:gd name="T2" fmla="*/ 2147483646 w 242"/>
                    <a:gd name="T3" fmla="*/ 2147483646 h 309"/>
                    <a:gd name="T4" fmla="*/ 2147483646 w 242"/>
                    <a:gd name="T5" fmla="*/ 2147483646 h 309"/>
                    <a:gd name="T6" fmla="*/ 2147483646 w 242"/>
                    <a:gd name="T7" fmla="*/ 2147483646 h 309"/>
                    <a:gd name="T8" fmla="*/ 2147483646 w 242"/>
                    <a:gd name="T9" fmla="*/ 2147483646 h 309"/>
                    <a:gd name="T10" fmla="*/ 2147483646 w 242"/>
                    <a:gd name="T11" fmla="*/ 2147483646 h 309"/>
                    <a:gd name="T12" fmla="*/ 2147483646 w 242"/>
                    <a:gd name="T13" fmla="*/ 2147483646 h 309"/>
                    <a:gd name="T14" fmla="*/ 2147483646 w 242"/>
                    <a:gd name="T15" fmla="*/ 2147483646 h 309"/>
                    <a:gd name="T16" fmla="*/ 2147483646 w 242"/>
                    <a:gd name="T17" fmla="*/ 2147483646 h 309"/>
                    <a:gd name="T18" fmla="*/ 2147483646 w 242"/>
                    <a:gd name="T19" fmla="*/ 2147483646 h 309"/>
                    <a:gd name="T20" fmla="*/ 2147483646 w 242"/>
                    <a:gd name="T21" fmla="*/ 2147483646 h 309"/>
                    <a:gd name="T22" fmla="*/ 2147483646 w 242"/>
                    <a:gd name="T23" fmla="*/ 2147483646 h 309"/>
                    <a:gd name="T24" fmla="*/ 2147483646 w 242"/>
                    <a:gd name="T25" fmla="*/ 2147483646 h 309"/>
                    <a:gd name="T26" fmla="*/ 2147483646 w 242"/>
                    <a:gd name="T27" fmla="*/ 2147483646 h 309"/>
                    <a:gd name="T28" fmla="*/ 2147483646 w 242"/>
                    <a:gd name="T29" fmla="*/ 2147483646 h 309"/>
                    <a:gd name="T30" fmla="*/ 2147483646 w 242"/>
                    <a:gd name="T31" fmla="*/ 2147483646 h 309"/>
                    <a:gd name="T32" fmla="*/ 2147483646 w 242"/>
                    <a:gd name="T33" fmla="*/ 2147483646 h 309"/>
                    <a:gd name="T34" fmla="*/ 2147483646 w 242"/>
                    <a:gd name="T35" fmla="*/ 2147483646 h 309"/>
                    <a:gd name="T36" fmla="*/ 2147483646 w 242"/>
                    <a:gd name="T37" fmla="*/ 2147483646 h 309"/>
                    <a:gd name="T38" fmla="*/ 2147483646 w 242"/>
                    <a:gd name="T39" fmla="*/ 2147483646 h 309"/>
                    <a:gd name="T40" fmla="*/ 2147483646 w 242"/>
                    <a:gd name="T41" fmla="*/ 2147483646 h 309"/>
                    <a:gd name="T42" fmla="*/ 2147483646 w 242"/>
                    <a:gd name="T43" fmla="*/ 2147483646 h 309"/>
                    <a:gd name="T44" fmla="*/ 2147483646 w 242"/>
                    <a:gd name="T45" fmla="*/ 2147483646 h 309"/>
                    <a:gd name="T46" fmla="*/ 2147483646 w 242"/>
                    <a:gd name="T47" fmla="*/ 2147483646 h 309"/>
                    <a:gd name="T48" fmla="*/ 0 w 242"/>
                    <a:gd name="T49" fmla="*/ 2147483646 h 309"/>
                    <a:gd name="T50" fmla="*/ 2147483646 w 242"/>
                    <a:gd name="T51" fmla="*/ 2147483646 h 309"/>
                    <a:gd name="T52" fmla="*/ 2147483646 w 242"/>
                    <a:gd name="T53" fmla="*/ 2147483646 h 309"/>
                    <a:gd name="T54" fmla="*/ 2147483646 w 242"/>
                    <a:gd name="T55" fmla="*/ 2147483646 h 309"/>
                    <a:gd name="T56" fmla="*/ 2147483646 w 242"/>
                    <a:gd name="T57" fmla="*/ 2147483646 h 309"/>
                    <a:gd name="T58" fmla="*/ 2147483646 w 242"/>
                    <a:gd name="T59" fmla="*/ 2147483646 h 309"/>
                    <a:gd name="T60" fmla="*/ 2147483646 w 242"/>
                    <a:gd name="T61" fmla="*/ 2147483646 h 309"/>
                    <a:gd name="T62" fmla="*/ 2147483646 w 242"/>
                    <a:gd name="T63" fmla="*/ 2147483646 h 309"/>
                    <a:gd name="T64" fmla="*/ 2147483646 w 242"/>
                    <a:gd name="T65" fmla="*/ 2147483646 h 309"/>
                    <a:gd name="T66" fmla="*/ 2147483646 w 242"/>
                    <a:gd name="T67" fmla="*/ 2147483646 h 309"/>
                    <a:gd name="T68" fmla="*/ 2147483646 w 242"/>
                    <a:gd name="T69" fmla="*/ 2147483646 h 309"/>
                    <a:gd name="T70" fmla="*/ 2147483646 w 242"/>
                    <a:gd name="T71" fmla="*/ 2147483646 h 309"/>
                    <a:gd name="T72" fmla="*/ 2147483646 w 242"/>
                    <a:gd name="T73" fmla="*/ 2147483646 h 309"/>
                    <a:gd name="T74" fmla="*/ 2147483646 w 242"/>
                    <a:gd name="T75" fmla="*/ 2147483646 h 309"/>
                    <a:gd name="T76" fmla="*/ 2147483646 w 242"/>
                    <a:gd name="T77" fmla="*/ 2147483646 h 309"/>
                    <a:gd name="T78" fmla="*/ 2147483646 w 242"/>
                    <a:gd name="T79" fmla="*/ 2147483646 h 309"/>
                    <a:gd name="T80" fmla="*/ 2147483646 w 242"/>
                    <a:gd name="T81" fmla="*/ 0 h 309"/>
                    <a:gd name="T82" fmla="*/ 2147483646 w 242"/>
                    <a:gd name="T83" fmla="*/ 2147483646 h 309"/>
                    <a:gd name="T84" fmla="*/ 2147483646 w 242"/>
                    <a:gd name="T85" fmla="*/ 2147483646 h 309"/>
                    <a:gd name="T86" fmla="*/ 2147483646 w 242"/>
                    <a:gd name="T87" fmla="*/ 2147483646 h 309"/>
                    <a:gd name="T88" fmla="*/ 2147483646 w 242"/>
                    <a:gd name="T89" fmla="*/ 2147483646 h 309"/>
                    <a:gd name="T90" fmla="*/ 2147483646 w 242"/>
                    <a:gd name="T91" fmla="*/ 2147483646 h 309"/>
                    <a:gd name="T92" fmla="*/ 2147483646 w 242"/>
                    <a:gd name="T93" fmla="*/ 2147483646 h 309"/>
                    <a:gd name="T94" fmla="*/ 2147483646 w 242"/>
                    <a:gd name="T95" fmla="*/ 2147483646 h 309"/>
                    <a:gd name="T96" fmla="*/ 2147483646 w 242"/>
                    <a:gd name="T97" fmla="*/ 2147483646 h 30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42"/>
                    <a:gd name="T148" fmla="*/ 0 h 309"/>
                    <a:gd name="T149" fmla="*/ 242 w 242"/>
                    <a:gd name="T150" fmla="*/ 309 h 30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42" h="309">
                      <a:moveTo>
                        <a:pt x="242" y="22"/>
                      </a:moveTo>
                      <a:lnTo>
                        <a:pt x="229" y="40"/>
                      </a:lnTo>
                      <a:lnTo>
                        <a:pt x="217" y="60"/>
                      </a:lnTo>
                      <a:lnTo>
                        <a:pt x="204" y="78"/>
                      </a:lnTo>
                      <a:lnTo>
                        <a:pt x="191" y="97"/>
                      </a:lnTo>
                      <a:lnTo>
                        <a:pt x="180" y="115"/>
                      </a:lnTo>
                      <a:lnTo>
                        <a:pt x="168" y="134"/>
                      </a:lnTo>
                      <a:lnTo>
                        <a:pt x="156" y="152"/>
                      </a:lnTo>
                      <a:lnTo>
                        <a:pt x="144" y="170"/>
                      </a:lnTo>
                      <a:lnTo>
                        <a:pt x="132" y="188"/>
                      </a:lnTo>
                      <a:lnTo>
                        <a:pt x="119" y="206"/>
                      </a:lnTo>
                      <a:lnTo>
                        <a:pt x="106" y="223"/>
                      </a:lnTo>
                      <a:lnTo>
                        <a:pt x="94" y="241"/>
                      </a:lnTo>
                      <a:lnTo>
                        <a:pt x="81" y="258"/>
                      </a:lnTo>
                      <a:lnTo>
                        <a:pt x="67" y="275"/>
                      </a:lnTo>
                      <a:lnTo>
                        <a:pt x="52" y="292"/>
                      </a:lnTo>
                      <a:lnTo>
                        <a:pt x="37" y="309"/>
                      </a:lnTo>
                      <a:lnTo>
                        <a:pt x="34" y="305"/>
                      </a:lnTo>
                      <a:lnTo>
                        <a:pt x="29" y="302"/>
                      </a:lnTo>
                      <a:lnTo>
                        <a:pt x="24" y="299"/>
                      </a:lnTo>
                      <a:lnTo>
                        <a:pt x="20" y="296"/>
                      </a:lnTo>
                      <a:lnTo>
                        <a:pt x="15" y="294"/>
                      </a:lnTo>
                      <a:lnTo>
                        <a:pt x="11" y="291"/>
                      </a:lnTo>
                      <a:lnTo>
                        <a:pt x="5" y="289"/>
                      </a:lnTo>
                      <a:lnTo>
                        <a:pt x="0" y="287"/>
                      </a:lnTo>
                      <a:lnTo>
                        <a:pt x="13" y="269"/>
                      </a:lnTo>
                      <a:lnTo>
                        <a:pt x="26" y="251"/>
                      </a:lnTo>
                      <a:lnTo>
                        <a:pt x="37" y="234"/>
                      </a:lnTo>
                      <a:lnTo>
                        <a:pt x="49" y="216"/>
                      </a:lnTo>
                      <a:lnTo>
                        <a:pt x="60" y="198"/>
                      </a:lnTo>
                      <a:lnTo>
                        <a:pt x="72" y="181"/>
                      </a:lnTo>
                      <a:lnTo>
                        <a:pt x="82" y="162"/>
                      </a:lnTo>
                      <a:lnTo>
                        <a:pt x="94" y="145"/>
                      </a:lnTo>
                      <a:lnTo>
                        <a:pt x="104" y="127"/>
                      </a:lnTo>
                      <a:lnTo>
                        <a:pt x="115" y="108"/>
                      </a:lnTo>
                      <a:lnTo>
                        <a:pt x="126" y="91"/>
                      </a:lnTo>
                      <a:lnTo>
                        <a:pt x="137" y="72"/>
                      </a:lnTo>
                      <a:lnTo>
                        <a:pt x="149" y="54"/>
                      </a:lnTo>
                      <a:lnTo>
                        <a:pt x="160" y="36"/>
                      </a:lnTo>
                      <a:lnTo>
                        <a:pt x="172" y="18"/>
                      </a:lnTo>
                      <a:lnTo>
                        <a:pt x="185" y="0"/>
                      </a:lnTo>
                      <a:lnTo>
                        <a:pt x="191" y="2"/>
                      </a:lnTo>
                      <a:lnTo>
                        <a:pt x="200" y="4"/>
                      </a:lnTo>
                      <a:lnTo>
                        <a:pt x="206" y="7"/>
                      </a:lnTo>
                      <a:lnTo>
                        <a:pt x="213" y="9"/>
                      </a:lnTo>
                      <a:lnTo>
                        <a:pt x="221" y="13"/>
                      </a:lnTo>
                      <a:lnTo>
                        <a:pt x="228" y="15"/>
                      </a:lnTo>
                      <a:lnTo>
                        <a:pt x="235" y="18"/>
                      </a:lnTo>
                      <a:lnTo>
                        <a:pt x="242" y="22"/>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23" name="Freeform 140">
                  <a:extLst>
                    <a:ext uri="{FF2B5EF4-FFF2-40B4-BE49-F238E27FC236}">
                      <a16:creationId xmlns:a16="http://schemas.microsoft.com/office/drawing/2014/main" id="{82D12858-F8EB-4520-993F-9CC705EF5BD4}"/>
                    </a:ext>
                  </a:extLst>
                </p:cNvPr>
                <p:cNvSpPr>
                  <a:spLocks/>
                </p:cNvSpPr>
                <p:nvPr/>
              </p:nvSpPr>
              <p:spPr bwMode="auto">
                <a:xfrm>
                  <a:off x="4718920" y="3589049"/>
                  <a:ext cx="87612" cy="218435"/>
                </a:xfrm>
                <a:custGeom>
                  <a:avLst/>
                  <a:gdLst>
                    <a:gd name="T0" fmla="*/ 0 w 130"/>
                    <a:gd name="T1" fmla="*/ 2147483646 h 212"/>
                    <a:gd name="T2" fmla="*/ 2147483646 w 130"/>
                    <a:gd name="T3" fmla="*/ 2147483646 h 212"/>
                    <a:gd name="T4" fmla="*/ 2147483646 w 130"/>
                    <a:gd name="T5" fmla="*/ 2147483646 h 212"/>
                    <a:gd name="T6" fmla="*/ 2147483646 w 130"/>
                    <a:gd name="T7" fmla="*/ 2147483646 h 212"/>
                    <a:gd name="T8" fmla="*/ 2147483646 w 130"/>
                    <a:gd name="T9" fmla="*/ 2147483646 h 212"/>
                    <a:gd name="T10" fmla="*/ 2147483646 w 130"/>
                    <a:gd name="T11" fmla="*/ 2147483646 h 212"/>
                    <a:gd name="T12" fmla="*/ 2147483646 w 130"/>
                    <a:gd name="T13" fmla="*/ 2147483646 h 212"/>
                    <a:gd name="T14" fmla="*/ 2147483646 w 130"/>
                    <a:gd name="T15" fmla="*/ 2147483646 h 212"/>
                    <a:gd name="T16" fmla="*/ 2147483646 w 130"/>
                    <a:gd name="T17" fmla="*/ 0 h 212"/>
                    <a:gd name="T18" fmla="*/ 2147483646 w 130"/>
                    <a:gd name="T19" fmla="*/ 2147483646 h 212"/>
                    <a:gd name="T20" fmla="*/ 2147483646 w 130"/>
                    <a:gd name="T21" fmla="*/ 2147483646 h 212"/>
                    <a:gd name="T22" fmla="*/ 2147483646 w 130"/>
                    <a:gd name="T23" fmla="*/ 2147483646 h 212"/>
                    <a:gd name="T24" fmla="*/ 2147483646 w 130"/>
                    <a:gd name="T25" fmla="*/ 2147483646 h 212"/>
                    <a:gd name="T26" fmla="*/ 2147483646 w 130"/>
                    <a:gd name="T27" fmla="*/ 2147483646 h 212"/>
                    <a:gd name="T28" fmla="*/ 2147483646 w 130"/>
                    <a:gd name="T29" fmla="*/ 2147483646 h 212"/>
                    <a:gd name="T30" fmla="*/ 2147483646 w 130"/>
                    <a:gd name="T31" fmla="*/ 2147483646 h 212"/>
                    <a:gd name="T32" fmla="*/ 0 w 130"/>
                    <a:gd name="T33" fmla="*/ 2147483646 h 2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0"/>
                    <a:gd name="T52" fmla="*/ 0 h 212"/>
                    <a:gd name="T53" fmla="*/ 130 w 130"/>
                    <a:gd name="T54" fmla="*/ 212 h 2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0" h="212">
                      <a:moveTo>
                        <a:pt x="0" y="212"/>
                      </a:moveTo>
                      <a:lnTo>
                        <a:pt x="7" y="191"/>
                      </a:lnTo>
                      <a:lnTo>
                        <a:pt x="18" y="167"/>
                      </a:lnTo>
                      <a:lnTo>
                        <a:pt x="33" y="142"/>
                      </a:lnTo>
                      <a:lnTo>
                        <a:pt x="51" y="113"/>
                      </a:lnTo>
                      <a:lnTo>
                        <a:pt x="70" y="84"/>
                      </a:lnTo>
                      <a:lnTo>
                        <a:pt x="90" y="55"/>
                      </a:lnTo>
                      <a:lnTo>
                        <a:pt x="111" y="28"/>
                      </a:lnTo>
                      <a:lnTo>
                        <a:pt x="130" y="0"/>
                      </a:lnTo>
                      <a:lnTo>
                        <a:pt x="120" y="31"/>
                      </a:lnTo>
                      <a:lnTo>
                        <a:pt x="106" y="60"/>
                      </a:lnTo>
                      <a:lnTo>
                        <a:pt x="90" y="88"/>
                      </a:lnTo>
                      <a:lnTo>
                        <a:pt x="74" y="113"/>
                      </a:lnTo>
                      <a:lnTo>
                        <a:pt x="55" y="137"/>
                      </a:lnTo>
                      <a:lnTo>
                        <a:pt x="37" y="163"/>
                      </a:lnTo>
                      <a:lnTo>
                        <a:pt x="18" y="187"/>
                      </a:lnTo>
                      <a:lnTo>
                        <a:pt x="0" y="2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24" name="Freeform 141">
                  <a:extLst>
                    <a:ext uri="{FF2B5EF4-FFF2-40B4-BE49-F238E27FC236}">
                      <a16:creationId xmlns:a16="http://schemas.microsoft.com/office/drawing/2014/main" id="{A0E3300B-1A64-4842-93AF-7611542AE3E7}"/>
                    </a:ext>
                  </a:extLst>
                </p:cNvPr>
                <p:cNvSpPr>
                  <a:spLocks/>
                </p:cNvSpPr>
                <p:nvPr/>
              </p:nvSpPr>
              <p:spPr bwMode="auto">
                <a:xfrm>
                  <a:off x="4462821" y="4027980"/>
                  <a:ext cx="513544" cy="228738"/>
                </a:xfrm>
                <a:custGeom>
                  <a:avLst/>
                  <a:gdLst>
                    <a:gd name="T0" fmla="*/ 2147483646 w 762"/>
                    <a:gd name="T1" fmla="*/ 2147483646 h 224"/>
                    <a:gd name="T2" fmla="*/ 2147483646 w 762"/>
                    <a:gd name="T3" fmla="*/ 2147483646 h 224"/>
                    <a:gd name="T4" fmla="*/ 2147483646 w 762"/>
                    <a:gd name="T5" fmla="*/ 2147483646 h 224"/>
                    <a:gd name="T6" fmla="*/ 2147483646 w 762"/>
                    <a:gd name="T7" fmla="*/ 2147483646 h 224"/>
                    <a:gd name="T8" fmla="*/ 2147483646 w 762"/>
                    <a:gd name="T9" fmla="*/ 2147483646 h 224"/>
                    <a:gd name="T10" fmla="*/ 2147483646 w 762"/>
                    <a:gd name="T11" fmla="*/ 2147483646 h 224"/>
                    <a:gd name="T12" fmla="*/ 2147483646 w 762"/>
                    <a:gd name="T13" fmla="*/ 2147483646 h 224"/>
                    <a:gd name="T14" fmla="*/ 2147483646 w 762"/>
                    <a:gd name="T15" fmla="*/ 2147483646 h 224"/>
                    <a:gd name="T16" fmla="*/ 2147483646 w 762"/>
                    <a:gd name="T17" fmla="*/ 2147483646 h 224"/>
                    <a:gd name="T18" fmla="*/ 2147483646 w 762"/>
                    <a:gd name="T19" fmla="*/ 2147483646 h 224"/>
                    <a:gd name="T20" fmla="*/ 2147483646 w 762"/>
                    <a:gd name="T21" fmla="*/ 2147483646 h 224"/>
                    <a:gd name="T22" fmla="*/ 2147483646 w 762"/>
                    <a:gd name="T23" fmla="*/ 2147483646 h 224"/>
                    <a:gd name="T24" fmla="*/ 2147483646 w 762"/>
                    <a:gd name="T25" fmla="*/ 2147483646 h 224"/>
                    <a:gd name="T26" fmla="*/ 2147483646 w 762"/>
                    <a:gd name="T27" fmla="*/ 2147483646 h 224"/>
                    <a:gd name="T28" fmla="*/ 2147483646 w 762"/>
                    <a:gd name="T29" fmla="*/ 2147483646 h 224"/>
                    <a:gd name="T30" fmla="*/ 2147483646 w 762"/>
                    <a:gd name="T31" fmla="*/ 2147483646 h 224"/>
                    <a:gd name="T32" fmla="*/ 2147483646 w 762"/>
                    <a:gd name="T33" fmla="*/ 2147483646 h 224"/>
                    <a:gd name="T34" fmla="*/ 2147483646 w 762"/>
                    <a:gd name="T35" fmla="*/ 2147483646 h 224"/>
                    <a:gd name="T36" fmla="*/ 2147483646 w 762"/>
                    <a:gd name="T37" fmla="*/ 2147483646 h 224"/>
                    <a:gd name="T38" fmla="*/ 2147483646 w 762"/>
                    <a:gd name="T39" fmla="*/ 2147483646 h 224"/>
                    <a:gd name="T40" fmla="*/ 2147483646 w 762"/>
                    <a:gd name="T41" fmla="*/ 2147483646 h 224"/>
                    <a:gd name="T42" fmla="*/ 2147483646 w 762"/>
                    <a:gd name="T43" fmla="*/ 2147483646 h 224"/>
                    <a:gd name="T44" fmla="*/ 2147483646 w 762"/>
                    <a:gd name="T45" fmla="*/ 2147483646 h 224"/>
                    <a:gd name="T46" fmla="*/ 2147483646 w 762"/>
                    <a:gd name="T47" fmla="*/ 2147483646 h 224"/>
                    <a:gd name="T48" fmla="*/ 2147483646 w 762"/>
                    <a:gd name="T49" fmla="*/ 2147483646 h 224"/>
                    <a:gd name="T50" fmla="*/ 2147483646 w 762"/>
                    <a:gd name="T51" fmla="*/ 2147483646 h 224"/>
                    <a:gd name="T52" fmla="*/ 2147483646 w 762"/>
                    <a:gd name="T53" fmla="*/ 2147483646 h 224"/>
                    <a:gd name="T54" fmla="*/ 2147483646 w 762"/>
                    <a:gd name="T55" fmla="*/ 2147483646 h 224"/>
                    <a:gd name="T56" fmla="*/ 2147483646 w 762"/>
                    <a:gd name="T57" fmla="*/ 2147483646 h 224"/>
                    <a:gd name="T58" fmla="*/ 2147483646 w 762"/>
                    <a:gd name="T59" fmla="*/ 2147483646 h 224"/>
                    <a:gd name="T60" fmla="*/ 2147483646 w 762"/>
                    <a:gd name="T61" fmla="*/ 2147483646 h 224"/>
                    <a:gd name="T62" fmla="*/ 2147483646 w 762"/>
                    <a:gd name="T63" fmla="*/ 2147483646 h 224"/>
                    <a:gd name="T64" fmla="*/ 2147483646 w 762"/>
                    <a:gd name="T65" fmla="*/ 2147483646 h 224"/>
                    <a:gd name="T66" fmla="*/ 2147483646 w 762"/>
                    <a:gd name="T67" fmla="*/ 2147483646 h 224"/>
                    <a:gd name="T68" fmla="*/ 2147483646 w 762"/>
                    <a:gd name="T69" fmla="*/ 2147483646 h 224"/>
                    <a:gd name="T70" fmla="*/ 2147483646 w 762"/>
                    <a:gd name="T71" fmla="*/ 2147483646 h 224"/>
                    <a:gd name="T72" fmla="*/ 2147483646 w 762"/>
                    <a:gd name="T73" fmla="*/ 2147483646 h 224"/>
                    <a:gd name="T74" fmla="*/ 2147483646 w 762"/>
                    <a:gd name="T75" fmla="*/ 2147483646 h 224"/>
                    <a:gd name="T76" fmla="*/ 2147483646 w 762"/>
                    <a:gd name="T77" fmla="*/ 2147483646 h 224"/>
                    <a:gd name="T78" fmla="*/ 2147483646 w 762"/>
                    <a:gd name="T79" fmla="*/ 2147483646 h 224"/>
                    <a:gd name="T80" fmla="*/ 2147483646 w 762"/>
                    <a:gd name="T81" fmla="*/ 2147483646 h 224"/>
                    <a:gd name="T82" fmla="*/ 2147483646 w 762"/>
                    <a:gd name="T83" fmla="*/ 2147483646 h 224"/>
                    <a:gd name="T84" fmla="*/ 2147483646 w 762"/>
                    <a:gd name="T85" fmla="*/ 2147483646 h 224"/>
                    <a:gd name="T86" fmla="*/ 2147483646 w 762"/>
                    <a:gd name="T87" fmla="*/ 2147483646 h 224"/>
                    <a:gd name="T88" fmla="*/ 2147483646 w 762"/>
                    <a:gd name="T89" fmla="*/ 2147483646 h 224"/>
                    <a:gd name="T90" fmla="*/ 2147483646 w 762"/>
                    <a:gd name="T91" fmla="*/ 2147483646 h 224"/>
                    <a:gd name="T92" fmla="*/ 2147483646 w 762"/>
                    <a:gd name="T93" fmla="*/ 2147483646 h 224"/>
                    <a:gd name="T94" fmla="*/ 2147483646 w 762"/>
                    <a:gd name="T95" fmla="*/ 2147483646 h 224"/>
                    <a:gd name="T96" fmla="*/ 2147483646 w 762"/>
                    <a:gd name="T97" fmla="*/ 2147483646 h 224"/>
                    <a:gd name="T98" fmla="*/ 2147483646 w 762"/>
                    <a:gd name="T99" fmla="*/ 2147483646 h 224"/>
                    <a:gd name="T100" fmla="*/ 2147483646 w 762"/>
                    <a:gd name="T101" fmla="*/ 2147483646 h 224"/>
                    <a:gd name="T102" fmla="*/ 2147483646 w 762"/>
                    <a:gd name="T103" fmla="*/ 2147483646 h 224"/>
                    <a:gd name="T104" fmla="*/ 2147483646 w 762"/>
                    <a:gd name="T105" fmla="*/ 2147483646 h 224"/>
                    <a:gd name="T106" fmla="*/ 2147483646 w 762"/>
                    <a:gd name="T107" fmla="*/ 2147483646 h 224"/>
                    <a:gd name="T108" fmla="*/ 2147483646 w 762"/>
                    <a:gd name="T109" fmla="*/ 2147483646 h 224"/>
                    <a:gd name="T110" fmla="*/ 0 w 762"/>
                    <a:gd name="T111" fmla="*/ 2147483646 h 224"/>
                    <a:gd name="T112" fmla="*/ 0 w 762"/>
                    <a:gd name="T113" fmla="*/ 2147483646 h 224"/>
                    <a:gd name="T114" fmla="*/ 2147483646 w 762"/>
                    <a:gd name="T115" fmla="*/ 2147483646 h 224"/>
                    <a:gd name="T116" fmla="*/ 2147483646 w 762"/>
                    <a:gd name="T117" fmla="*/ 2147483646 h 224"/>
                    <a:gd name="T118" fmla="*/ 2147483646 w 762"/>
                    <a:gd name="T119" fmla="*/ 0 h 224"/>
                    <a:gd name="T120" fmla="*/ 2147483646 w 762"/>
                    <a:gd name="T121" fmla="*/ 2147483646 h 2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62"/>
                    <a:gd name="T184" fmla="*/ 0 h 224"/>
                    <a:gd name="T185" fmla="*/ 762 w 762"/>
                    <a:gd name="T186" fmla="*/ 224 h 2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62" h="224">
                      <a:moveTo>
                        <a:pt x="762" y="47"/>
                      </a:moveTo>
                      <a:lnTo>
                        <a:pt x="760" y="54"/>
                      </a:lnTo>
                      <a:lnTo>
                        <a:pt x="758" y="62"/>
                      </a:lnTo>
                      <a:lnTo>
                        <a:pt x="757" y="69"/>
                      </a:lnTo>
                      <a:lnTo>
                        <a:pt x="755" y="77"/>
                      </a:lnTo>
                      <a:lnTo>
                        <a:pt x="739" y="89"/>
                      </a:lnTo>
                      <a:lnTo>
                        <a:pt x="723" y="99"/>
                      </a:lnTo>
                      <a:lnTo>
                        <a:pt x="707" y="110"/>
                      </a:lnTo>
                      <a:lnTo>
                        <a:pt x="690" y="120"/>
                      </a:lnTo>
                      <a:lnTo>
                        <a:pt x="674" y="129"/>
                      </a:lnTo>
                      <a:lnTo>
                        <a:pt x="656" y="138"/>
                      </a:lnTo>
                      <a:lnTo>
                        <a:pt x="639" y="148"/>
                      </a:lnTo>
                      <a:lnTo>
                        <a:pt x="622" y="156"/>
                      </a:lnTo>
                      <a:lnTo>
                        <a:pt x="603" y="163"/>
                      </a:lnTo>
                      <a:lnTo>
                        <a:pt x="586" y="170"/>
                      </a:lnTo>
                      <a:lnTo>
                        <a:pt x="568" y="176"/>
                      </a:lnTo>
                      <a:lnTo>
                        <a:pt x="548" y="181"/>
                      </a:lnTo>
                      <a:lnTo>
                        <a:pt x="530" y="186"/>
                      </a:lnTo>
                      <a:lnTo>
                        <a:pt x="510" y="189"/>
                      </a:lnTo>
                      <a:lnTo>
                        <a:pt x="491" y="191"/>
                      </a:lnTo>
                      <a:lnTo>
                        <a:pt x="471" y="193"/>
                      </a:lnTo>
                      <a:lnTo>
                        <a:pt x="455" y="191"/>
                      </a:lnTo>
                      <a:lnTo>
                        <a:pt x="439" y="189"/>
                      </a:lnTo>
                      <a:lnTo>
                        <a:pt x="423" y="188"/>
                      </a:lnTo>
                      <a:lnTo>
                        <a:pt x="407" y="188"/>
                      </a:lnTo>
                      <a:lnTo>
                        <a:pt x="390" y="187"/>
                      </a:lnTo>
                      <a:lnTo>
                        <a:pt x="374" y="187"/>
                      </a:lnTo>
                      <a:lnTo>
                        <a:pt x="358" y="187"/>
                      </a:lnTo>
                      <a:lnTo>
                        <a:pt x="342" y="187"/>
                      </a:lnTo>
                      <a:lnTo>
                        <a:pt x="326" y="188"/>
                      </a:lnTo>
                      <a:lnTo>
                        <a:pt x="310" y="190"/>
                      </a:lnTo>
                      <a:lnTo>
                        <a:pt x="294" y="191"/>
                      </a:lnTo>
                      <a:lnTo>
                        <a:pt x="279" y="194"/>
                      </a:lnTo>
                      <a:lnTo>
                        <a:pt x="263" y="197"/>
                      </a:lnTo>
                      <a:lnTo>
                        <a:pt x="248" y="201"/>
                      </a:lnTo>
                      <a:lnTo>
                        <a:pt x="233" y="205"/>
                      </a:lnTo>
                      <a:lnTo>
                        <a:pt x="218" y="210"/>
                      </a:lnTo>
                      <a:lnTo>
                        <a:pt x="199" y="215"/>
                      </a:lnTo>
                      <a:lnTo>
                        <a:pt x="182" y="217"/>
                      </a:lnTo>
                      <a:lnTo>
                        <a:pt x="166" y="217"/>
                      </a:lnTo>
                      <a:lnTo>
                        <a:pt x="150" y="217"/>
                      </a:lnTo>
                      <a:lnTo>
                        <a:pt x="134" y="216"/>
                      </a:lnTo>
                      <a:lnTo>
                        <a:pt x="116" y="215"/>
                      </a:lnTo>
                      <a:lnTo>
                        <a:pt x="99" y="213"/>
                      </a:lnTo>
                      <a:lnTo>
                        <a:pt x="81" y="213"/>
                      </a:lnTo>
                      <a:lnTo>
                        <a:pt x="71" y="216"/>
                      </a:lnTo>
                      <a:lnTo>
                        <a:pt x="62" y="217"/>
                      </a:lnTo>
                      <a:lnTo>
                        <a:pt x="53" y="219"/>
                      </a:lnTo>
                      <a:lnTo>
                        <a:pt x="44" y="220"/>
                      </a:lnTo>
                      <a:lnTo>
                        <a:pt x="33" y="221"/>
                      </a:lnTo>
                      <a:lnTo>
                        <a:pt x="24" y="223"/>
                      </a:lnTo>
                      <a:lnTo>
                        <a:pt x="14" y="224"/>
                      </a:lnTo>
                      <a:lnTo>
                        <a:pt x="3" y="224"/>
                      </a:lnTo>
                      <a:lnTo>
                        <a:pt x="2" y="220"/>
                      </a:lnTo>
                      <a:lnTo>
                        <a:pt x="1" y="218"/>
                      </a:lnTo>
                      <a:lnTo>
                        <a:pt x="0" y="215"/>
                      </a:lnTo>
                      <a:lnTo>
                        <a:pt x="0" y="212"/>
                      </a:lnTo>
                      <a:lnTo>
                        <a:pt x="126" y="149"/>
                      </a:lnTo>
                      <a:lnTo>
                        <a:pt x="516" y="47"/>
                      </a:lnTo>
                      <a:lnTo>
                        <a:pt x="689" y="0"/>
                      </a:lnTo>
                      <a:lnTo>
                        <a:pt x="762" y="47"/>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25" name="Freeform 142">
                  <a:extLst>
                    <a:ext uri="{FF2B5EF4-FFF2-40B4-BE49-F238E27FC236}">
                      <a16:creationId xmlns:a16="http://schemas.microsoft.com/office/drawing/2014/main" id="{026C587F-0889-40C7-A41E-EF05B3BEF444}"/>
                    </a:ext>
                  </a:extLst>
                </p:cNvPr>
                <p:cNvSpPr>
                  <a:spLocks/>
                </p:cNvSpPr>
                <p:nvPr/>
              </p:nvSpPr>
              <p:spPr bwMode="auto">
                <a:xfrm>
                  <a:off x="4462821" y="3823970"/>
                  <a:ext cx="556677" cy="422445"/>
                </a:xfrm>
                <a:custGeom>
                  <a:avLst/>
                  <a:gdLst>
                    <a:gd name="T0" fmla="*/ 2147483646 w 827"/>
                    <a:gd name="T1" fmla="*/ 2147483646 h 410"/>
                    <a:gd name="T2" fmla="*/ 2147483646 w 827"/>
                    <a:gd name="T3" fmla="*/ 2147483646 h 410"/>
                    <a:gd name="T4" fmla="*/ 2147483646 w 827"/>
                    <a:gd name="T5" fmla="*/ 2147483646 h 410"/>
                    <a:gd name="T6" fmla="*/ 2147483646 w 827"/>
                    <a:gd name="T7" fmla="*/ 2147483646 h 410"/>
                    <a:gd name="T8" fmla="*/ 2147483646 w 827"/>
                    <a:gd name="T9" fmla="*/ 2147483646 h 410"/>
                    <a:gd name="T10" fmla="*/ 2147483646 w 827"/>
                    <a:gd name="T11" fmla="*/ 2147483646 h 410"/>
                    <a:gd name="T12" fmla="*/ 2147483646 w 827"/>
                    <a:gd name="T13" fmla="*/ 2147483646 h 410"/>
                    <a:gd name="T14" fmla="*/ 2147483646 w 827"/>
                    <a:gd name="T15" fmla="*/ 2147483646 h 410"/>
                    <a:gd name="T16" fmla="*/ 2147483646 w 827"/>
                    <a:gd name="T17" fmla="*/ 2147483646 h 410"/>
                    <a:gd name="T18" fmla="*/ 2147483646 w 827"/>
                    <a:gd name="T19" fmla="*/ 2147483646 h 410"/>
                    <a:gd name="T20" fmla="*/ 2147483646 w 827"/>
                    <a:gd name="T21" fmla="*/ 2147483646 h 410"/>
                    <a:gd name="T22" fmla="*/ 2147483646 w 827"/>
                    <a:gd name="T23" fmla="*/ 2147483646 h 410"/>
                    <a:gd name="T24" fmla="*/ 2147483646 w 827"/>
                    <a:gd name="T25" fmla="*/ 2147483646 h 410"/>
                    <a:gd name="T26" fmla="*/ 2147483646 w 827"/>
                    <a:gd name="T27" fmla="*/ 2147483646 h 410"/>
                    <a:gd name="T28" fmla="*/ 2147483646 w 827"/>
                    <a:gd name="T29" fmla="*/ 2147483646 h 410"/>
                    <a:gd name="T30" fmla="*/ 2147483646 w 827"/>
                    <a:gd name="T31" fmla="*/ 2147483646 h 410"/>
                    <a:gd name="T32" fmla="*/ 2147483646 w 827"/>
                    <a:gd name="T33" fmla="*/ 2147483646 h 410"/>
                    <a:gd name="T34" fmla="*/ 2147483646 w 827"/>
                    <a:gd name="T35" fmla="*/ 2147483646 h 410"/>
                    <a:gd name="T36" fmla="*/ 2147483646 w 827"/>
                    <a:gd name="T37" fmla="*/ 2147483646 h 410"/>
                    <a:gd name="T38" fmla="*/ 2147483646 w 827"/>
                    <a:gd name="T39" fmla="*/ 2147483646 h 410"/>
                    <a:gd name="T40" fmla="*/ 2147483646 w 827"/>
                    <a:gd name="T41" fmla="*/ 2147483646 h 410"/>
                    <a:gd name="T42" fmla="*/ 2147483646 w 827"/>
                    <a:gd name="T43" fmla="*/ 2147483646 h 410"/>
                    <a:gd name="T44" fmla="*/ 2147483646 w 827"/>
                    <a:gd name="T45" fmla="*/ 2147483646 h 410"/>
                    <a:gd name="T46" fmla="*/ 2147483646 w 827"/>
                    <a:gd name="T47" fmla="*/ 2147483646 h 410"/>
                    <a:gd name="T48" fmla="*/ 2147483646 w 827"/>
                    <a:gd name="T49" fmla="*/ 2147483646 h 410"/>
                    <a:gd name="T50" fmla="*/ 2147483646 w 827"/>
                    <a:gd name="T51" fmla="*/ 2147483646 h 410"/>
                    <a:gd name="T52" fmla="*/ 2147483646 w 827"/>
                    <a:gd name="T53" fmla="*/ 2147483646 h 410"/>
                    <a:gd name="T54" fmla="*/ 2147483646 w 827"/>
                    <a:gd name="T55" fmla="*/ 2147483646 h 410"/>
                    <a:gd name="T56" fmla="*/ 2147483646 w 827"/>
                    <a:gd name="T57" fmla="*/ 2147483646 h 410"/>
                    <a:gd name="T58" fmla="*/ 2147483646 w 827"/>
                    <a:gd name="T59" fmla="*/ 2147483646 h 410"/>
                    <a:gd name="T60" fmla="*/ 2147483646 w 827"/>
                    <a:gd name="T61" fmla="*/ 2147483646 h 410"/>
                    <a:gd name="T62" fmla="*/ 2147483646 w 827"/>
                    <a:gd name="T63" fmla="*/ 2147483646 h 410"/>
                    <a:gd name="T64" fmla="*/ 2147483646 w 827"/>
                    <a:gd name="T65" fmla="*/ 2147483646 h 410"/>
                    <a:gd name="T66" fmla="*/ 2147483646 w 827"/>
                    <a:gd name="T67" fmla="*/ 2147483646 h 410"/>
                    <a:gd name="T68" fmla="*/ 2147483646 w 827"/>
                    <a:gd name="T69" fmla="*/ 2147483646 h 410"/>
                    <a:gd name="T70" fmla="*/ 0 w 827"/>
                    <a:gd name="T71" fmla="*/ 2147483646 h 410"/>
                    <a:gd name="T72" fmla="*/ 2147483646 w 827"/>
                    <a:gd name="T73" fmla="*/ 2147483646 h 410"/>
                    <a:gd name="T74" fmla="*/ 2147483646 w 827"/>
                    <a:gd name="T75" fmla="*/ 2147483646 h 410"/>
                    <a:gd name="T76" fmla="*/ 2147483646 w 827"/>
                    <a:gd name="T77" fmla="*/ 2147483646 h 410"/>
                    <a:gd name="T78" fmla="*/ 2147483646 w 827"/>
                    <a:gd name="T79" fmla="*/ 2147483646 h 410"/>
                    <a:gd name="T80" fmla="*/ 2147483646 w 827"/>
                    <a:gd name="T81" fmla="*/ 2147483646 h 410"/>
                    <a:gd name="T82" fmla="*/ 2147483646 w 827"/>
                    <a:gd name="T83" fmla="*/ 2147483646 h 410"/>
                    <a:gd name="T84" fmla="*/ 2147483646 w 827"/>
                    <a:gd name="T85" fmla="*/ 2147483646 h 410"/>
                    <a:gd name="T86" fmla="*/ 2147483646 w 827"/>
                    <a:gd name="T87" fmla="*/ 2147483646 h 410"/>
                    <a:gd name="T88" fmla="*/ 2147483646 w 827"/>
                    <a:gd name="T89" fmla="*/ 2147483646 h 410"/>
                    <a:gd name="T90" fmla="*/ 2147483646 w 827"/>
                    <a:gd name="T91" fmla="*/ 2147483646 h 410"/>
                    <a:gd name="T92" fmla="*/ 2147483646 w 827"/>
                    <a:gd name="T93" fmla="*/ 2147483646 h 410"/>
                    <a:gd name="T94" fmla="*/ 2147483646 w 827"/>
                    <a:gd name="T95" fmla="*/ 2147483646 h 410"/>
                    <a:gd name="T96" fmla="*/ 2147483646 w 827"/>
                    <a:gd name="T97" fmla="*/ 2147483646 h 410"/>
                    <a:gd name="T98" fmla="*/ 2147483646 w 827"/>
                    <a:gd name="T99" fmla="*/ 2147483646 h 410"/>
                    <a:gd name="T100" fmla="*/ 2147483646 w 827"/>
                    <a:gd name="T101" fmla="*/ 2147483646 h 410"/>
                    <a:gd name="T102" fmla="*/ 2147483646 w 827"/>
                    <a:gd name="T103" fmla="*/ 2147483646 h 410"/>
                    <a:gd name="T104" fmla="*/ 2147483646 w 827"/>
                    <a:gd name="T105" fmla="*/ 2147483646 h 410"/>
                    <a:gd name="T106" fmla="*/ 2147483646 w 827"/>
                    <a:gd name="T107" fmla="*/ 2147483646 h 410"/>
                    <a:gd name="T108" fmla="*/ 2147483646 w 827"/>
                    <a:gd name="T109" fmla="*/ 2147483646 h 410"/>
                    <a:gd name="T110" fmla="*/ 2147483646 w 827"/>
                    <a:gd name="T111" fmla="*/ 2147483646 h 410"/>
                    <a:gd name="T112" fmla="*/ 2147483646 w 827"/>
                    <a:gd name="T113" fmla="*/ 2147483646 h 410"/>
                    <a:gd name="T114" fmla="*/ 2147483646 w 827"/>
                    <a:gd name="T115" fmla="*/ 2147483646 h 410"/>
                    <a:gd name="T116" fmla="*/ 2147483646 w 827"/>
                    <a:gd name="T117" fmla="*/ 2147483646 h 410"/>
                    <a:gd name="T118" fmla="*/ 2147483646 w 827"/>
                    <a:gd name="T119" fmla="*/ 2147483646 h 4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27"/>
                    <a:gd name="T181" fmla="*/ 0 h 410"/>
                    <a:gd name="T182" fmla="*/ 827 w 827"/>
                    <a:gd name="T183" fmla="*/ 410 h 4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27" h="410">
                      <a:moveTo>
                        <a:pt x="762" y="245"/>
                      </a:moveTo>
                      <a:lnTo>
                        <a:pt x="768" y="228"/>
                      </a:lnTo>
                      <a:lnTo>
                        <a:pt x="775" y="211"/>
                      </a:lnTo>
                      <a:lnTo>
                        <a:pt x="782" y="194"/>
                      </a:lnTo>
                      <a:lnTo>
                        <a:pt x="790" y="178"/>
                      </a:lnTo>
                      <a:lnTo>
                        <a:pt x="799" y="161"/>
                      </a:lnTo>
                      <a:lnTo>
                        <a:pt x="808" y="145"/>
                      </a:lnTo>
                      <a:lnTo>
                        <a:pt x="818" y="129"/>
                      </a:lnTo>
                      <a:lnTo>
                        <a:pt x="827" y="113"/>
                      </a:lnTo>
                      <a:lnTo>
                        <a:pt x="802" y="107"/>
                      </a:lnTo>
                      <a:lnTo>
                        <a:pt x="776" y="100"/>
                      </a:lnTo>
                      <a:lnTo>
                        <a:pt x="752" y="93"/>
                      </a:lnTo>
                      <a:lnTo>
                        <a:pt x="727" y="87"/>
                      </a:lnTo>
                      <a:lnTo>
                        <a:pt x="703" y="78"/>
                      </a:lnTo>
                      <a:lnTo>
                        <a:pt x="677" y="72"/>
                      </a:lnTo>
                      <a:lnTo>
                        <a:pt x="653" y="63"/>
                      </a:lnTo>
                      <a:lnTo>
                        <a:pt x="628" y="54"/>
                      </a:lnTo>
                      <a:lnTo>
                        <a:pt x="603" y="47"/>
                      </a:lnTo>
                      <a:lnTo>
                        <a:pt x="579" y="39"/>
                      </a:lnTo>
                      <a:lnTo>
                        <a:pt x="554" y="31"/>
                      </a:lnTo>
                      <a:lnTo>
                        <a:pt x="530" y="24"/>
                      </a:lnTo>
                      <a:lnTo>
                        <a:pt x="504" y="17"/>
                      </a:lnTo>
                      <a:lnTo>
                        <a:pt x="480" y="10"/>
                      </a:lnTo>
                      <a:lnTo>
                        <a:pt x="456" y="5"/>
                      </a:lnTo>
                      <a:lnTo>
                        <a:pt x="431" y="0"/>
                      </a:lnTo>
                      <a:lnTo>
                        <a:pt x="422" y="10"/>
                      </a:lnTo>
                      <a:lnTo>
                        <a:pt x="411" y="17"/>
                      </a:lnTo>
                      <a:lnTo>
                        <a:pt x="398" y="23"/>
                      </a:lnTo>
                      <a:lnTo>
                        <a:pt x="386" y="27"/>
                      </a:lnTo>
                      <a:lnTo>
                        <a:pt x="373" y="29"/>
                      </a:lnTo>
                      <a:lnTo>
                        <a:pt x="359" y="31"/>
                      </a:lnTo>
                      <a:lnTo>
                        <a:pt x="346" y="34"/>
                      </a:lnTo>
                      <a:lnTo>
                        <a:pt x="333" y="36"/>
                      </a:lnTo>
                      <a:lnTo>
                        <a:pt x="318" y="55"/>
                      </a:lnTo>
                      <a:lnTo>
                        <a:pt x="303" y="74"/>
                      </a:lnTo>
                      <a:lnTo>
                        <a:pt x="288" y="91"/>
                      </a:lnTo>
                      <a:lnTo>
                        <a:pt x="272" y="110"/>
                      </a:lnTo>
                      <a:lnTo>
                        <a:pt x="257" y="127"/>
                      </a:lnTo>
                      <a:lnTo>
                        <a:pt x="242" y="145"/>
                      </a:lnTo>
                      <a:lnTo>
                        <a:pt x="228" y="166"/>
                      </a:lnTo>
                      <a:lnTo>
                        <a:pt x="217" y="187"/>
                      </a:lnTo>
                      <a:lnTo>
                        <a:pt x="228" y="190"/>
                      </a:lnTo>
                      <a:lnTo>
                        <a:pt x="242" y="190"/>
                      </a:lnTo>
                      <a:lnTo>
                        <a:pt x="256" y="188"/>
                      </a:lnTo>
                      <a:lnTo>
                        <a:pt x="268" y="186"/>
                      </a:lnTo>
                      <a:lnTo>
                        <a:pt x="280" y="184"/>
                      </a:lnTo>
                      <a:lnTo>
                        <a:pt x="290" y="186"/>
                      </a:lnTo>
                      <a:lnTo>
                        <a:pt x="298" y="192"/>
                      </a:lnTo>
                      <a:lnTo>
                        <a:pt x="303" y="206"/>
                      </a:lnTo>
                      <a:lnTo>
                        <a:pt x="288" y="221"/>
                      </a:lnTo>
                      <a:lnTo>
                        <a:pt x="273" y="234"/>
                      </a:lnTo>
                      <a:lnTo>
                        <a:pt x="256" y="245"/>
                      </a:lnTo>
                      <a:lnTo>
                        <a:pt x="240" y="255"/>
                      </a:lnTo>
                      <a:lnTo>
                        <a:pt x="221" y="265"/>
                      </a:lnTo>
                      <a:lnTo>
                        <a:pt x="205" y="274"/>
                      </a:lnTo>
                      <a:lnTo>
                        <a:pt x="188" y="283"/>
                      </a:lnTo>
                      <a:lnTo>
                        <a:pt x="172" y="295"/>
                      </a:lnTo>
                      <a:lnTo>
                        <a:pt x="154" y="305"/>
                      </a:lnTo>
                      <a:lnTo>
                        <a:pt x="137" y="311"/>
                      </a:lnTo>
                      <a:lnTo>
                        <a:pt x="119" y="317"/>
                      </a:lnTo>
                      <a:lnTo>
                        <a:pt x="101" y="320"/>
                      </a:lnTo>
                      <a:lnTo>
                        <a:pt x="83" y="326"/>
                      </a:lnTo>
                      <a:lnTo>
                        <a:pt x="66" y="332"/>
                      </a:lnTo>
                      <a:lnTo>
                        <a:pt x="48" y="341"/>
                      </a:lnTo>
                      <a:lnTo>
                        <a:pt x="33" y="354"/>
                      </a:lnTo>
                      <a:lnTo>
                        <a:pt x="29" y="361"/>
                      </a:lnTo>
                      <a:lnTo>
                        <a:pt x="23" y="366"/>
                      </a:lnTo>
                      <a:lnTo>
                        <a:pt x="17" y="373"/>
                      </a:lnTo>
                      <a:lnTo>
                        <a:pt x="12" y="380"/>
                      </a:lnTo>
                      <a:lnTo>
                        <a:pt x="6" y="387"/>
                      </a:lnTo>
                      <a:lnTo>
                        <a:pt x="2" y="394"/>
                      </a:lnTo>
                      <a:lnTo>
                        <a:pt x="0" y="402"/>
                      </a:lnTo>
                      <a:lnTo>
                        <a:pt x="0" y="410"/>
                      </a:lnTo>
                      <a:lnTo>
                        <a:pt x="7" y="409"/>
                      </a:lnTo>
                      <a:lnTo>
                        <a:pt x="23" y="408"/>
                      </a:lnTo>
                      <a:lnTo>
                        <a:pt x="48" y="406"/>
                      </a:lnTo>
                      <a:lnTo>
                        <a:pt x="76" y="403"/>
                      </a:lnTo>
                      <a:lnTo>
                        <a:pt x="106" y="400"/>
                      </a:lnTo>
                      <a:lnTo>
                        <a:pt x="134" y="398"/>
                      </a:lnTo>
                      <a:lnTo>
                        <a:pt x="155" y="395"/>
                      </a:lnTo>
                      <a:lnTo>
                        <a:pt x="169" y="394"/>
                      </a:lnTo>
                      <a:lnTo>
                        <a:pt x="180" y="391"/>
                      </a:lnTo>
                      <a:lnTo>
                        <a:pt x="195" y="385"/>
                      </a:lnTo>
                      <a:lnTo>
                        <a:pt x="213" y="376"/>
                      </a:lnTo>
                      <a:lnTo>
                        <a:pt x="233" y="365"/>
                      </a:lnTo>
                      <a:lnTo>
                        <a:pt x="253" y="355"/>
                      </a:lnTo>
                      <a:lnTo>
                        <a:pt x="274" y="346"/>
                      </a:lnTo>
                      <a:lnTo>
                        <a:pt x="295" y="336"/>
                      </a:lnTo>
                      <a:lnTo>
                        <a:pt x="313" y="331"/>
                      </a:lnTo>
                      <a:lnTo>
                        <a:pt x="324" y="328"/>
                      </a:lnTo>
                      <a:lnTo>
                        <a:pt x="336" y="327"/>
                      </a:lnTo>
                      <a:lnTo>
                        <a:pt x="351" y="325"/>
                      </a:lnTo>
                      <a:lnTo>
                        <a:pt x="367" y="324"/>
                      </a:lnTo>
                      <a:lnTo>
                        <a:pt x="385" y="323"/>
                      </a:lnTo>
                      <a:lnTo>
                        <a:pt x="404" y="323"/>
                      </a:lnTo>
                      <a:lnTo>
                        <a:pt x="424" y="322"/>
                      </a:lnTo>
                      <a:lnTo>
                        <a:pt x="443" y="322"/>
                      </a:lnTo>
                      <a:lnTo>
                        <a:pt x="464" y="320"/>
                      </a:lnTo>
                      <a:lnTo>
                        <a:pt x="483" y="320"/>
                      </a:lnTo>
                      <a:lnTo>
                        <a:pt x="502" y="320"/>
                      </a:lnTo>
                      <a:lnTo>
                        <a:pt x="519" y="319"/>
                      </a:lnTo>
                      <a:lnTo>
                        <a:pt x="536" y="318"/>
                      </a:lnTo>
                      <a:lnTo>
                        <a:pt x="550" y="317"/>
                      </a:lnTo>
                      <a:lnTo>
                        <a:pt x="562" y="316"/>
                      </a:lnTo>
                      <a:lnTo>
                        <a:pt x="572" y="315"/>
                      </a:lnTo>
                      <a:lnTo>
                        <a:pt x="582" y="312"/>
                      </a:lnTo>
                      <a:lnTo>
                        <a:pt x="593" y="309"/>
                      </a:lnTo>
                      <a:lnTo>
                        <a:pt x="606" y="304"/>
                      </a:lnTo>
                      <a:lnTo>
                        <a:pt x="621" y="300"/>
                      </a:lnTo>
                      <a:lnTo>
                        <a:pt x="636" y="295"/>
                      </a:lnTo>
                      <a:lnTo>
                        <a:pt x="652" y="288"/>
                      </a:lnTo>
                      <a:lnTo>
                        <a:pt x="668" y="282"/>
                      </a:lnTo>
                      <a:lnTo>
                        <a:pt x="684" y="277"/>
                      </a:lnTo>
                      <a:lnTo>
                        <a:pt x="699" y="271"/>
                      </a:lnTo>
                      <a:lnTo>
                        <a:pt x="714" y="265"/>
                      </a:lnTo>
                      <a:lnTo>
                        <a:pt x="727" y="259"/>
                      </a:lnTo>
                      <a:lnTo>
                        <a:pt x="739" y="255"/>
                      </a:lnTo>
                      <a:lnTo>
                        <a:pt x="749" y="251"/>
                      </a:lnTo>
                      <a:lnTo>
                        <a:pt x="755" y="248"/>
                      </a:lnTo>
                      <a:lnTo>
                        <a:pt x="761" y="247"/>
                      </a:lnTo>
                      <a:lnTo>
                        <a:pt x="762" y="2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26" name="Freeform 143">
                  <a:extLst>
                    <a:ext uri="{FF2B5EF4-FFF2-40B4-BE49-F238E27FC236}">
                      <a16:creationId xmlns:a16="http://schemas.microsoft.com/office/drawing/2014/main" id="{3E02831D-12BF-49A5-B247-BC319E905411}"/>
                    </a:ext>
                  </a:extLst>
                </p:cNvPr>
                <p:cNvSpPr>
                  <a:spLocks/>
                </p:cNvSpPr>
                <p:nvPr/>
              </p:nvSpPr>
              <p:spPr bwMode="auto">
                <a:xfrm>
                  <a:off x="4488431" y="3859002"/>
                  <a:ext cx="160398" cy="294681"/>
                </a:xfrm>
                <a:custGeom>
                  <a:avLst/>
                  <a:gdLst>
                    <a:gd name="T0" fmla="*/ 2147483646 w 240"/>
                    <a:gd name="T1" fmla="*/ 2147483646 h 286"/>
                    <a:gd name="T2" fmla="*/ 2147483646 w 240"/>
                    <a:gd name="T3" fmla="*/ 2147483646 h 286"/>
                    <a:gd name="T4" fmla="*/ 2147483646 w 240"/>
                    <a:gd name="T5" fmla="*/ 2147483646 h 286"/>
                    <a:gd name="T6" fmla="*/ 2147483646 w 240"/>
                    <a:gd name="T7" fmla="*/ 2147483646 h 286"/>
                    <a:gd name="T8" fmla="*/ 2147483646 w 240"/>
                    <a:gd name="T9" fmla="*/ 2147483646 h 286"/>
                    <a:gd name="T10" fmla="*/ 2147483646 w 240"/>
                    <a:gd name="T11" fmla="*/ 2147483646 h 286"/>
                    <a:gd name="T12" fmla="*/ 2147483646 w 240"/>
                    <a:gd name="T13" fmla="*/ 2147483646 h 286"/>
                    <a:gd name="T14" fmla="*/ 2147483646 w 240"/>
                    <a:gd name="T15" fmla="*/ 2147483646 h 286"/>
                    <a:gd name="T16" fmla="*/ 2147483646 w 240"/>
                    <a:gd name="T17" fmla="*/ 2147483646 h 286"/>
                    <a:gd name="T18" fmla="*/ 2147483646 w 240"/>
                    <a:gd name="T19" fmla="*/ 2147483646 h 286"/>
                    <a:gd name="T20" fmla="*/ 2147483646 w 240"/>
                    <a:gd name="T21" fmla="*/ 2147483646 h 286"/>
                    <a:gd name="T22" fmla="*/ 2147483646 w 240"/>
                    <a:gd name="T23" fmla="*/ 2147483646 h 286"/>
                    <a:gd name="T24" fmla="*/ 2147483646 w 240"/>
                    <a:gd name="T25" fmla="*/ 2147483646 h 286"/>
                    <a:gd name="T26" fmla="*/ 2147483646 w 240"/>
                    <a:gd name="T27" fmla="*/ 2147483646 h 286"/>
                    <a:gd name="T28" fmla="*/ 2147483646 w 240"/>
                    <a:gd name="T29" fmla="*/ 2147483646 h 286"/>
                    <a:gd name="T30" fmla="*/ 2147483646 w 240"/>
                    <a:gd name="T31" fmla="*/ 2147483646 h 286"/>
                    <a:gd name="T32" fmla="*/ 2147483646 w 240"/>
                    <a:gd name="T33" fmla="*/ 2147483646 h 286"/>
                    <a:gd name="T34" fmla="*/ 2147483646 w 240"/>
                    <a:gd name="T35" fmla="*/ 2147483646 h 286"/>
                    <a:gd name="T36" fmla="*/ 2147483646 w 240"/>
                    <a:gd name="T37" fmla="*/ 2147483646 h 286"/>
                    <a:gd name="T38" fmla="*/ 2147483646 w 240"/>
                    <a:gd name="T39" fmla="*/ 2147483646 h 286"/>
                    <a:gd name="T40" fmla="*/ 2147483646 w 240"/>
                    <a:gd name="T41" fmla="*/ 2147483646 h 286"/>
                    <a:gd name="T42" fmla="*/ 2147483646 w 240"/>
                    <a:gd name="T43" fmla="*/ 2147483646 h 286"/>
                    <a:gd name="T44" fmla="*/ 2147483646 w 240"/>
                    <a:gd name="T45" fmla="*/ 2147483646 h 286"/>
                    <a:gd name="T46" fmla="*/ 2147483646 w 240"/>
                    <a:gd name="T47" fmla="*/ 2147483646 h 286"/>
                    <a:gd name="T48" fmla="*/ 0 w 240"/>
                    <a:gd name="T49" fmla="*/ 2147483646 h 286"/>
                    <a:gd name="T50" fmla="*/ 2147483646 w 240"/>
                    <a:gd name="T51" fmla="*/ 2147483646 h 286"/>
                    <a:gd name="T52" fmla="*/ 2147483646 w 240"/>
                    <a:gd name="T53" fmla="*/ 2147483646 h 286"/>
                    <a:gd name="T54" fmla="*/ 2147483646 w 240"/>
                    <a:gd name="T55" fmla="*/ 2147483646 h 286"/>
                    <a:gd name="T56" fmla="*/ 2147483646 w 240"/>
                    <a:gd name="T57" fmla="*/ 2147483646 h 286"/>
                    <a:gd name="T58" fmla="*/ 2147483646 w 240"/>
                    <a:gd name="T59" fmla="*/ 2147483646 h 286"/>
                    <a:gd name="T60" fmla="*/ 2147483646 w 240"/>
                    <a:gd name="T61" fmla="*/ 2147483646 h 286"/>
                    <a:gd name="T62" fmla="*/ 2147483646 w 240"/>
                    <a:gd name="T63" fmla="*/ 2147483646 h 286"/>
                    <a:gd name="T64" fmla="*/ 2147483646 w 240"/>
                    <a:gd name="T65" fmla="*/ 2147483646 h 286"/>
                    <a:gd name="T66" fmla="*/ 2147483646 w 240"/>
                    <a:gd name="T67" fmla="*/ 2147483646 h 286"/>
                    <a:gd name="T68" fmla="*/ 2147483646 w 240"/>
                    <a:gd name="T69" fmla="*/ 2147483646 h 286"/>
                    <a:gd name="T70" fmla="*/ 2147483646 w 240"/>
                    <a:gd name="T71" fmla="*/ 2147483646 h 286"/>
                    <a:gd name="T72" fmla="*/ 2147483646 w 240"/>
                    <a:gd name="T73" fmla="*/ 2147483646 h 286"/>
                    <a:gd name="T74" fmla="*/ 2147483646 w 240"/>
                    <a:gd name="T75" fmla="*/ 2147483646 h 286"/>
                    <a:gd name="T76" fmla="*/ 2147483646 w 240"/>
                    <a:gd name="T77" fmla="*/ 2147483646 h 286"/>
                    <a:gd name="T78" fmla="*/ 2147483646 w 240"/>
                    <a:gd name="T79" fmla="*/ 2147483646 h 286"/>
                    <a:gd name="T80" fmla="*/ 2147483646 w 240"/>
                    <a:gd name="T81" fmla="*/ 0 h 286"/>
                    <a:gd name="T82" fmla="*/ 2147483646 w 240"/>
                    <a:gd name="T83" fmla="*/ 2147483646 h 28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40"/>
                    <a:gd name="T127" fmla="*/ 0 h 286"/>
                    <a:gd name="T128" fmla="*/ 240 w 240"/>
                    <a:gd name="T129" fmla="*/ 286 h 28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40" h="286">
                      <a:moveTo>
                        <a:pt x="240" y="15"/>
                      </a:moveTo>
                      <a:lnTo>
                        <a:pt x="226" y="34"/>
                      </a:lnTo>
                      <a:lnTo>
                        <a:pt x="212" y="55"/>
                      </a:lnTo>
                      <a:lnTo>
                        <a:pt x="197" y="76"/>
                      </a:lnTo>
                      <a:lnTo>
                        <a:pt x="183" y="97"/>
                      </a:lnTo>
                      <a:lnTo>
                        <a:pt x="168" y="117"/>
                      </a:lnTo>
                      <a:lnTo>
                        <a:pt x="153" y="139"/>
                      </a:lnTo>
                      <a:lnTo>
                        <a:pt x="139" y="159"/>
                      </a:lnTo>
                      <a:lnTo>
                        <a:pt x="124" y="180"/>
                      </a:lnTo>
                      <a:lnTo>
                        <a:pt x="117" y="188"/>
                      </a:lnTo>
                      <a:lnTo>
                        <a:pt x="111" y="197"/>
                      </a:lnTo>
                      <a:lnTo>
                        <a:pt x="104" y="207"/>
                      </a:lnTo>
                      <a:lnTo>
                        <a:pt x="98" y="216"/>
                      </a:lnTo>
                      <a:lnTo>
                        <a:pt x="91" y="226"/>
                      </a:lnTo>
                      <a:lnTo>
                        <a:pt x="84" y="235"/>
                      </a:lnTo>
                      <a:lnTo>
                        <a:pt x="76" y="244"/>
                      </a:lnTo>
                      <a:lnTo>
                        <a:pt x="68" y="252"/>
                      </a:lnTo>
                      <a:lnTo>
                        <a:pt x="60" y="258"/>
                      </a:lnTo>
                      <a:lnTo>
                        <a:pt x="51" y="261"/>
                      </a:lnTo>
                      <a:lnTo>
                        <a:pt x="43" y="265"/>
                      </a:lnTo>
                      <a:lnTo>
                        <a:pt x="33" y="267"/>
                      </a:lnTo>
                      <a:lnTo>
                        <a:pt x="24" y="271"/>
                      </a:lnTo>
                      <a:lnTo>
                        <a:pt x="15" y="274"/>
                      </a:lnTo>
                      <a:lnTo>
                        <a:pt x="7" y="279"/>
                      </a:lnTo>
                      <a:lnTo>
                        <a:pt x="0" y="286"/>
                      </a:lnTo>
                      <a:lnTo>
                        <a:pt x="12" y="267"/>
                      </a:lnTo>
                      <a:lnTo>
                        <a:pt x="23" y="249"/>
                      </a:lnTo>
                      <a:lnTo>
                        <a:pt x="35" y="230"/>
                      </a:lnTo>
                      <a:lnTo>
                        <a:pt x="47" y="212"/>
                      </a:lnTo>
                      <a:lnTo>
                        <a:pt x="60" y="195"/>
                      </a:lnTo>
                      <a:lnTo>
                        <a:pt x="73" y="176"/>
                      </a:lnTo>
                      <a:lnTo>
                        <a:pt x="85" y="159"/>
                      </a:lnTo>
                      <a:lnTo>
                        <a:pt x="98" y="140"/>
                      </a:lnTo>
                      <a:lnTo>
                        <a:pt x="111" y="123"/>
                      </a:lnTo>
                      <a:lnTo>
                        <a:pt x="123" y="105"/>
                      </a:lnTo>
                      <a:lnTo>
                        <a:pt x="136" y="87"/>
                      </a:lnTo>
                      <a:lnTo>
                        <a:pt x="150" y="70"/>
                      </a:lnTo>
                      <a:lnTo>
                        <a:pt x="162" y="53"/>
                      </a:lnTo>
                      <a:lnTo>
                        <a:pt x="175" y="34"/>
                      </a:lnTo>
                      <a:lnTo>
                        <a:pt x="188" y="17"/>
                      </a:lnTo>
                      <a:lnTo>
                        <a:pt x="200" y="0"/>
                      </a:lnTo>
                      <a:lnTo>
                        <a:pt x="240" y="15"/>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27" name="Freeform 144">
                  <a:extLst>
                    <a:ext uri="{FF2B5EF4-FFF2-40B4-BE49-F238E27FC236}">
                      <a16:creationId xmlns:a16="http://schemas.microsoft.com/office/drawing/2014/main" id="{E51F7BFB-8D60-4B21-BCF2-029DAC214466}"/>
                    </a:ext>
                  </a:extLst>
                </p:cNvPr>
                <p:cNvSpPr>
                  <a:spLocks/>
                </p:cNvSpPr>
                <p:nvPr/>
              </p:nvSpPr>
              <p:spPr bwMode="auto">
                <a:xfrm>
                  <a:off x="4991193" y="4058891"/>
                  <a:ext cx="32349" cy="72124"/>
                </a:xfrm>
                <a:custGeom>
                  <a:avLst/>
                  <a:gdLst>
                    <a:gd name="T0" fmla="*/ 2147483646 w 49"/>
                    <a:gd name="T1" fmla="*/ 2147483646 h 71"/>
                    <a:gd name="T2" fmla="*/ 2147483646 w 49"/>
                    <a:gd name="T3" fmla="*/ 2147483646 h 71"/>
                    <a:gd name="T4" fmla="*/ 2147483646 w 49"/>
                    <a:gd name="T5" fmla="*/ 2147483646 h 71"/>
                    <a:gd name="T6" fmla="*/ 2147483646 w 49"/>
                    <a:gd name="T7" fmla="*/ 2147483646 h 71"/>
                    <a:gd name="T8" fmla="*/ 2147483646 w 49"/>
                    <a:gd name="T9" fmla="*/ 2147483646 h 71"/>
                    <a:gd name="T10" fmla="*/ 2147483646 w 49"/>
                    <a:gd name="T11" fmla="*/ 2147483646 h 71"/>
                    <a:gd name="T12" fmla="*/ 2147483646 w 49"/>
                    <a:gd name="T13" fmla="*/ 2147483646 h 71"/>
                    <a:gd name="T14" fmla="*/ 2147483646 w 49"/>
                    <a:gd name="T15" fmla="*/ 2147483646 h 71"/>
                    <a:gd name="T16" fmla="*/ 0 w 49"/>
                    <a:gd name="T17" fmla="*/ 2147483646 h 71"/>
                    <a:gd name="T18" fmla="*/ 2147483646 w 49"/>
                    <a:gd name="T19" fmla="*/ 2147483646 h 71"/>
                    <a:gd name="T20" fmla="*/ 2147483646 w 49"/>
                    <a:gd name="T21" fmla="*/ 2147483646 h 71"/>
                    <a:gd name="T22" fmla="*/ 2147483646 w 49"/>
                    <a:gd name="T23" fmla="*/ 2147483646 h 71"/>
                    <a:gd name="T24" fmla="*/ 2147483646 w 49"/>
                    <a:gd name="T25" fmla="*/ 2147483646 h 71"/>
                    <a:gd name="T26" fmla="*/ 2147483646 w 49"/>
                    <a:gd name="T27" fmla="*/ 2147483646 h 71"/>
                    <a:gd name="T28" fmla="*/ 2147483646 w 49"/>
                    <a:gd name="T29" fmla="*/ 2147483646 h 71"/>
                    <a:gd name="T30" fmla="*/ 2147483646 w 49"/>
                    <a:gd name="T31" fmla="*/ 2147483646 h 71"/>
                    <a:gd name="T32" fmla="*/ 2147483646 w 49"/>
                    <a:gd name="T33" fmla="*/ 0 h 71"/>
                    <a:gd name="T34" fmla="*/ 2147483646 w 49"/>
                    <a:gd name="T35" fmla="*/ 2147483646 h 7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9"/>
                    <a:gd name="T55" fmla="*/ 0 h 71"/>
                    <a:gd name="T56" fmla="*/ 49 w 49"/>
                    <a:gd name="T57" fmla="*/ 71 h 7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9" h="71">
                      <a:moveTo>
                        <a:pt x="49" y="6"/>
                      </a:moveTo>
                      <a:lnTo>
                        <a:pt x="41" y="22"/>
                      </a:lnTo>
                      <a:lnTo>
                        <a:pt x="34" y="38"/>
                      </a:lnTo>
                      <a:lnTo>
                        <a:pt x="26" y="54"/>
                      </a:lnTo>
                      <a:lnTo>
                        <a:pt x="18" y="71"/>
                      </a:lnTo>
                      <a:lnTo>
                        <a:pt x="13" y="69"/>
                      </a:lnTo>
                      <a:lnTo>
                        <a:pt x="8" y="67"/>
                      </a:lnTo>
                      <a:lnTo>
                        <a:pt x="4" y="65"/>
                      </a:lnTo>
                      <a:lnTo>
                        <a:pt x="0" y="60"/>
                      </a:lnTo>
                      <a:lnTo>
                        <a:pt x="1" y="54"/>
                      </a:lnTo>
                      <a:lnTo>
                        <a:pt x="5" y="49"/>
                      </a:lnTo>
                      <a:lnTo>
                        <a:pt x="8" y="44"/>
                      </a:lnTo>
                      <a:lnTo>
                        <a:pt x="11" y="37"/>
                      </a:lnTo>
                      <a:lnTo>
                        <a:pt x="14" y="28"/>
                      </a:lnTo>
                      <a:lnTo>
                        <a:pt x="18" y="19"/>
                      </a:lnTo>
                      <a:lnTo>
                        <a:pt x="21" y="10"/>
                      </a:lnTo>
                      <a:lnTo>
                        <a:pt x="24" y="0"/>
                      </a:lnTo>
                      <a:lnTo>
                        <a:pt x="49" y="6"/>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28" name="Freeform 145">
                  <a:extLst>
                    <a:ext uri="{FF2B5EF4-FFF2-40B4-BE49-F238E27FC236}">
                      <a16:creationId xmlns:a16="http://schemas.microsoft.com/office/drawing/2014/main" id="{4E05F62E-3669-44CC-A0C6-2912CBB3C8D7}"/>
                    </a:ext>
                  </a:extLst>
                </p:cNvPr>
                <p:cNvSpPr>
                  <a:spLocks/>
                </p:cNvSpPr>
                <p:nvPr/>
              </p:nvSpPr>
              <p:spPr bwMode="auto">
                <a:xfrm>
                  <a:off x="5007367" y="3865185"/>
                  <a:ext cx="101091" cy="199888"/>
                </a:xfrm>
                <a:custGeom>
                  <a:avLst/>
                  <a:gdLst>
                    <a:gd name="T0" fmla="*/ 2147483646 w 150"/>
                    <a:gd name="T1" fmla="*/ 2147483646 h 195"/>
                    <a:gd name="T2" fmla="*/ 2147483646 w 150"/>
                    <a:gd name="T3" fmla="*/ 2147483646 h 195"/>
                    <a:gd name="T4" fmla="*/ 2147483646 w 150"/>
                    <a:gd name="T5" fmla="*/ 2147483646 h 195"/>
                    <a:gd name="T6" fmla="*/ 2147483646 w 150"/>
                    <a:gd name="T7" fmla="*/ 2147483646 h 195"/>
                    <a:gd name="T8" fmla="*/ 2147483646 w 150"/>
                    <a:gd name="T9" fmla="*/ 2147483646 h 195"/>
                    <a:gd name="T10" fmla="*/ 2147483646 w 150"/>
                    <a:gd name="T11" fmla="*/ 2147483646 h 195"/>
                    <a:gd name="T12" fmla="*/ 2147483646 w 150"/>
                    <a:gd name="T13" fmla="*/ 2147483646 h 195"/>
                    <a:gd name="T14" fmla="*/ 2147483646 w 150"/>
                    <a:gd name="T15" fmla="*/ 2147483646 h 195"/>
                    <a:gd name="T16" fmla="*/ 2147483646 w 150"/>
                    <a:gd name="T17" fmla="*/ 2147483646 h 195"/>
                    <a:gd name="T18" fmla="*/ 2147483646 w 150"/>
                    <a:gd name="T19" fmla="*/ 2147483646 h 195"/>
                    <a:gd name="T20" fmla="*/ 2147483646 w 150"/>
                    <a:gd name="T21" fmla="*/ 2147483646 h 195"/>
                    <a:gd name="T22" fmla="*/ 2147483646 w 150"/>
                    <a:gd name="T23" fmla="*/ 2147483646 h 195"/>
                    <a:gd name="T24" fmla="*/ 2147483646 w 150"/>
                    <a:gd name="T25" fmla="*/ 2147483646 h 195"/>
                    <a:gd name="T26" fmla="*/ 2147483646 w 150"/>
                    <a:gd name="T27" fmla="*/ 2147483646 h 195"/>
                    <a:gd name="T28" fmla="*/ 2147483646 w 150"/>
                    <a:gd name="T29" fmla="*/ 2147483646 h 195"/>
                    <a:gd name="T30" fmla="*/ 2147483646 w 150"/>
                    <a:gd name="T31" fmla="*/ 2147483646 h 195"/>
                    <a:gd name="T32" fmla="*/ 2147483646 w 150"/>
                    <a:gd name="T33" fmla="*/ 2147483646 h 195"/>
                    <a:gd name="T34" fmla="*/ 2147483646 w 150"/>
                    <a:gd name="T35" fmla="*/ 0 h 195"/>
                    <a:gd name="T36" fmla="*/ 2147483646 w 150"/>
                    <a:gd name="T37" fmla="*/ 2147483646 h 195"/>
                    <a:gd name="T38" fmla="*/ 2147483646 w 150"/>
                    <a:gd name="T39" fmla="*/ 2147483646 h 195"/>
                    <a:gd name="T40" fmla="*/ 2147483646 w 150"/>
                    <a:gd name="T41" fmla="*/ 2147483646 h 195"/>
                    <a:gd name="T42" fmla="*/ 2147483646 w 150"/>
                    <a:gd name="T43" fmla="*/ 2147483646 h 195"/>
                    <a:gd name="T44" fmla="*/ 2147483646 w 150"/>
                    <a:gd name="T45" fmla="*/ 2147483646 h 195"/>
                    <a:gd name="T46" fmla="*/ 2147483646 w 150"/>
                    <a:gd name="T47" fmla="*/ 2147483646 h 195"/>
                    <a:gd name="T48" fmla="*/ 2147483646 w 150"/>
                    <a:gd name="T49" fmla="*/ 2147483646 h 195"/>
                    <a:gd name="T50" fmla="*/ 0 w 150"/>
                    <a:gd name="T51" fmla="*/ 2147483646 h 195"/>
                    <a:gd name="T52" fmla="*/ 2147483646 w 150"/>
                    <a:gd name="T53" fmla="*/ 2147483646 h 19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0"/>
                    <a:gd name="T82" fmla="*/ 0 h 195"/>
                    <a:gd name="T83" fmla="*/ 150 w 150"/>
                    <a:gd name="T84" fmla="*/ 195 h 19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0" h="195">
                      <a:moveTo>
                        <a:pt x="25" y="195"/>
                      </a:moveTo>
                      <a:lnTo>
                        <a:pt x="30" y="184"/>
                      </a:lnTo>
                      <a:lnTo>
                        <a:pt x="37" y="171"/>
                      </a:lnTo>
                      <a:lnTo>
                        <a:pt x="43" y="159"/>
                      </a:lnTo>
                      <a:lnTo>
                        <a:pt x="50" y="147"/>
                      </a:lnTo>
                      <a:lnTo>
                        <a:pt x="57" y="135"/>
                      </a:lnTo>
                      <a:lnTo>
                        <a:pt x="65" y="124"/>
                      </a:lnTo>
                      <a:lnTo>
                        <a:pt x="73" y="112"/>
                      </a:lnTo>
                      <a:lnTo>
                        <a:pt x="81" y="101"/>
                      </a:lnTo>
                      <a:lnTo>
                        <a:pt x="88" y="88"/>
                      </a:lnTo>
                      <a:lnTo>
                        <a:pt x="96" y="75"/>
                      </a:lnTo>
                      <a:lnTo>
                        <a:pt x="105" y="65"/>
                      </a:lnTo>
                      <a:lnTo>
                        <a:pt x="116" y="55"/>
                      </a:lnTo>
                      <a:lnTo>
                        <a:pt x="126" y="44"/>
                      </a:lnTo>
                      <a:lnTo>
                        <a:pt x="135" y="33"/>
                      </a:lnTo>
                      <a:lnTo>
                        <a:pt x="143" y="22"/>
                      </a:lnTo>
                      <a:lnTo>
                        <a:pt x="150" y="10"/>
                      </a:lnTo>
                      <a:lnTo>
                        <a:pt x="116" y="0"/>
                      </a:lnTo>
                      <a:lnTo>
                        <a:pt x="97" y="22"/>
                      </a:lnTo>
                      <a:lnTo>
                        <a:pt x="80" y="44"/>
                      </a:lnTo>
                      <a:lnTo>
                        <a:pt x="64" y="67"/>
                      </a:lnTo>
                      <a:lnTo>
                        <a:pt x="50" y="91"/>
                      </a:lnTo>
                      <a:lnTo>
                        <a:pt x="36" y="114"/>
                      </a:lnTo>
                      <a:lnTo>
                        <a:pt x="23" y="140"/>
                      </a:lnTo>
                      <a:lnTo>
                        <a:pt x="11" y="164"/>
                      </a:lnTo>
                      <a:lnTo>
                        <a:pt x="0" y="189"/>
                      </a:lnTo>
                      <a:lnTo>
                        <a:pt x="25"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29" name="Freeform 146">
                  <a:extLst>
                    <a:ext uri="{FF2B5EF4-FFF2-40B4-BE49-F238E27FC236}">
                      <a16:creationId xmlns:a16="http://schemas.microsoft.com/office/drawing/2014/main" id="{02A1BE38-8736-467D-8A89-F74ACE0D32EF}"/>
                    </a:ext>
                  </a:extLst>
                </p:cNvPr>
                <p:cNvSpPr>
                  <a:spLocks/>
                </p:cNvSpPr>
                <p:nvPr/>
              </p:nvSpPr>
              <p:spPr bwMode="auto">
                <a:xfrm>
                  <a:off x="4381948" y="3898156"/>
                  <a:ext cx="199487" cy="319410"/>
                </a:xfrm>
                <a:custGeom>
                  <a:avLst/>
                  <a:gdLst>
                    <a:gd name="T0" fmla="*/ 2147483646 w 296"/>
                    <a:gd name="T1" fmla="*/ 2147483646 h 310"/>
                    <a:gd name="T2" fmla="*/ 2147483646 w 296"/>
                    <a:gd name="T3" fmla="*/ 2147483646 h 310"/>
                    <a:gd name="T4" fmla="*/ 2147483646 w 296"/>
                    <a:gd name="T5" fmla="*/ 2147483646 h 310"/>
                    <a:gd name="T6" fmla="*/ 2147483646 w 296"/>
                    <a:gd name="T7" fmla="*/ 2147483646 h 310"/>
                    <a:gd name="T8" fmla="*/ 2147483646 w 296"/>
                    <a:gd name="T9" fmla="*/ 2147483646 h 310"/>
                    <a:gd name="T10" fmla="*/ 2147483646 w 296"/>
                    <a:gd name="T11" fmla="*/ 2147483646 h 310"/>
                    <a:gd name="T12" fmla="*/ 2147483646 w 296"/>
                    <a:gd name="T13" fmla="*/ 2147483646 h 310"/>
                    <a:gd name="T14" fmla="*/ 2147483646 w 296"/>
                    <a:gd name="T15" fmla="*/ 2147483646 h 310"/>
                    <a:gd name="T16" fmla="*/ 2147483646 w 296"/>
                    <a:gd name="T17" fmla="*/ 2147483646 h 310"/>
                    <a:gd name="T18" fmla="*/ 0 w 296"/>
                    <a:gd name="T19" fmla="*/ 2147483646 h 310"/>
                    <a:gd name="T20" fmla="*/ 2147483646 w 296"/>
                    <a:gd name="T21" fmla="*/ 2147483646 h 310"/>
                    <a:gd name="T22" fmla="*/ 2147483646 w 296"/>
                    <a:gd name="T23" fmla="*/ 2147483646 h 310"/>
                    <a:gd name="T24" fmla="*/ 2147483646 w 296"/>
                    <a:gd name="T25" fmla="*/ 2147483646 h 310"/>
                    <a:gd name="T26" fmla="*/ 2147483646 w 296"/>
                    <a:gd name="T27" fmla="*/ 2147483646 h 310"/>
                    <a:gd name="T28" fmla="*/ 2147483646 w 296"/>
                    <a:gd name="T29" fmla="*/ 2147483646 h 310"/>
                    <a:gd name="T30" fmla="*/ 2147483646 w 296"/>
                    <a:gd name="T31" fmla="*/ 2147483646 h 310"/>
                    <a:gd name="T32" fmla="*/ 2147483646 w 296"/>
                    <a:gd name="T33" fmla="*/ 2147483646 h 310"/>
                    <a:gd name="T34" fmla="*/ 2147483646 w 296"/>
                    <a:gd name="T35" fmla="*/ 2147483646 h 310"/>
                    <a:gd name="T36" fmla="*/ 2147483646 w 296"/>
                    <a:gd name="T37" fmla="*/ 2147483646 h 310"/>
                    <a:gd name="T38" fmla="*/ 2147483646 w 296"/>
                    <a:gd name="T39" fmla="*/ 2147483646 h 310"/>
                    <a:gd name="T40" fmla="*/ 2147483646 w 296"/>
                    <a:gd name="T41" fmla="*/ 2147483646 h 310"/>
                    <a:gd name="T42" fmla="*/ 2147483646 w 296"/>
                    <a:gd name="T43" fmla="*/ 2147483646 h 310"/>
                    <a:gd name="T44" fmla="*/ 2147483646 w 296"/>
                    <a:gd name="T45" fmla="*/ 2147483646 h 310"/>
                    <a:gd name="T46" fmla="*/ 2147483646 w 296"/>
                    <a:gd name="T47" fmla="*/ 2147483646 h 310"/>
                    <a:gd name="T48" fmla="*/ 2147483646 w 296"/>
                    <a:gd name="T49" fmla="*/ 2147483646 h 310"/>
                    <a:gd name="T50" fmla="*/ 2147483646 w 296"/>
                    <a:gd name="T51" fmla="*/ 2147483646 h 310"/>
                    <a:gd name="T52" fmla="*/ 2147483646 w 296"/>
                    <a:gd name="T53" fmla="*/ 2147483646 h 310"/>
                    <a:gd name="T54" fmla="*/ 2147483646 w 296"/>
                    <a:gd name="T55" fmla="*/ 2147483646 h 310"/>
                    <a:gd name="T56" fmla="*/ 2147483646 w 296"/>
                    <a:gd name="T57" fmla="*/ 2147483646 h 310"/>
                    <a:gd name="T58" fmla="*/ 2147483646 w 296"/>
                    <a:gd name="T59" fmla="*/ 2147483646 h 310"/>
                    <a:gd name="T60" fmla="*/ 2147483646 w 296"/>
                    <a:gd name="T61" fmla="*/ 2147483646 h 310"/>
                    <a:gd name="T62" fmla="*/ 2147483646 w 296"/>
                    <a:gd name="T63" fmla="*/ 2147483646 h 310"/>
                    <a:gd name="T64" fmla="*/ 2147483646 w 296"/>
                    <a:gd name="T65" fmla="*/ 0 h 310"/>
                    <a:gd name="T66" fmla="*/ 2147483646 w 296"/>
                    <a:gd name="T67" fmla="*/ 2147483646 h 31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96"/>
                    <a:gd name="T103" fmla="*/ 0 h 310"/>
                    <a:gd name="T104" fmla="*/ 296 w 296"/>
                    <a:gd name="T105" fmla="*/ 310 h 31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96" h="310">
                      <a:moveTo>
                        <a:pt x="119" y="268"/>
                      </a:moveTo>
                      <a:lnTo>
                        <a:pt x="109" y="278"/>
                      </a:lnTo>
                      <a:lnTo>
                        <a:pt x="97" y="288"/>
                      </a:lnTo>
                      <a:lnTo>
                        <a:pt x="84" y="295"/>
                      </a:lnTo>
                      <a:lnTo>
                        <a:pt x="71" y="300"/>
                      </a:lnTo>
                      <a:lnTo>
                        <a:pt x="56" y="305"/>
                      </a:lnTo>
                      <a:lnTo>
                        <a:pt x="42" y="308"/>
                      </a:lnTo>
                      <a:lnTo>
                        <a:pt x="26" y="310"/>
                      </a:lnTo>
                      <a:lnTo>
                        <a:pt x="11" y="310"/>
                      </a:lnTo>
                      <a:lnTo>
                        <a:pt x="0" y="293"/>
                      </a:lnTo>
                      <a:lnTo>
                        <a:pt x="2" y="278"/>
                      </a:lnTo>
                      <a:lnTo>
                        <a:pt x="10" y="263"/>
                      </a:lnTo>
                      <a:lnTo>
                        <a:pt x="23" y="249"/>
                      </a:lnTo>
                      <a:lnTo>
                        <a:pt x="41" y="234"/>
                      </a:lnTo>
                      <a:lnTo>
                        <a:pt x="59" y="219"/>
                      </a:lnTo>
                      <a:lnTo>
                        <a:pt x="76" y="204"/>
                      </a:lnTo>
                      <a:lnTo>
                        <a:pt x="90" y="189"/>
                      </a:lnTo>
                      <a:lnTo>
                        <a:pt x="109" y="169"/>
                      </a:lnTo>
                      <a:lnTo>
                        <a:pt x="125" y="149"/>
                      </a:lnTo>
                      <a:lnTo>
                        <a:pt x="142" y="130"/>
                      </a:lnTo>
                      <a:lnTo>
                        <a:pt x="158" y="109"/>
                      </a:lnTo>
                      <a:lnTo>
                        <a:pt x="175" y="90"/>
                      </a:lnTo>
                      <a:lnTo>
                        <a:pt x="193" y="70"/>
                      </a:lnTo>
                      <a:lnTo>
                        <a:pt x="211" y="52"/>
                      </a:lnTo>
                      <a:lnTo>
                        <a:pt x="231" y="34"/>
                      </a:lnTo>
                      <a:lnTo>
                        <a:pt x="239" y="30"/>
                      </a:lnTo>
                      <a:lnTo>
                        <a:pt x="247" y="25"/>
                      </a:lnTo>
                      <a:lnTo>
                        <a:pt x="255" y="22"/>
                      </a:lnTo>
                      <a:lnTo>
                        <a:pt x="263" y="17"/>
                      </a:lnTo>
                      <a:lnTo>
                        <a:pt x="271" y="12"/>
                      </a:lnTo>
                      <a:lnTo>
                        <a:pt x="280" y="9"/>
                      </a:lnTo>
                      <a:lnTo>
                        <a:pt x="288" y="4"/>
                      </a:lnTo>
                      <a:lnTo>
                        <a:pt x="296" y="0"/>
                      </a:lnTo>
                      <a:lnTo>
                        <a:pt x="119" y="2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30" name="Freeform 147">
                  <a:extLst>
                    <a:ext uri="{FF2B5EF4-FFF2-40B4-BE49-F238E27FC236}">
                      <a16:creationId xmlns:a16="http://schemas.microsoft.com/office/drawing/2014/main" id="{7D146F44-BD26-4ECE-829D-3377303A840C}"/>
                    </a:ext>
                  </a:extLst>
                </p:cNvPr>
                <p:cNvSpPr>
                  <a:spLocks/>
                </p:cNvSpPr>
                <p:nvPr/>
              </p:nvSpPr>
              <p:spPr bwMode="auto">
                <a:xfrm>
                  <a:off x="4421037" y="4250537"/>
                  <a:ext cx="37741" cy="70064"/>
                </a:xfrm>
                <a:custGeom>
                  <a:avLst/>
                  <a:gdLst>
                    <a:gd name="T0" fmla="*/ 2147483646 w 55"/>
                    <a:gd name="T1" fmla="*/ 2147483646 h 67"/>
                    <a:gd name="T2" fmla="*/ 2147483646 w 55"/>
                    <a:gd name="T3" fmla="*/ 2147483646 h 67"/>
                    <a:gd name="T4" fmla="*/ 2147483646 w 55"/>
                    <a:gd name="T5" fmla="*/ 2147483646 h 67"/>
                    <a:gd name="T6" fmla="*/ 2147483646 w 55"/>
                    <a:gd name="T7" fmla="*/ 2147483646 h 67"/>
                    <a:gd name="T8" fmla="*/ 2147483646 w 55"/>
                    <a:gd name="T9" fmla="*/ 2147483646 h 67"/>
                    <a:gd name="T10" fmla="*/ 2147483646 w 55"/>
                    <a:gd name="T11" fmla="*/ 2147483646 h 67"/>
                    <a:gd name="T12" fmla="*/ 2147483646 w 55"/>
                    <a:gd name="T13" fmla="*/ 2147483646 h 67"/>
                    <a:gd name="T14" fmla="*/ 2147483646 w 55"/>
                    <a:gd name="T15" fmla="*/ 2147483646 h 67"/>
                    <a:gd name="T16" fmla="*/ 2147483646 w 55"/>
                    <a:gd name="T17" fmla="*/ 2147483646 h 67"/>
                    <a:gd name="T18" fmla="*/ 0 w 55"/>
                    <a:gd name="T19" fmla="*/ 2147483646 h 67"/>
                    <a:gd name="T20" fmla="*/ 2147483646 w 55"/>
                    <a:gd name="T21" fmla="*/ 2147483646 h 67"/>
                    <a:gd name="T22" fmla="*/ 2147483646 w 55"/>
                    <a:gd name="T23" fmla="*/ 2147483646 h 67"/>
                    <a:gd name="T24" fmla="*/ 2147483646 w 55"/>
                    <a:gd name="T25" fmla="*/ 2147483646 h 67"/>
                    <a:gd name="T26" fmla="*/ 2147483646 w 55"/>
                    <a:gd name="T27" fmla="*/ 2147483646 h 67"/>
                    <a:gd name="T28" fmla="*/ 2147483646 w 55"/>
                    <a:gd name="T29" fmla="*/ 0 h 67"/>
                    <a:gd name="T30" fmla="*/ 2147483646 w 55"/>
                    <a:gd name="T31" fmla="*/ 2147483646 h 67"/>
                    <a:gd name="T32" fmla="*/ 2147483646 w 55"/>
                    <a:gd name="T33" fmla="*/ 2147483646 h 67"/>
                    <a:gd name="T34" fmla="*/ 2147483646 w 55"/>
                    <a:gd name="T35" fmla="*/ 2147483646 h 67"/>
                    <a:gd name="T36" fmla="*/ 2147483646 w 55"/>
                    <a:gd name="T37" fmla="*/ 2147483646 h 6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5"/>
                    <a:gd name="T58" fmla="*/ 0 h 67"/>
                    <a:gd name="T59" fmla="*/ 55 w 55"/>
                    <a:gd name="T60" fmla="*/ 67 h 6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5" h="67">
                      <a:moveTo>
                        <a:pt x="51" y="25"/>
                      </a:moveTo>
                      <a:lnTo>
                        <a:pt x="55" y="25"/>
                      </a:lnTo>
                      <a:lnTo>
                        <a:pt x="49" y="31"/>
                      </a:lnTo>
                      <a:lnTo>
                        <a:pt x="43" y="37"/>
                      </a:lnTo>
                      <a:lnTo>
                        <a:pt x="36" y="43"/>
                      </a:lnTo>
                      <a:lnTo>
                        <a:pt x="29" y="47"/>
                      </a:lnTo>
                      <a:lnTo>
                        <a:pt x="22" y="53"/>
                      </a:lnTo>
                      <a:lnTo>
                        <a:pt x="15" y="58"/>
                      </a:lnTo>
                      <a:lnTo>
                        <a:pt x="7" y="62"/>
                      </a:lnTo>
                      <a:lnTo>
                        <a:pt x="0" y="67"/>
                      </a:lnTo>
                      <a:lnTo>
                        <a:pt x="5" y="55"/>
                      </a:lnTo>
                      <a:lnTo>
                        <a:pt x="13" y="43"/>
                      </a:lnTo>
                      <a:lnTo>
                        <a:pt x="21" y="30"/>
                      </a:lnTo>
                      <a:lnTo>
                        <a:pt x="26" y="15"/>
                      </a:lnTo>
                      <a:lnTo>
                        <a:pt x="37" y="0"/>
                      </a:lnTo>
                      <a:lnTo>
                        <a:pt x="38" y="8"/>
                      </a:lnTo>
                      <a:lnTo>
                        <a:pt x="40" y="14"/>
                      </a:lnTo>
                      <a:lnTo>
                        <a:pt x="45" y="21"/>
                      </a:lnTo>
                      <a:lnTo>
                        <a:pt x="51" y="25"/>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31" name="Freeform 148">
                  <a:extLst>
                    <a:ext uri="{FF2B5EF4-FFF2-40B4-BE49-F238E27FC236}">
                      <a16:creationId xmlns:a16="http://schemas.microsoft.com/office/drawing/2014/main" id="{D0F12E4D-1F1B-4352-AF24-E515D33159FB}"/>
                    </a:ext>
                  </a:extLst>
                </p:cNvPr>
                <p:cNvSpPr>
                  <a:spLocks/>
                </p:cNvSpPr>
                <p:nvPr/>
              </p:nvSpPr>
              <p:spPr bwMode="auto">
                <a:xfrm>
                  <a:off x="4563913" y="4258780"/>
                  <a:ext cx="125353" cy="53579"/>
                </a:xfrm>
                <a:custGeom>
                  <a:avLst/>
                  <a:gdLst>
                    <a:gd name="T0" fmla="*/ 2147483646 w 186"/>
                    <a:gd name="T1" fmla="*/ 0 h 53"/>
                    <a:gd name="T2" fmla="*/ 2147483646 w 186"/>
                    <a:gd name="T3" fmla="*/ 2147483646 h 53"/>
                    <a:gd name="T4" fmla="*/ 2147483646 w 186"/>
                    <a:gd name="T5" fmla="*/ 2147483646 h 53"/>
                    <a:gd name="T6" fmla="*/ 2147483646 w 186"/>
                    <a:gd name="T7" fmla="*/ 2147483646 h 53"/>
                    <a:gd name="T8" fmla="*/ 2147483646 w 186"/>
                    <a:gd name="T9" fmla="*/ 2147483646 h 53"/>
                    <a:gd name="T10" fmla="*/ 2147483646 w 186"/>
                    <a:gd name="T11" fmla="*/ 2147483646 h 53"/>
                    <a:gd name="T12" fmla="*/ 2147483646 w 186"/>
                    <a:gd name="T13" fmla="*/ 2147483646 h 53"/>
                    <a:gd name="T14" fmla="*/ 2147483646 w 186"/>
                    <a:gd name="T15" fmla="*/ 2147483646 h 53"/>
                    <a:gd name="T16" fmla="*/ 2147483646 w 186"/>
                    <a:gd name="T17" fmla="*/ 2147483646 h 53"/>
                    <a:gd name="T18" fmla="*/ 2147483646 w 186"/>
                    <a:gd name="T19" fmla="*/ 2147483646 h 53"/>
                    <a:gd name="T20" fmla="*/ 2147483646 w 186"/>
                    <a:gd name="T21" fmla="*/ 2147483646 h 53"/>
                    <a:gd name="T22" fmla="*/ 2147483646 w 186"/>
                    <a:gd name="T23" fmla="*/ 2147483646 h 53"/>
                    <a:gd name="T24" fmla="*/ 2147483646 w 186"/>
                    <a:gd name="T25" fmla="*/ 2147483646 h 53"/>
                    <a:gd name="T26" fmla="*/ 2147483646 w 186"/>
                    <a:gd name="T27" fmla="*/ 2147483646 h 53"/>
                    <a:gd name="T28" fmla="*/ 2147483646 w 186"/>
                    <a:gd name="T29" fmla="*/ 2147483646 h 53"/>
                    <a:gd name="T30" fmla="*/ 2147483646 w 186"/>
                    <a:gd name="T31" fmla="*/ 2147483646 h 53"/>
                    <a:gd name="T32" fmla="*/ 0 w 186"/>
                    <a:gd name="T33" fmla="*/ 2147483646 h 53"/>
                    <a:gd name="T34" fmla="*/ 2147483646 w 186"/>
                    <a:gd name="T35" fmla="*/ 2147483646 h 53"/>
                    <a:gd name="T36" fmla="*/ 2147483646 w 186"/>
                    <a:gd name="T37" fmla="*/ 2147483646 h 53"/>
                    <a:gd name="T38" fmla="*/ 2147483646 w 186"/>
                    <a:gd name="T39" fmla="*/ 2147483646 h 53"/>
                    <a:gd name="T40" fmla="*/ 2147483646 w 186"/>
                    <a:gd name="T41" fmla="*/ 2147483646 h 53"/>
                    <a:gd name="T42" fmla="*/ 2147483646 w 186"/>
                    <a:gd name="T43" fmla="*/ 2147483646 h 53"/>
                    <a:gd name="T44" fmla="*/ 2147483646 w 186"/>
                    <a:gd name="T45" fmla="*/ 2147483646 h 53"/>
                    <a:gd name="T46" fmla="*/ 2147483646 w 186"/>
                    <a:gd name="T47" fmla="*/ 2147483646 h 53"/>
                    <a:gd name="T48" fmla="*/ 2147483646 w 186"/>
                    <a:gd name="T49" fmla="*/ 2147483646 h 53"/>
                    <a:gd name="T50" fmla="*/ 2147483646 w 186"/>
                    <a:gd name="T51" fmla="*/ 2147483646 h 53"/>
                    <a:gd name="T52" fmla="*/ 2147483646 w 186"/>
                    <a:gd name="T53" fmla="*/ 2147483646 h 53"/>
                    <a:gd name="T54" fmla="*/ 2147483646 w 186"/>
                    <a:gd name="T55" fmla="*/ 2147483646 h 53"/>
                    <a:gd name="T56" fmla="*/ 2147483646 w 186"/>
                    <a:gd name="T57" fmla="*/ 2147483646 h 53"/>
                    <a:gd name="T58" fmla="*/ 2147483646 w 186"/>
                    <a:gd name="T59" fmla="*/ 2147483646 h 53"/>
                    <a:gd name="T60" fmla="*/ 2147483646 w 186"/>
                    <a:gd name="T61" fmla="*/ 2147483646 h 53"/>
                    <a:gd name="T62" fmla="*/ 2147483646 w 186"/>
                    <a:gd name="T63" fmla="*/ 2147483646 h 53"/>
                    <a:gd name="T64" fmla="*/ 2147483646 w 186"/>
                    <a:gd name="T65" fmla="*/ 0 h 5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86"/>
                    <a:gd name="T100" fmla="*/ 0 h 53"/>
                    <a:gd name="T101" fmla="*/ 186 w 186"/>
                    <a:gd name="T102" fmla="*/ 53 h 5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86" h="53">
                      <a:moveTo>
                        <a:pt x="186" y="0"/>
                      </a:moveTo>
                      <a:lnTo>
                        <a:pt x="171" y="9"/>
                      </a:lnTo>
                      <a:lnTo>
                        <a:pt x="158" y="18"/>
                      </a:lnTo>
                      <a:lnTo>
                        <a:pt x="143" y="29"/>
                      </a:lnTo>
                      <a:lnTo>
                        <a:pt x="129" y="38"/>
                      </a:lnTo>
                      <a:lnTo>
                        <a:pt x="114" y="46"/>
                      </a:lnTo>
                      <a:lnTo>
                        <a:pt x="98" y="52"/>
                      </a:lnTo>
                      <a:lnTo>
                        <a:pt x="82" y="53"/>
                      </a:lnTo>
                      <a:lnTo>
                        <a:pt x="64" y="51"/>
                      </a:lnTo>
                      <a:lnTo>
                        <a:pt x="55" y="48"/>
                      </a:lnTo>
                      <a:lnTo>
                        <a:pt x="45" y="45"/>
                      </a:lnTo>
                      <a:lnTo>
                        <a:pt x="36" y="41"/>
                      </a:lnTo>
                      <a:lnTo>
                        <a:pt x="28" y="36"/>
                      </a:lnTo>
                      <a:lnTo>
                        <a:pt x="18" y="31"/>
                      </a:lnTo>
                      <a:lnTo>
                        <a:pt x="11" y="25"/>
                      </a:lnTo>
                      <a:lnTo>
                        <a:pt x="4" y="19"/>
                      </a:lnTo>
                      <a:lnTo>
                        <a:pt x="0" y="14"/>
                      </a:lnTo>
                      <a:lnTo>
                        <a:pt x="10" y="16"/>
                      </a:lnTo>
                      <a:lnTo>
                        <a:pt x="21" y="19"/>
                      </a:lnTo>
                      <a:lnTo>
                        <a:pt x="31" y="23"/>
                      </a:lnTo>
                      <a:lnTo>
                        <a:pt x="41" y="26"/>
                      </a:lnTo>
                      <a:lnTo>
                        <a:pt x="52" y="29"/>
                      </a:lnTo>
                      <a:lnTo>
                        <a:pt x="62" y="29"/>
                      </a:lnTo>
                      <a:lnTo>
                        <a:pt x="74" y="26"/>
                      </a:lnTo>
                      <a:lnTo>
                        <a:pt x="84" y="22"/>
                      </a:lnTo>
                      <a:lnTo>
                        <a:pt x="95" y="17"/>
                      </a:lnTo>
                      <a:lnTo>
                        <a:pt x="107" y="14"/>
                      </a:lnTo>
                      <a:lnTo>
                        <a:pt x="120" y="10"/>
                      </a:lnTo>
                      <a:lnTo>
                        <a:pt x="132" y="8"/>
                      </a:lnTo>
                      <a:lnTo>
                        <a:pt x="146" y="6"/>
                      </a:lnTo>
                      <a:lnTo>
                        <a:pt x="159" y="3"/>
                      </a:lnTo>
                      <a:lnTo>
                        <a:pt x="173" y="1"/>
                      </a:lnTo>
                      <a:lnTo>
                        <a:pt x="186" y="0"/>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32" name="Freeform 149">
                  <a:extLst>
                    <a:ext uri="{FF2B5EF4-FFF2-40B4-BE49-F238E27FC236}">
                      <a16:creationId xmlns:a16="http://schemas.microsoft.com/office/drawing/2014/main" id="{AA5E8EF4-B443-4BE1-9D48-4632AEBB97A0}"/>
                    </a:ext>
                  </a:extLst>
                </p:cNvPr>
                <p:cNvSpPr>
                  <a:spLocks/>
                </p:cNvSpPr>
                <p:nvPr/>
              </p:nvSpPr>
              <p:spPr bwMode="auto">
                <a:xfrm>
                  <a:off x="4608393" y="3970280"/>
                  <a:ext cx="223749" cy="65943"/>
                </a:xfrm>
                <a:custGeom>
                  <a:avLst/>
                  <a:gdLst>
                    <a:gd name="T0" fmla="*/ 2147483646 w 331"/>
                    <a:gd name="T1" fmla="*/ 2147483646 h 63"/>
                    <a:gd name="T2" fmla="*/ 2147483646 w 331"/>
                    <a:gd name="T3" fmla="*/ 2147483646 h 63"/>
                    <a:gd name="T4" fmla="*/ 2147483646 w 331"/>
                    <a:gd name="T5" fmla="*/ 2147483646 h 63"/>
                    <a:gd name="T6" fmla="*/ 2147483646 w 331"/>
                    <a:gd name="T7" fmla="*/ 2147483646 h 63"/>
                    <a:gd name="T8" fmla="*/ 2147483646 w 331"/>
                    <a:gd name="T9" fmla="*/ 2147483646 h 63"/>
                    <a:gd name="T10" fmla="*/ 2147483646 w 331"/>
                    <a:gd name="T11" fmla="*/ 0 h 63"/>
                    <a:gd name="T12" fmla="*/ 2147483646 w 331"/>
                    <a:gd name="T13" fmla="*/ 0 h 63"/>
                    <a:gd name="T14" fmla="*/ 2147483646 w 331"/>
                    <a:gd name="T15" fmla="*/ 2147483646 h 63"/>
                    <a:gd name="T16" fmla="*/ 2147483646 w 331"/>
                    <a:gd name="T17" fmla="*/ 2147483646 h 63"/>
                    <a:gd name="T18" fmla="*/ 2147483646 w 331"/>
                    <a:gd name="T19" fmla="*/ 2147483646 h 63"/>
                    <a:gd name="T20" fmla="*/ 2147483646 w 331"/>
                    <a:gd name="T21" fmla="*/ 2147483646 h 63"/>
                    <a:gd name="T22" fmla="*/ 2147483646 w 331"/>
                    <a:gd name="T23" fmla="*/ 2147483646 h 63"/>
                    <a:gd name="T24" fmla="*/ 2147483646 w 331"/>
                    <a:gd name="T25" fmla="*/ 2147483646 h 63"/>
                    <a:gd name="T26" fmla="*/ 2147483646 w 331"/>
                    <a:gd name="T27" fmla="*/ 2147483646 h 63"/>
                    <a:gd name="T28" fmla="*/ 2147483646 w 331"/>
                    <a:gd name="T29" fmla="*/ 2147483646 h 63"/>
                    <a:gd name="T30" fmla="*/ 2147483646 w 331"/>
                    <a:gd name="T31" fmla="*/ 2147483646 h 63"/>
                    <a:gd name="T32" fmla="*/ 2147483646 w 331"/>
                    <a:gd name="T33" fmla="*/ 2147483646 h 63"/>
                    <a:gd name="T34" fmla="*/ 2147483646 w 331"/>
                    <a:gd name="T35" fmla="*/ 2147483646 h 63"/>
                    <a:gd name="T36" fmla="*/ 2147483646 w 331"/>
                    <a:gd name="T37" fmla="*/ 2147483646 h 63"/>
                    <a:gd name="T38" fmla="*/ 2147483646 w 331"/>
                    <a:gd name="T39" fmla="*/ 2147483646 h 63"/>
                    <a:gd name="T40" fmla="*/ 2147483646 w 331"/>
                    <a:gd name="T41" fmla="*/ 2147483646 h 63"/>
                    <a:gd name="T42" fmla="*/ 2147483646 w 331"/>
                    <a:gd name="T43" fmla="*/ 2147483646 h 63"/>
                    <a:gd name="T44" fmla="*/ 2147483646 w 331"/>
                    <a:gd name="T45" fmla="*/ 2147483646 h 63"/>
                    <a:gd name="T46" fmla="*/ 2147483646 w 331"/>
                    <a:gd name="T47" fmla="*/ 2147483646 h 63"/>
                    <a:gd name="T48" fmla="*/ 2147483646 w 331"/>
                    <a:gd name="T49" fmla="*/ 2147483646 h 63"/>
                    <a:gd name="T50" fmla="*/ 2147483646 w 331"/>
                    <a:gd name="T51" fmla="*/ 2147483646 h 63"/>
                    <a:gd name="T52" fmla="*/ 2147483646 w 331"/>
                    <a:gd name="T53" fmla="*/ 2147483646 h 63"/>
                    <a:gd name="T54" fmla="*/ 2147483646 w 331"/>
                    <a:gd name="T55" fmla="*/ 2147483646 h 63"/>
                    <a:gd name="T56" fmla="*/ 2147483646 w 331"/>
                    <a:gd name="T57" fmla="*/ 2147483646 h 63"/>
                    <a:gd name="T58" fmla="*/ 2147483646 w 331"/>
                    <a:gd name="T59" fmla="*/ 2147483646 h 63"/>
                    <a:gd name="T60" fmla="*/ 2147483646 w 331"/>
                    <a:gd name="T61" fmla="*/ 2147483646 h 63"/>
                    <a:gd name="T62" fmla="*/ 2147483646 w 331"/>
                    <a:gd name="T63" fmla="*/ 2147483646 h 63"/>
                    <a:gd name="T64" fmla="*/ 2147483646 w 331"/>
                    <a:gd name="T65" fmla="*/ 2147483646 h 63"/>
                    <a:gd name="T66" fmla="*/ 2147483646 w 331"/>
                    <a:gd name="T67" fmla="*/ 2147483646 h 63"/>
                    <a:gd name="T68" fmla="*/ 2147483646 w 331"/>
                    <a:gd name="T69" fmla="*/ 2147483646 h 63"/>
                    <a:gd name="T70" fmla="*/ 2147483646 w 331"/>
                    <a:gd name="T71" fmla="*/ 2147483646 h 63"/>
                    <a:gd name="T72" fmla="*/ 2147483646 w 331"/>
                    <a:gd name="T73" fmla="*/ 2147483646 h 63"/>
                    <a:gd name="T74" fmla="*/ 2147483646 w 331"/>
                    <a:gd name="T75" fmla="*/ 2147483646 h 63"/>
                    <a:gd name="T76" fmla="*/ 2147483646 w 331"/>
                    <a:gd name="T77" fmla="*/ 2147483646 h 63"/>
                    <a:gd name="T78" fmla="*/ 2147483646 w 331"/>
                    <a:gd name="T79" fmla="*/ 2147483646 h 63"/>
                    <a:gd name="T80" fmla="*/ 2147483646 w 331"/>
                    <a:gd name="T81" fmla="*/ 2147483646 h 63"/>
                    <a:gd name="T82" fmla="*/ 2147483646 w 331"/>
                    <a:gd name="T83" fmla="*/ 2147483646 h 63"/>
                    <a:gd name="T84" fmla="*/ 2147483646 w 331"/>
                    <a:gd name="T85" fmla="*/ 2147483646 h 63"/>
                    <a:gd name="T86" fmla="*/ 2147483646 w 331"/>
                    <a:gd name="T87" fmla="*/ 2147483646 h 63"/>
                    <a:gd name="T88" fmla="*/ 2147483646 w 331"/>
                    <a:gd name="T89" fmla="*/ 2147483646 h 63"/>
                    <a:gd name="T90" fmla="*/ 2147483646 w 331"/>
                    <a:gd name="T91" fmla="*/ 2147483646 h 63"/>
                    <a:gd name="T92" fmla="*/ 2147483646 w 331"/>
                    <a:gd name="T93" fmla="*/ 2147483646 h 63"/>
                    <a:gd name="T94" fmla="*/ 0 w 331"/>
                    <a:gd name="T95" fmla="*/ 2147483646 h 63"/>
                    <a:gd name="T96" fmla="*/ 0 w 331"/>
                    <a:gd name="T97" fmla="*/ 2147483646 h 63"/>
                    <a:gd name="T98" fmla="*/ 2147483646 w 331"/>
                    <a:gd name="T99" fmla="*/ 2147483646 h 6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31"/>
                    <a:gd name="T151" fmla="*/ 0 h 63"/>
                    <a:gd name="T152" fmla="*/ 331 w 331"/>
                    <a:gd name="T153" fmla="*/ 63 h 6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31" h="63">
                      <a:moveTo>
                        <a:pt x="24" y="1"/>
                      </a:moveTo>
                      <a:lnTo>
                        <a:pt x="26" y="1"/>
                      </a:lnTo>
                      <a:lnTo>
                        <a:pt x="34" y="1"/>
                      </a:lnTo>
                      <a:lnTo>
                        <a:pt x="46" y="1"/>
                      </a:lnTo>
                      <a:lnTo>
                        <a:pt x="61" y="1"/>
                      </a:lnTo>
                      <a:lnTo>
                        <a:pt x="79" y="0"/>
                      </a:lnTo>
                      <a:lnTo>
                        <a:pt x="100" y="0"/>
                      </a:lnTo>
                      <a:lnTo>
                        <a:pt x="122" y="1"/>
                      </a:lnTo>
                      <a:lnTo>
                        <a:pt x="146" y="1"/>
                      </a:lnTo>
                      <a:lnTo>
                        <a:pt x="170" y="1"/>
                      </a:lnTo>
                      <a:lnTo>
                        <a:pt x="195" y="2"/>
                      </a:lnTo>
                      <a:lnTo>
                        <a:pt x="219" y="3"/>
                      </a:lnTo>
                      <a:lnTo>
                        <a:pt x="241" y="6"/>
                      </a:lnTo>
                      <a:lnTo>
                        <a:pt x="263" y="8"/>
                      </a:lnTo>
                      <a:lnTo>
                        <a:pt x="282" y="10"/>
                      </a:lnTo>
                      <a:lnTo>
                        <a:pt x="298" y="14"/>
                      </a:lnTo>
                      <a:lnTo>
                        <a:pt x="310" y="17"/>
                      </a:lnTo>
                      <a:lnTo>
                        <a:pt x="327" y="25"/>
                      </a:lnTo>
                      <a:lnTo>
                        <a:pt x="331" y="31"/>
                      </a:lnTo>
                      <a:lnTo>
                        <a:pt x="328" y="36"/>
                      </a:lnTo>
                      <a:lnTo>
                        <a:pt x="316" y="39"/>
                      </a:lnTo>
                      <a:lnTo>
                        <a:pt x="299" y="41"/>
                      </a:lnTo>
                      <a:lnTo>
                        <a:pt x="277" y="43"/>
                      </a:lnTo>
                      <a:lnTo>
                        <a:pt x="252" y="44"/>
                      </a:lnTo>
                      <a:lnTo>
                        <a:pt x="226" y="43"/>
                      </a:lnTo>
                      <a:lnTo>
                        <a:pt x="200" y="43"/>
                      </a:lnTo>
                      <a:lnTo>
                        <a:pt x="175" y="45"/>
                      </a:lnTo>
                      <a:lnTo>
                        <a:pt x="152" y="47"/>
                      </a:lnTo>
                      <a:lnTo>
                        <a:pt x="130" y="52"/>
                      </a:lnTo>
                      <a:lnTo>
                        <a:pt x="112" y="56"/>
                      </a:lnTo>
                      <a:lnTo>
                        <a:pt x="97" y="60"/>
                      </a:lnTo>
                      <a:lnTo>
                        <a:pt x="89" y="62"/>
                      </a:lnTo>
                      <a:lnTo>
                        <a:pt x="86" y="63"/>
                      </a:lnTo>
                      <a:lnTo>
                        <a:pt x="86" y="61"/>
                      </a:lnTo>
                      <a:lnTo>
                        <a:pt x="84" y="55"/>
                      </a:lnTo>
                      <a:lnTo>
                        <a:pt x="79" y="49"/>
                      </a:lnTo>
                      <a:lnTo>
                        <a:pt x="71" y="46"/>
                      </a:lnTo>
                      <a:lnTo>
                        <a:pt x="65" y="45"/>
                      </a:lnTo>
                      <a:lnTo>
                        <a:pt x="58" y="46"/>
                      </a:lnTo>
                      <a:lnTo>
                        <a:pt x="50" y="46"/>
                      </a:lnTo>
                      <a:lnTo>
                        <a:pt x="41" y="47"/>
                      </a:lnTo>
                      <a:lnTo>
                        <a:pt x="33" y="48"/>
                      </a:lnTo>
                      <a:lnTo>
                        <a:pt x="25" y="49"/>
                      </a:lnTo>
                      <a:lnTo>
                        <a:pt x="17" y="49"/>
                      </a:lnTo>
                      <a:lnTo>
                        <a:pt x="11" y="48"/>
                      </a:lnTo>
                      <a:lnTo>
                        <a:pt x="4" y="46"/>
                      </a:lnTo>
                      <a:lnTo>
                        <a:pt x="1" y="44"/>
                      </a:lnTo>
                      <a:lnTo>
                        <a:pt x="0" y="44"/>
                      </a:lnTo>
                      <a:lnTo>
                        <a:pt x="24" y="1"/>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33" name="Freeform 150">
                  <a:extLst>
                    <a:ext uri="{FF2B5EF4-FFF2-40B4-BE49-F238E27FC236}">
                      <a16:creationId xmlns:a16="http://schemas.microsoft.com/office/drawing/2014/main" id="{F52BDE0B-0081-4F6F-8BC5-86C3626CE85B}"/>
                    </a:ext>
                  </a:extLst>
                </p:cNvPr>
                <p:cNvSpPr>
                  <a:spLocks/>
                </p:cNvSpPr>
                <p:nvPr/>
              </p:nvSpPr>
              <p:spPr bwMode="auto">
                <a:xfrm>
                  <a:off x="4638046" y="3539592"/>
                  <a:ext cx="141528" cy="296742"/>
                </a:xfrm>
                <a:custGeom>
                  <a:avLst/>
                  <a:gdLst>
                    <a:gd name="T0" fmla="*/ 2147483646 w 211"/>
                    <a:gd name="T1" fmla="*/ 0 h 288"/>
                    <a:gd name="T2" fmla="*/ 0 w 211"/>
                    <a:gd name="T3" fmla="*/ 2147483646 h 288"/>
                    <a:gd name="T4" fmla="*/ 2147483646 w 211"/>
                    <a:gd name="T5" fmla="*/ 2147483646 h 288"/>
                    <a:gd name="T6" fmla="*/ 2147483646 w 211"/>
                    <a:gd name="T7" fmla="*/ 2147483646 h 288"/>
                    <a:gd name="T8" fmla="*/ 2147483646 w 211"/>
                    <a:gd name="T9" fmla="*/ 0 h 288"/>
                    <a:gd name="T10" fmla="*/ 0 60000 65536"/>
                    <a:gd name="T11" fmla="*/ 0 60000 65536"/>
                    <a:gd name="T12" fmla="*/ 0 60000 65536"/>
                    <a:gd name="T13" fmla="*/ 0 60000 65536"/>
                    <a:gd name="T14" fmla="*/ 0 60000 65536"/>
                    <a:gd name="T15" fmla="*/ 0 w 211"/>
                    <a:gd name="T16" fmla="*/ 0 h 288"/>
                    <a:gd name="T17" fmla="*/ 211 w 211"/>
                    <a:gd name="T18" fmla="*/ 288 h 288"/>
                  </a:gdLst>
                  <a:ahLst/>
                  <a:cxnLst>
                    <a:cxn ang="T10">
                      <a:pos x="T0" y="T1"/>
                    </a:cxn>
                    <a:cxn ang="T11">
                      <a:pos x="T2" y="T3"/>
                    </a:cxn>
                    <a:cxn ang="T12">
                      <a:pos x="T4" y="T5"/>
                    </a:cxn>
                    <a:cxn ang="T13">
                      <a:pos x="T6" y="T7"/>
                    </a:cxn>
                    <a:cxn ang="T14">
                      <a:pos x="T8" y="T9"/>
                    </a:cxn>
                  </a:cxnLst>
                  <a:rect l="T15" t="T16" r="T17" b="T18"/>
                  <a:pathLst>
                    <a:path w="211" h="288">
                      <a:moveTo>
                        <a:pt x="193" y="0"/>
                      </a:moveTo>
                      <a:lnTo>
                        <a:pt x="0" y="280"/>
                      </a:lnTo>
                      <a:lnTo>
                        <a:pt x="15" y="288"/>
                      </a:lnTo>
                      <a:lnTo>
                        <a:pt x="211" y="6"/>
                      </a:lnTo>
                      <a:lnTo>
                        <a:pt x="19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grpSp>
          <p:nvGrpSpPr>
            <p:cNvPr id="87088" name="그룹 668">
              <a:extLst>
                <a:ext uri="{FF2B5EF4-FFF2-40B4-BE49-F238E27FC236}">
                  <a16:creationId xmlns:a16="http://schemas.microsoft.com/office/drawing/2014/main" id="{A8C20337-EF7D-49B6-B8F1-563415E19213}"/>
                </a:ext>
              </a:extLst>
            </p:cNvPr>
            <p:cNvGrpSpPr>
              <a:grpSpLocks/>
            </p:cNvGrpSpPr>
            <p:nvPr/>
          </p:nvGrpSpPr>
          <p:grpSpPr bwMode="auto">
            <a:xfrm>
              <a:off x="3182938" y="3187686"/>
              <a:ext cx="415925" cy="384175"/>
              <a:chOff x="6024570" y="214290"/>
              <a:chExt cx="463550" cy="428625"/>
            </a:xfrm>
          </p:grpSpPr>
          <p:sp>
            <p:nvSpPr>
              <p:cNvPr id="969" name="타원 968">
                <a:extLst>
                  <a:ext uri="{FF2B5EF4-FFF2-40B4-BE49-F238E27FC236}">
                    <a16:creationId xmlns:a16="http://schemas.microsoft.com/office/drawing/2014/main" id="{D657730A-AA11-480A-B9EB-6A8B177CD36F}"/>
                  </a:ext>
                </a:extLst>
              </p:cNvPr>
              <p:cNvSpPr/>
              <p:nvPr/>
            </p:nvSpPr>
            <p:spPr bwMode="auto">
              <a:xfrm>
                <a:off x="6024570" y="214290"/>
                <a:ext cx="463550" cy="428625"/>
              </a:xfrm>
              <a:prstGeom prst="ellipse">
                <a:avLst/>
              </a:prstGeom>
              <a:solidFill>
                <a:srgbClr val="4F81BD"/>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eaLnBrk="1" latinLnBrk="1" hangingPunct="1">
                  <a:defRPr/>
                </a:pPr>
                <a:endParaRPr kumimoji="1" lang="ko-KR" altLang="en-US" sz="1800">
                  <a:solidFill>
                    <a:srgbClr val="FFFFFF"/>
                  </a:solidFill>
                  <a:latin typeface="Arial" charset="0"/>
                  <a:ea typeface="Gulim" pitchFamily="34" charset="-127"/>
                  <a:cs typeface="Gulim" pitchFamily="34" charset="-127"/>
                </a:endParaRPr>
              </a:p>
            </p:txBody>
          </p:sp>
          <p:grpSp>
            <p:nvGrpSpPr>
              <p:cNvPr id="87380" name="그룹 969">
                <a:extLst>
                  <a:ext uri="{FF2B5EF4-FFF2-40B4-BE49-F238E27FC236}">
                    <a16:creationId xmlns:a16="http://schemas.microsoft.com/office/drawing/2014/main" id="{32CA57E0-7E37-4770-B7FE-3645EF90FB73}"/>
                  </a:ext>
                </a:extLst>
              </p:cNvPr>
              <p:cNvGrpSpPr>
                <a:grpSpLocks/>
              </p:cNvGrpSpPr>
              <p:nvPr/>
            </p:nvGrpSpPr>
            <p:grpSpPr bwMode="auto">
              <a:xfrm>
                <a:off x="6096008" y="285728"/>
                <a:ext cx="356839" cy="269875"/>
                <a:chOff x="7125197" y="1383976"/>
                <a:chExt cx="356839" cy="269875"/>
              </a:xfrm>
            </p:grpSpPr>
            <p:grpSp>
              <p:nvGrpSpPr>
                <p:cNvPr id="87381" name="그룹 970">
                  <a:extLst>
                    <a:ext uri="{FF2B5EF4-FFF2-40B4-BE49-F238E27FC236}">
                      <a16:creationId xmlns:a16="http://schemas.microsoft.com/office/drawing/2014/main" id="{ADD62CAD-7690-4530-9670-A67801F58B24}"/>
                    </a:ext>
                  </a:extLst>
                </p:cNvPr>
                <p:cNvGrpSpPr>
                  <a:grpSpLocks/>
                </p:cNvGrpSpPr>
                <p:nvPr/>
              </p:nvGrpSpPr>
              <p:grpSpPr bwMode="auto">
                <a:xfrm rot="-1166378">
                  <a:off x="7125197" y="1389759"/>
                  <a:ext cx="231777" cy="214314"/>
                  <a:chOff x="6953264" y="928670"/>
                  <a:chExt cx="231777" cy="214314"/>
                </a:xfrm>
              </p:grpSpPr>
              <p:sp>
                <p:nvSpPr>
                  <p:cNvPr id="87396" name="Freeform 118">
                    <a:extLst>
                      <a:ext uri="{FF2B5EF4-FFF2-40B4-BE49-F238E27FC236}">
                        <a16:creationId xmlns:a16="http://schemas.microsoft.com/office/drawing/2014/main" id="{35E03FF7-473B-4641-A4E1-3A03500F175A}"/>
                      </a:ext>
                    </a:extLst>
                  </p:cNvPr>
                  <p:cNvSpPr>
                    <a:spLocks/>
                  </p:cNvSpPr>
                  <p:nvPr/>
                </p:nvSpPr>
                <p:spPr bwMode="auto">
                  <a:xfrm>
                    <a:off x="6972089" y="954331"/>
                    <a:ext cx="212952" cy="188650"/>
                  </a:xfrm>
                  <a:custGeom>
                    <a:avLst/>
                    <a:gdLst>
                      <a:gd name="T0" fmla="*/ 2147483646 w 1448"/>
                      <a:gd name="T1" fmla="*/ 2147483646 h 1881"/>
                      <a:gd name="T2" fmla="*/ 2147483646 w 1448"/>
                      <a:gd name="T3" fmla="*/ 2147483646 h 1881"/>
                      <a:gd name="T4" fmla="*/ 2147483646 w 1448"/>
                      <a:gd name="T5" fmla="*/ 2147483646 h 1881"/>
                      <a:gd name="T6" fmla="*/ 2147483646 w 1448"/>
                      <a:gd name="T7" fmla="*/ 2147483646 h 1881"/>
                      <a:gd name="T8" fmla="*/ 2147483646 w 1448"/>
                      <a:gd name="T9" fmla="*/ 2147483646 h 1881"/>
                      <a:gd name="T10" fmla="*/ 2147483646 w 1448"/>
                      <a:gd name="T11" fmla="*/ 2147483646 h 1881"/>
                      <a:gd name="T12" fmla="*/ 2147483646 w 1448"/>
                      <a:gd name="T13" fmla="*/ 2147483646 h 1881"/>
                      <a:gd name="T14" fmla="*/ 2147483646 w 1448"/>
                      <a:gd name="T15" fmla="*/ 2147483646 h 1881"/>
                      <a:gd name="T16" fmla="*/ 2147483646 w 1448"/>
                      <a:gd name="T17" fmla="*/ 2147483646 h 1881"/>
                      <a:gd name="T18" fmla="*/ 2147483646 w 1448"/>
                      <a:gd name="T19" fmla="*/ 0 h 1881"/>
                      <a:gd name="T20" fmla="*/ 2147483646 w 1448"/>
                      <a:gd name="T21" fmla="*/ 2147483646 h 1881"/>
                      <a:gd name="T22" fmla="*/ 2147483646 w 1448"/>
                      <a:gd name="T23" fmla="*/ 2147483646 h 1881"/>
                      <a:gd name="T24" fmla="*/ 2147483646 w 1448"/>
                      <a:gd name="T25" fmla="*/ 2147483646 h 1881"/>
                      <a:gd name="T26" fmla="*/ 2147483646 w 1448"/>
                      <a:gd name="T27" fmla="*/ 2147483646 h 1881"/>
                      <a:gd name="T28" fmla="*/ 2147483646 w 1448"/>
                      <a:gd name="T29" fmla="*/ 2147483646 h 1881"/>
                      <a:gd name="T30" fmla="*/ 2147483646 w 1448"/>
                      <a:gd name="T31" fmla="*/ 2147483646 h 1881"/>
                      <a:gd name="T32" fmla="*/ 2147483646 w 1448"/>
                      <a:gd name="T33" fmla="*/ 2147483646 h 1881"/>
                      <a:gd name="T34" fmla="*/ 2147483646 w 1448"/>
                      <a:gd name="T35" fmla="*/ 2147483646 h 1881"/>
                      <a:gd name="T36" fmla="*/ 2147483646 w 1448"/>
                      <a:gd name="T37" fmla="*/ 2147483646 h 1881"/>
                      <a:gd name="T38" fmla="*/ 2147483646 w 1448"/>
                      <a:gd name="T39" fmla="*/ 2147483646 h 1881"/>
                      <a:gd name="T40" fmla="*/ 2147483646 w 1448"/>
                      <a:gd name="T41" fmla="*/ 2147483646 h 1881"/>
                      <a:gd name="T42" fmla="*/ 2147483646 w 1448"/>
                      <a:gd name="T43" fmla="*/ 2147483646 h 1881"/>
                      <a:gd name="T44" fmla="*/ 2147483646 w 1448"/>
                      <a:gd name="T45" fmla="*/ 2147483646 h 1881"/>
                      <a:gd name="T46" fmla="*/ 2147483646 w 1448"/>
                      <a:gd name="T47" fmla="*/ 2147483646 h 1881"/>
                      <a:gd name="T48" fmla="*/ 2147483646 w 1448"/>
                      <a:gd name="T49" fmla="*/ 2147483646 h 1881"/>
                      <a:gd name="T50" fmla="*/ 2147483646 w 1448"/>
                      <a:gd name="T51" fmla="*/ 2147483646 h 1881"/>
                      <a:gd name="T52" fmla="*/ 2147483646 w 1448"/>
                      <a:gd name="T53" fmla="*/ 2147483646 h 1881"/>
                      <a:gd name="T54" fmla="*/ 2147483646 w 1448"/>
                      <a:gd name="T55" fmla="*/ 2147483646 h 1881"/>
                      <a:gd name="T56" fmla="*/ 2147483646 w 1448"/>
                      <a:gd name="T57" fmla="*/ 2147483646 h 1881"/>
                      <a:gd name="T58" fmla="*/ 2147483646 w 1448"/>
                      <a:gd name="T59" fmla="*/ 2147483646 h 1881"/>
                      <a:gd name="T60" fmla="*/ 2147483646 w 1448"/>
                      <a:gd name="T61" fmla="*/ 2147483646 h 1881"/>
                      <a:gd name="T62" fmla="*/ 2147483646 w 1448"/>
                      <a:gd name="T63" fmla="*/ 2147483646 h 1881"/>
                      <a:gd name="T64" fmla="*/ 2147483646 w 1448"/>
                      <a:gd name="T65" fmla="*/ 2147483646 h 1881"/>
                      <a:gd name="T66" fmla="*/ 2147483646 w 1448"/>
                      <a:gd name="T67" fmla="*/ 2147483646 h 1881"/>
                      <a:gd name="T68" fmla="*/ 2147483646 w 1448"/>
                      <a:gd name="T69" fmla="*/ 2147483646 h 1881"/>
                      <a:gd name="T70" fmla="*/ 2147483646 w 1448"/>
                      <a:gd name="T71" fmla="*/ 2147483646 h 1881"/>
                      <a:gd name="T72" fmla="*/ 2147483646 w 1448"/>
                      <a:gd name="T73" fmla="*/ 2147483646 h 1881"/>
                      <a:gd name="T74" fmla="*/ 2147483646 w 1448"/>
                      <a:gd name="T75" fmla="*/ 2147483646 h 1881"/>
                      <a:gd name="T76" fmla="*/ 2147483646 w 1448"/>
                      <a:gd name="T77" fmla="*/ 2147483646 h 1881"/>
                      <a:gd name="T78" fmla="*/ 2147483646 w 1448"/>
                      <a:gd name="T79" fmla="*/ 2147483646 h 1881"/>
                      <a:gd name="T80" fmla="*/ 2147483646 w 1448"/>
                      <a:gd name="T81" fmla="*/ 2147483646 h 1881"/>
                      <a:gd name="T82" fmla="*/ 2147483646 w 1448"/>
                      <a:gd name="T83" fmla="*/ 2147483646 h 1881"/>
                      <a:gd name="T84" fmla="*/ 2147483646 w 1448"/>
                      <a:gd name="T85" fmla="*/ 2147483646 h 1881"/>
                      <a:gd name="T86" fmla="*/ 2147483646 w 1448"/>
                      <a:gd name="T87" fmla="*/ 2147483646 h 188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48"/>
                      <a:gd name="T133" fmla="*/ 0 h 1881"/>
                      <a:gd name="T134" fmla="*/ 1448 w 1448"/>
                      <a:gd name="T135" fmla="*/ 1881 h 188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48" h="1881">
                        <a:moveTo>
                          <a:pt x="0" y="1762"/>
                        </a:moveTo>
                        <a:lnTo>
                          <a:pt x="13" y="1668"/>
                        </a:lnTo>
                        <a:lnTo>
                          <a:pt x="26" y="1575"/>
                        </a:lnTo>
                        <a:lnTo>
                          <a:pt x="44" y="1480"/>
                        </a:lnTo>
                        <a:lnTo>
                          <a:pt x="62" y="1386"/>
                        </a:lnTo>
                        <a:lnTo>
                          <a:pt x="82" y="1291"/>
                        </a:lnTo>
                        <a:lnTo>
                          <a:pt x="104" y="1198"/>
                        </a:lnTo>
                        <a:lnTo>
                          <a:pt x="126" y="1105"/>
                        </a:lnTo>
                        <a:lnTo>
                          <a:pt x="149" y="1011"/>
                        </a:lnTo>
                        <a:lnTo>
                          <a:pt x="158" y="977"/>
                        </a:lnTo>
                        <a:lnTo>
                          <a:pt x="167" y="941"/>
                        </a:lnTo>
                        <a:lnTo>
                          <a:pt x="176" y="905"/>
                        </a:lnTo>
                        <a:lnTo>
                          <a:pt x="185" y="871"/>
                        </a:lnTo>
                        <a:lnTo>
                          <a:pt x="195" y="835"/>
                        </a:lnTo>
                        <a:lnTo>
                          <a:pt x="205" y="799"/>
                        </a:lnTo>
                        <a:lnTo>
                          <a:pt x="214" y="765"/>
                        </a:lnTo>
                        <a:lnTo>
                          <a:pt x="223" y="730"/>
                        </a:lnTo>
                        <a:lnTo>
                          <a:pt x="245" y="651"/>
                        </a:lnTo>
                        <a:lnTo>
                          <a:pt x="266" y="571"/>
                        </a:lnTo>
                        <a:lnTo>
                          <a:pt x="286" y="492"/>
                        </a:lnTo>
                        <a:lnTo>
                          <a:pt x="305" y="412"/>
                        </a:lnTo>
                        <a:lnTo>
                          <a:pt x="321" y="333"/>
                        </a:lnTo>
                        <a:lnTo>
                          <a:pt x="337" y="253"/>
                        </a:lnTo>
                        <a:lnTo>
                          <a:pt x="352" y="173"/>
                        </a:lnTo>
                        <a:lnTo>
                          <a:pt x="365" y="93"/>
                        </a:lnTo>
                        <a:lnTo>
                          <a:pt x="367" y="70"/>
                        </a:lnTo>
                        <a:lnTo>
                          <a:pt x="371" y="46"/>
                        </a:lnTo>
                        <a:lnTo>
                          <a:pt x="373" y="23"/>
                        </a:lnTo>
                        <a:lnTo>
                          <a:pt x="372" y="0"/>
                        </a:lnTo>
                        <a:lnTo>
                          <a:pt x="396" y="0"/>
                        </a:lnTo>
                        <a:lnTo>
                          <a:pt x="420" y="0"/>
                        </a:lnTo>
                        <a:lnTo>
                          <a:pt x="445" y="1"/>
                        </a:lnTo>
                        <a:lnTo>
                          <a:pt x="469" y="2"/>
                        </a:lnTo>
                        <a:lnTo>
                          <a:pt x="493" y="3"/>
                        </a:lnTo>
                        <a:lnTo>
                          <a:pt x="517" y="4"/>
                        </a:lnTo>
                        <a:lnTo>
                          <a:pt x="540" y="7"/>
                        </a:lnTo>
                        <a:lnTo>
                          <a:pt x="564" y="9"/>
                        </a:lnTo>
                        <a:lnTo>
                          <a:pt x="587" y="11"/>
                        </a:lnTo>
                        <a:lnTo>
                          <a:pt x="612" y="14"/>
                        </a:lnTo>
                        <a:lnTo>
                          <a:pt x="635" y="17"/>
                        </a:lnTo>
                        <a:lnTo>
                          <a:pt x="658" y="19"/>
                        </a:lnTo>
                        <a:lnTo>
                          <a:pt x="682" y="22"/>
                        </a:lnTo>
                        <a:lnTo>
                          <a:pt x="706" y="25"/>
                        </a:lnTo>
                        <a:lnTo>
                          <a:pt x="729" y="28"/>
                        </a:lnTo>
                        <a:lnTo>
                          <a:pt x="753" y="30"/>
                        </a:lnTo>
                        <a:lnTo>
                          <a:pt x="797" y="37"/>
                        </a:lnTo>
                        <a:lnTo>
                          <a:pt x="840" y="44"/>
                        </a:lnTo>
                        <a:lnTo>
                          <a:pt x="883" y="51"/>
                        </a:lnTo>
                        <a:lnTo>
                          <a:pt x="926" y="57"/>
                        </a:lnTo>
                        <a:lnTo>
                          <a:pt x="969" y="64"/>
                        </a:lnTo>
                        <a:lnTo>
                          <a:pt x="1012" y="71"/>
                        </a:lnTo>
                        <a:lnTo>
                          <a:pt x="1055" y="77"/>
                        </a:lnTo>
                        <a:lnTo>
                          <a:pt x="1097" y="84"/>
                        </a:lnTo>
                        <a:lnTo>
                          <a:pt x="1141" y="89"/>
                        </a:lnTo>
                        <a:lnTo>
                          <a:pt x="1184" y="94"/>
                        </a:lnTo>
                        <a:lnTo>
                          <a:pt x="1228" y="99"/>
                        </a:lnTo>
                        <a:lnTo>
                          <a:pt x="1271" y="102"/>
                        </a:lnTo>
                        <a:lnTo>
                          <a:pt x="1315" y="106"/>
                        </a:lnTo>
                        <a:lnTo>
                          <a:pt x="1359" y="108"/>
                        </a:lnTo>
                        <a:lnTo>
                          <a:pt x="1403" y="109"/>
                        </a:lnTo>
                        <a:lnTo>
                          <a:pt x="1448" y="110"/>
                        </a:lnTo>
                        <a:lnTo>
                          <a:pt x="1440" y="167"/>
                        </a:lnTo>
                        <a:lnTo>
                          <a:pt x="1430" y="222"/>
                        </a:lnTo>
                        <a:lnTo>
                          <a:pt x="1421" y="279"/>
                        </a:lnTo>
                        <a:lnTo>
                          <a:pt x="1412" y="335"/>
                        </a:lnTo>
                        <a:lnTo>
                          <a:pt x="1402" y="392"/>
                        </a:lnTo>
                        <a:lnTo>
                          <a:pt x="1391" y="447"/>
                        </a:lnTo>
                        <a:lnTo>
                          <a:pt x="1380" y="503"/>
                        </a:lnTo>
                        <a:lnTo>
                          <a:pt x="1368" y="560"/>
                        </a:lnTo>
                        <a:lnTo>
                          <a:pt x="1357" y="616"/>
                        </a:lnTo>
                        <a:lnTo>
                          <a:pt x="1344" y="671"/>
                        </a:lnTo>
                        <a:lnTo>
                          <a:pt x="1330" y="728"/>
                        </a:lnTo>
                        <a:lnTo>
                          <a:pt x="1317" y="784"/>
                        </a:lnTo>
                        <a:lnTo>
                          <a:pt x="1302" y="841"/>
                        </a:lnTo>
                        <a:lnTo>
                          <a:pt x="1289" y="897"/>
                        </a:lnTo>
                        <a:lnTo>
                          <a:pt x="1274" y="954"/>
                        </a:lnTo>
                        <a:lnTo>
                          <a:pt x="1258" y="1010"/>
                        </a:lnTo>
                        <a:lnTo>
                          <a:pt x="1246" y="1049"/>
                        </a:lnTo>
                        <a:lnTo>
                          <a:pt x="1235" y="1087"/>
                        </a:lnTo>
                        <a:lnTo>
                          <a:pt x="1223" y="1126"/>
                        </a:lnTo>
                        <a:lnTo>
                          <a:pt x="1213" y="1164"/>
                        </a:lnTo>
                        <a:lnTo>
                          <a:pt x="1202" y="1203"/>
                        </a:lnTo>
                        <a:lnTo>
                          <a:pt x="1192" y="1242"/>
                        </a:lnTo>
                        <a:lnTo>
                          <a:pt x="1182" y="1280"/>
                        </a:lnTo>
                        <a:lnTo>
                          <a:pt x="1171" y="1319"/>
                        </a:lnTo>
                        <a:lnTo>
                          <a:pt x="1155" y="1388"/>
                        </a:lnTo>
                        <a:lnTo>
                          <a:pt x="1140" y="1458"/>
                        </a:lnTo>
                        <a:lnTo>
                          <a:pt x="1125" y="1529"/>
                        </a:lnTo>
                        <a:lnTo>
                          <a:pt x="1111" y="1599"/>
                        </a:lnTo>
                        <a:lnTo>
                          <a:pt x="1099" y="1670"/>
                        </a:lnTo>
                        <a:lnTo>
                          <a:pt x="1087" y="1740"/>
                        </a:lnTo>
                        <a:lnTo>
                          <a:pt x="1077" y="1811"/>
                        </a:lnTo>
                        <a:lnTo>
                          <a:pt x="1069" y="1881"/>
                        </a:lnTo>
                        <a:lnTo>
                          <a:pt x="1055" y="1880"/>
                        </a:lnTo>
                        <a:lnTo>
                          <a:pt x="1040" y="1878"/>
                        </a:lnTo>
                        <a:lnTo>
                          <a:pt x="1026" y="1876"/>
                        </a:lnTo>
                        <a:lnTo>
                          <a:pt x="1011" y="1875"/>
                        </a:lnTo>
                        <a:lnTo>
                          <a:pt x="996" y="1873"/>
                        </a:lnTo>
                        <a:lnTo>
                          <a:pt x="981" y="1872"/>
                        </a:lnTo>
                        <a:lnTo>
                          <a:pt x="967" y="1871"/>
                        </a:lnTo>
                        <a:lnTo>
                          <a:pt x="952" y="1869"/>
                        </a:lnTo>
                        <a:lnTo>
                          <a:pt x="922" y="1868"/>
                        </a:lnTo>
                        <a:lnTo>
                          <a:pt x="893" y="1867"/>
                        </a:lnTo>
                        <a:lnTo>
                          <a:pt x="863" y="1865"/>
                        </a:lnTo>
                        <a:lnTo>
                          <a:pt x="833" y="1863"/>
                        </a:lnTo>
                        <a:lnTo>
                          <a:pt x="803" y="1859"/>
                        </a:lnTo>
                        <a:lnTo>
                          <a:pt x="773" y="1857"/>
                        </a:lnTo>
                        <a:lnTo>
                          <a:pt x="743" y="1853"/>
                        </a:lnTo>
                        <a:lnTo>
                          <a:pt x="713" y="1850"/>
                        </a:lnTo>
                        <a:lnTo>
                          <a:pt x="683" y="1846"/>
                        </a:lnTo>
                        <a:lnTo>
                          <a:pt x="654" y="1842"/>
                        </a:lnTo>
                        <a:lnTo>
                          <a:pt x="624" y="1838"/>
                        </a:lnTo>
                        <a:lnTo>
                          <a:pt x="594" y="1834"/>
                        </a:lnTo>
                        <a:lnTo>
                          <a:pt x="564" y="1829"/>
                        </a:lnTo>
                        <a:lnTo>
                          <a:pt x="535" y="1825"/>
                        </a:lnTo>
                        <a:lnTo>
                          <a:pt x="506" y="1820"/>
                        </a:lnTo>
                        <a:lnTo>
                          <a:pt x="477" y="1815"/>
                        </a:lnTo>
                        <a:lnTo>
                          <a:pt x="447" y="1812"/>
                        </a:lnTo>
                        <a:lnTo>
                          <a:pt x="417" y="1807"/>
                        </a:lnTo>
                        <a:lnTo>
                          <a:pt x="388" y="1803"/>
                        </a:lnTo>
                        <a:lnTo>
                          <a:pt x="358" y="1798"/>
                        </a:lnTo>
                        <a:lnTo>
                          <a:pt x="328" y="1793"/>
                        </a:lnTo>
                        <a:lnTo>
                          <a:pt x="298" y="1790"/>
                        </a:lnTo>
                        <a:lnTo>
                          <a:pt x="269" y="1785"/>
                        </a:lnTo>
                        <a:lnTo>
                          <a:pt x="240" y="1782"/>
                        </a:lnTo>
                        <a:lnTo>
                          <a:pt x="210" y="1778"/>
                        </a:lnTo>
                        <a:lnTo>
                          <a:pt x="180" y="1775"/>
                        </a:lnTo>
                        <a:lnTo>
                          <a:pt x="150" y="1773"/>
                        </a:lnTo>
                        <a:lnTo>
                          <a:pt x="120" y="1769"/>
                        </a:lnTo>
                        <a:lnTo>
                          <a:pt x="90" y="1767"/>
                        </a:lnTo>
                        <a:lnTo>
                          <a:pt x="60" y="1765"/>
                        </a:lnTo>
                        <a:lnTo>
                          <a:pt x="30" y="1764"/>
                        </a:lnTo>
                        <a:lnTo>
                          <a:pt x="0" y="1762"/>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97" name="Freeform 119">
                    <a:extLst>
                      <a:ext uri="{FF2B5EF4-FFF2-40B4-BE49-F238E27FC236}">
                        <a16:creationId xmlns:a16="http://schemas.microsoft.com/office/drawing/2014/main" id="{DC24B3C5-7D14-41DB-A5A5-AD15C7B21B04}"/>
                      </a:ext>
                    </a:extLst>
                  </p:cNvPr>
                  <p:cNvSpPr>
                    <a:spLocks/>
                  </p:cNvSpPr>
                  <p:nvPr/>
                </p:nvSpPr>
                <p:spPr bwMode="auto">
                  <a:xfrm>
                    <a:off x="6961794" y="945914"/>
                    <a:ext cx="221776" cy="197070"/>
                  </a:xfrm>
                  <a:custGeom>
                    <a:avLst/>
                    <a:gdLst>
                      <a:gd name="T0" fmla="*/ 2147483646 w 1506"/>
                      <a:gd name="T1" fmla="*/ 2147483646 h 1965"/>
                      <a:gd name="T2" fmla="*/ 2147483646 w 1506"/>
                      <a:gd name="T3" fmla="*/ 2147483646 h 1965"/>
                      <a:gd name="T4" fmla="*/ 2147483646 w 1506"/>
                      <a:gd name="T5" fmla="*/ 2147483646 h 1965"/>
                      <a:gd name="T6" fmla="*/ 2147483646 w 1506"/>
                      <a:gd name="T7" fmla="*/ 2147483646 h 1965"/>
                      <a:gd name="T8" fmla="*/ 2147483646 w 1506"/>
                      <a:gd name="T9" fmla="*/ 2147483646 h 1965"/>
                      <a:gd name="T10" fmla="*/ 2147483646 w 1506"/>
                      <a:gd name="T11" fmla="*/ 2147483646 h 1965"/>
                      <a:gd name="T12" fmla="*/ 2147483646 w 1506"/>
                      <a:gd name="T13" fmla="*/ 2147483646 h 1965"/>
                      <a:gd name="T14" fmla="*/ 2147483646 w 1506"/>
                      <a:gd name="T15" fmla="*/ 2147483646 h 1965"/>
                      <a:gd name="T16" fmla="*/ 2147483646 w 1506"/>
                      <a:gd name="T17" fmla="*/ 2147483646 h 1965"/>
                      <a:gd name="T18" fmla="*/ 2147483646 w 1506"/>
                      <a:gd name="T19" fmla="*/ 2147483646 h 1965"/>
                      <a:gd name="T20" fmla="*/ 2147483646 w 1506"/>
                      <a:gd name="T21" fmla="*/ 2147483646 h 1965"/>
                      <a:gd name="T22" fmla="*/ 2147483646 w 1506"/>
                      <a:gd name="T23" fmla="*/ 2147483646 h 1965"/>
                      <a:gd name="T24" fmla="*/ 2147483646 w 1506"/>
                      <a:gd name="T25" fmla="*/ 2147483646 h 1965"/>
                      <a:gd name="T26" fmla="*/ 2147483646 w 1506"/>
                      <a:gd name="T27" fmla="*/ 2147483646 h 1965"/>
                      <a:gd name="T28" fmla="*/ 2147483646 w 1506"/>
                      <a:gd name="T29" fmla="*/ 2147483646 h 1965"/>
                      <a:gd name="T30" fmla="*/ 2147483646 w 1506"/>
                      <a:gd name="T31" fmla="*/ 2147483646 h 1965"/>
                      <a:gd name="T32" fmla="*/ 2147483646 w 1506"/>
                      <a:gd name="T33" fmla="*/ 2147483646 h 1965"/>
                      <a:gd name="T34" fmla="*/ 2147483646 w 1506"/>
                      <a:gd name="T35" fmla="*/ 2147483646 h 1965"/>
                      <a:gd name="T36" fmla="*/ 2147483646 w 1506"/>
                      <a:gd name="T37" fmla="*/ 2147483646 h 1965"/>
                      <a:gd name="T38" fmla="*/ 2147483646 w 1506"/>
                      <a:gd name="T39" fmla="*/ 2147483646 h 1965"/>
                      <a:gd name="T40" fmla="*/ 2147483646 w 1506"/>
                      <a:gd name="T41" fmla="*/ 2147483646 h 1965"/>
                      <a:gd name="T42" fmla="*/ 2147483646 w 1506"/>
                      <a:gd name="T43" fmla="*/ 2147483646 h 1965"/>
                      <a:gd name="T44" fmla="*/ 2147483646 w 1506"/>
                      <a:gd name="T45" fmla="*/ 2147483646 h 1965"/>
                      <a:gd name="T46" fmla="*/ 2147483646 w 1506"/>
                      <a:gd name="T47" fmla="*/ 2147483646 h 1965"/>
                      <a:gd name="T48" fmla="*/ 2147483646 w 1506"/>
                      <a:gd name="T49" fmla="*/ 2147483646 h 1965"/>
                      <a:gd name="T50" fmla="*/ 2147483646 w 1506"/>
                      <a:gd name="T51" fmla="*/ 2147483646 h 1965"/>
                      <a:gd name="T52" fmla="*/ 2147483646 w 1506"/>
                      <a:gd name="T53" fmla="*/ 2147483646 h 1965"/>
                      <a:gd name="T54" fmla="*/ 2147483646 w 1506"/>
                      <a:gd name="T55" fmla="*/ 2147483646 h 1965"/>
                      <a:gd name="T56" fmla="*/ 2147483646 w 1506"/>
                      <a:gd name="T57" fmla="*/ 2147483646 h 1965"/>
                      <a:gd name="T58" fmla="*/ 2147483646 w 1506"/>
                      <a:gd name="T59" fmla="*/ 2147483646 h 1965"/>
                      <a:gd name="T60" fmla="*/ 2147483646 w 1506"/>
                      <a:gd name="T61" fmla="*/ 2147483646 h 1965"/>
                      <a:gd name="T62" fmla="*/ 2147483646 w 1506"/>
                      <a:gd name="T63" fmla="*/ 2147483646 h 1965"/>
                      <a:gd name="T64" fmla="*/ 2147483646 w 1506"/>
                      <a:gd name="T65" fmla="*/ 2147483646 h 1965"/>
                      <a:gd name="T66" fmla="*/ 2147483646 w 1506"/>
                      <a:gd name="T67" fmla="*/ 2147483646 h 1965"/>
                      <a:gd name="T68" fmla="*/ 2147483646 w 1506"/>
                      <a:gd name="T69" fmla="*/ 2147483646 h 1965"/>
                      <a:gd name="T70" fmla="*/ 2147483646 w 1506"/>
                      <a:gd name="T71" fmla="*/ 2147483646 h 1965"/>
                      <a:gd name="T72" fmla="*/ 2147483646 w 1506"/>
                      <a:gd name="T73" fmla="*/ 2147483646 h 1965"/>
                      <a:gd name="T74" fmla="*/ 2147483646 w 1506"/>
                      <a:gd name="T75" fmla="*/ 2147483646 h 1965"/>
                      <a:gd name="T76" fmla="*/ 2147483646 w 1506"/>
                      <a:gd name="T77" fmla="*/ 2147483646 h 1965"/>
                      <a:gd name="T78" fmla="*/ 2147483646 w 1506"/>
                      <a:gd name="T79" fmla="*/ 2147483646 h 1965"/>
                      <a:gd name="T80" fmla="*/ 2147483646 w 1506"/>
                      <a:gd name="T81" fmla="*/ 2147483646 h 1965"/>
                      <a:gd name="T82" fmla="*/ 2147483646 w 1506"/>
                      <a:gd name="T83" fmla="*/ 2147483646 h 1965"/>
                      <a:gd name="T84" fmla="*/ 2147483646 w 1506"/>
                      <a:gd name="T85" fmla="*/ 2147483646 h 1965"/>
                      <a:gd name="T86" fmla="*/ 2147483646 w 1506"/>
                      <a:gd name="T87" fmla="*/ 2147483646 h 1965"/>
                      <a:gd name="T88" fmla="*/ 2147483646 w 1506"/>
                      <a:gd name="T89" fmla="*/ 2147483646 h 1965"/>
                      <a:gd name="T90" fmla="*/ 0 w 1506"/>
                      <a:gd name="T91" fmla="*/ 2147483646 h 196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6"/>
                      <a:gd name="T139" fmla="*/ 0 h 1965"/>
                      <a:gd name="T140" fmla="*/ 1506 w 1506"/>
                      <a:gd name="T141" fmla="*/ 1965 h 196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6" h="1965">
                        <a:moveTo>
                          <a:pt x="0" y="1856"/>
                        </a:moveTo>
                        <a:lnTo>
                          <a:pt x="10" y="1778"/>
                        </a:lnTo>
                        <a:lnTo>
                          <a:pt x="22" y="1701"/>
                        </a:lnTo>
                        <a:lnTo>
                          <a:pt x="34" y="1624"/>
                        </a:lnTo>
                        <a:lnTo>
                          <a:pt x="48" y="1547"/>
                        </a:lnTo>
                        <a:lnTo>
                          <a:pt x="63" y="1470"/>
                        </a:lnTo>
                        <a:lnTo>
                          <a:pt x="79" y="1392"/>
                        </a:lnTo>
                        <a:lnTo>
                          <a:pt x="95" y="1315"/>
                        </a:lnTo>
                        <a:lnTo>
                          <a:pt x="113" y="1238"/>
                        </a:lnTo>
                        <a:lnTo>
                          <a:pt x="131" y="1162"/>
                        </a:lnTo>
                        <a:lnTo>
                          <a:pt x="148" y="1085"/>
                        </a:lnTo>
                        <a:lnTo>
                          <a:pt x="168" y="1009"/>
                        </a:lnTo>
                        <a:lnTo>
                          <a:pt x="186" y="932"/>
                        </a:lnTo>
                        <a:lnTo>
                          <a:pt x="206" y="856"/>
                        </a:lnTo>
                        <a:lnTo>
                          <a:pt x="225" y="778"/>
                        </a:lnTo>
                        <a:lnTo>
                          <a:pt x="244" y="702"/>
                        </a:lnTo>
                        <a:lnTo>
                          <a:pt x="263" y="625"/>
                        </a:lnTo>
                        <a:lnTo>
                          <a:pt x="283" y="548"/>
                        </a:lnTo>
                        <a:lnTo>
                          <a:pt x="301" y="470"/>
                        </a:lnTo>
                        <a:lnTo>
                          <a:pt x="318" y="391"/>
                        </a:lnTo>
                        <a:lnTo>
                          <a:pt x="334" y="313"/>
                        </a:lnTo>
                        <a:lnTo>
                          <a:pt x="348" y="235"/>
                        </a:lnTo>
                        <a:lnTo>
                          <a:pt x="360" y="156"/>
                        </a:lnTo>
                        <a:lnTo>
                          <a:pt x="371" y="78"/>
                        </a:lnTo>
                        <a:lnTo>
                          <a:pt x="380" y="0"/>
                        </a:lnTo>
                        <a:lnTo>
                          <a:pt x="414" y="1"/>
                        </a:lnTo>
                        <a:lnTo>
                          <a:pt x="448" y="2"/>
                        </a:lnTo>
                        <a:lnTo>
                          <a:pt x="481" y="3"/>
                        </a:lnTo>
                        <a:lnTo>
                          <a:pt x="516" y="6"/>
                        </a:lnTo>
                        <a:lnTo>
                          <a:pt x="549" y="8"/>
                        </a:lnTo>
                        <a:lnTo>
                          <a:pt x="582" y="10"/>
                        </a:lnTo>
                        <a:lnTo>
                          <a:pt x="617" y="14"/>
                        </a:lnTo>
                        <a:lnTo>
                          <a:pt x="650" y="17"/>
                        </a:lnTo>
                        <a:lnTo>
                          <a:pt x="684" y="20"/>
                        </a:lnTo>
                        <a:lnTo>
                          <a:pt x="717" y="24"/>
                        </a:lnTo>
                        <a:lnTo>
                          <a:pt x="751" y="29"/>
                        </a:lnTo>
                        <a:lnTo>
                          <a:pt x="784" y="32"/>
                        </a:lnTo>
                        <a:lnTo>
                          <a:pt x="817" y="37"/>
                        </a:lnTo>
                        <a:lnTo>
                          <a:pt x="852" y="41"/>
                        </a:lnTo>
                        <a:lnTo>
                          <a:pt x="885" y="46"/>
                        </a:lnTo>
                        <a:lnTo>
                          <a:pt x="919" y="50"/>
                        </a:lnTo>
                        <a:lnTo>
                          <a:pt x="952" y="55"/>
                        </a:lnTo>
                        <a:lnTo>
                          <a:pt x="986" y="60"/>
                        </a:lnTo>
                        <a:lnTo>
                          <a:pt x="1019" y="64"/>
                        </a:lnTo>
                        <a:lnTo>
                          <a:pt x="1052" y="69"/>
                        </a:lnTo>
                        <a:lnTo>
                          <a:pt x="1086" y="73"/>
                        </a:lnTo>
                        <a:lnTo>
                          <a:pt x="1119" y="78"/>
                        </a:lnTo>
                        <a:lnTo>
                          <a:pt x="1153" y="82"/>
                        </a:lnTo>
                        <a:lnTo>
                          <a:pt x="1186" y="86"/>
                        </a:lnTo>
                        <a:lnTo>
                          <a:pt x="1219" y="90"/>
                        </a:lnTo>
                        <a:lnTo>
                          <a:pt x="1253" y="94"/>
                        </a:lnTo>
                        <a:lnTo>
                          <a:pt x="1286" y="98"/>
                        </a:lnTo>
                        <a:lnTo>
                          <a:pt x="1320" y="101"/>
                        </a:lnTo>
                        <a:lnTo>
                          <a:pt x="1353" y="105"/>
                        </a:lnTo>
                        <a:lnTo>
                          <a:pt x="1387" y="107"/>
                        </a:lnTo>
                        <a:lnTo>
                          <a:pt x="1421" y="109"/>
                        </a:lnTo>
                        <a:lnTo>
                          <a:pt x="1454" y="112"/>
                        </a:lnTo>
                        <a:lnTo>
                          <a:pt x="1461" y="112"/>
                        </a:lnTo>
                        <a:lnTo>
                          <a:pt x="1467" y="112"/>
                        </a:lnTo>
                        <a:lnTo>
                          <a:pt x="1474" y="110"/>
                        </a:lnTo>
                        <a:lnTo>
                          <a:pt x="1481" y="110"/>
                        </a:lnTo>
                        <a:lnTo>
                          <a:pt x="1488" y="109"/>
                        </a:lnTo>
                        <a:lnTo>
                          <a:pt x="1493" y="109"/>
                        </a:lnTo>
                        <a:lnTo>
                          <a:pt x="1500" y="109"/>
                        </a:lnTo>
                        <a:lnTo>
                          <a:pt x="1506" y="109"/>
                        </a:lnTo>
                        <a:lnTo>
                          <a:pt x="1505" y="152"/>
                        </a:lnTo>
                        <a:lnTo>
                          <a:pt x="1500" y="196"/>
                        </a:lnTo>
                        <a:lnTo>
                          <a:pt x="1495" y="238"/>
                        </a:lnTo>
                        <a:lnTo>
                          <a:pt x="1488" y="281"/>
                        </a:lnTo>
                        <a:lnTo>
                          <a:pt x="1480" y="323"/>
                        </a:lnTo>
                        <a:lnTo>
                          <a:pt x="1470" y="365"/>
                        </a:lnTo>
                        <a:lnTo>
                          <a:pt x="1462" y="408"/>
                        </a:lnTo>
                        <a:lnTo>
                          <a:pt x="1453" y="450"/>
                        </a:lnTo>
                        <a:lnTo>
                          <a:pt x="1443" y="511"/>
                        </a:lnTo>
                        <a:lnTo>
                          <a:pt x="1432" y="572"/>
                        </a:lnTo>
                        <a:lnTo>
                          <a:pt x="1420" y="633"/>
                        </a:lnTo>
                        <a:lnTo>
                          <a:pt x="1407" y="694"/>
                        </a:lnTo>
                        <a:lnTo>
                          <a:pt x="1393" y="754"/>
                        </a:lnTo>
                        <a:lnTo>
                          <a:pt x="1378" y="814"/>
                        </a:lnTo>
                        <a:lnTo>
                          <a:pt x="1363" y="874"/>
                        </a:lnTo>
                        <a:lnTo>
                          <a:pt x="1348" y="934"/>
                        </a:lnTo>
                        <a:lnTo>
                          <a:pt x="1332" y="994"/>
                        </a:lnTo>
                        <a:lnTo>
                          <a:pt x="1316" y="1054"/>
                        </a:lnTo>
                        <a:lnTo>
                          <a:pt x="1300" y="1114"/>
                        </a:lnTo>
                        <a:lnTo>
                          <a:pt x="1284" y="1172"/>
                        </a:lnTo>
                        <a:lnTo>
                          <a:pt x="1268" y="1232"/>
                        </a:lnTo>
                        <a:lnTo>
                          <a:pt x="1253" y="1292"/>
                        </a:lnTo>
                        <a:lnTo>
                          <a:pt x="1238" y="1351"/>
                        </a:lnTo>
                        <a:lnTo>
                          <a:pt x="1223" y="1411"/>
                        </a:lnTo>
                        <a:lnTo>
                          <a:pt x="1207" y="1480"/>
                        </a:lnTo>
                        <a:lnTo>
                          <a:pt x="1193" y="1549"/>
                        </a:lnTo>
                        <a:lnTo>
                          <a:pt x="1180" y="1618"/>
                        </a:lnTo>
                        <a:lnTo>
                          <a:pt x="1167" y="1687"/>
                        </a:lnTo>
                        <a:lnTo>
                          <a:pt x="1157" y="1756"/>
                        </a:lnTo>
                        <a:lnTo>
                          <a:pt x="1146" y="1826"/>
                        </a:lnTo>
                        <a:lnTo>
                          <a:pt x="1136" y="1896"/>
                        </a:lnTo>
                        <a:lnTo>
                          <a:pt x="1126" y="1965"/>
                        </a:lnTo>
                        <a:lnTo>
                          <a:pt x="1094" y="1965"/>
                        </a:lnTo>
                        <a:lnTo>
                          <a:pt x="1062" y="1965"/>
                        </a:lnTo>
                        <a:lnTo>
                          <a:pt x="1029" y="1965"/>
                        </a:lnTo>
                        <a:lnTo>
                          <a:pt x="997" y="1964"/>
                        </a:lnTo>
                        <a:lnTo>
                          <a:pt x="965" y="1962"/>
                        </a:lnTo>
                        <a:lnTo>
                          <a:pt x="933" y="1959"/>
                        </a:lnTo>
                        <a:lnTo>
                          <a:pt x="900" y="1957"/>
                        </a:lnTo>
                        <a:lnTo>
                          <a:pt x="868" y="1953"/>
                        </a:lnTo>
                        <a:lnTo>
                          <a:pt x="837" y="1951"/>
                        </a:lnTo>
                        <a:lnTo>
                          <a:pt x="805" y="1947"/>
                        </a:lnTo>
                        <a:lnTo>
                          <a:pt x="774" y="1943"/>
                        </a:lnTo>
                        <a:lnTo>
                          <a:pt x="741" y="1938"/>
                        </a:lnTo>
                        <a:lnTo>
                          <a:pt x="710" y="1935"/>
                        </a:lnTo>
                        <a:lnTo>
                          <a:pt x="678" y="1930"/>
                        </a:lnTo>
                        <a:lnTo>
                          <a:pt x="647" y="1926"/>
                        </a:lnTo>
                        <a:lnTo>
                          <a:pt x="615" y="1920"/>
                        </a:lnTo>
                        <a:lnTo>
                          <a:pt x="582" y="1915"/>
                        </a:lnTo>
                        <a:lnTo>
                          <a:pt x="551" y="1911"/>
                        </a:lnTo>
                        <a:lnTo>
                          <a:pt x="519" y="1906"/>
                        </a:lnTo>
                        <a:lnTo>
                          <a:pt x="488" y="1902"/>
                        </a:lnTo>
                        <a:lnTo>
                          <a:pt x="456" y="1897"/>
                        </a:lnTo>
                        <a:lnTo>
                          <a:pt x="424" y="1892"/>
                        </a:lnTo>
                        <a:lnTo>
                          <a:pt x="392" y="1889"/>
                        </a:lnTo>
                        <a:lnTo>
                          <a:pt x="360" y="1884"/>
                        </a:lnTo>
                        <a:lnTo>
                          <a:pt x="328" y="1881"/>
                        </a:lnTo>
                        <a:lnTo>
                          <a:pt x="296" y="1877"/>
                        </a:lnTo>
                        <a:lnTo>
                          <a:pt x="263" y="1874"/>
                        </a:lnTo>
                        <a:lnTo>
                          <a:pt x="231" y="1872"/>
                        </a:lnTo>
                        <a:lnTo>
                          <a:pt x="198" y="1869"/>
                        </a:lnTo>
                        <a:lnTo>
                          <a:pt x="166" y="1868"/>
                        </a:lnTo>
                        <a:lnTo>
                          <a:pt x="133" y="1867"/>
                        </a:lnTo>
                        <a:lnTo>
                          <a:pt x="100" y="1866"/>
                        </a:lnTo>
                        <a:lnTo>
                          <a:pt x="87" y="1865"/>
                        </a:lnTo>
                        <a:lnTo>
                          <a:pt x="75" y="1864"/>
                        </a:lnTo>
                        <a:lnTo>
                          <a:pt x="62" y="1862"/>
                        </a:lnTo>
                        <a:lnTo>
                          <a:pt x="50" y="1860"/>
                        </a:lnTo>
                        <a:lnTo>
                          <a:pt x="38" y="1859"/>
                        </a:lnTo>
                        <a:lnTo>
                          <a:pt x="25" y="1858"/>
                        </a:lnTo>
                        <a:lnTo>
                          <a:pt x="12" y="1857"/>
                        </a:lnTo>
                        <a:lnTo>
                          <a:pt x="0" y="18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98" name="Freeform 120">
                    <a:extLst>
                      <a:ext uri="{FF2B5EF4-FFF2-40B4-BE49-F238E27FC236}">
                        <a16:creationId xmlns:a16="http://schemas.microsoft.com/office/drawing/2014/main" id="{2323FF0C-BF77-41E1-B0B9-C58355CF7BCD}"/>
                      </a:ext>
                    </a:extLst>
                  </p:cNvPr>
                  <p:cNvSpPr>
                    <a:spLocks/>
                  </p:cNvSpPr>
                  <p:nvPr/>
                </p:nvSpPr>
                <p:spPr bwMode="auto">
                  <a:xfrm>
                    <a:off x="6966500" y="942904"/>
                    <a:ext cx="212952" cy="188449"/>
                  </a:xfrm>
                  <a:custGeom>
                    <a:avLst/>
                    <a:gdLst>
                      <a:gd name="T0" fmla="*/ 2147483646 w 1448"/>
                      <a:gd name="T1" fmla="*/ 2147483646 h 1880"/>
                      <a:gd name="T2" fmla="*/ 2147483646 w 1448"/>
                      <a:gd name="T3" fmla="*/ 2147483646 h 1880"/>
                      <a:gd name="T4" fmla="*/ 2147483646 w 1448"/>
                      <a:gd name="T5" fmla="*/ 2147483646 h 1880"/>
                      <a:gd name="T6" fmla="*/ 2147483646 w 1448"/>
                      <a:gd name="T7" fmla="*/ 2147483646 h 1880"/>
                      <a:gd name="T8" fmla="*/ 2147483646 w 1448"/>
                      <a:gd name="T9" fmla="*/ 2147483646 h 1880"/>
                      <a:gd name="T10" fmla="*/ 2147483646 w 1448"/>
                      <a:gd name="T11" fmla="*/ 2147483646 h 1880"/>
                      <a:gd name="T12" fmla="*/ 2147483646 w 1448"/>
                      <a:gd name="T13" fmla="*/ 2147483646 h 1880"/>
                      <a:gd name="T14" fmla="*/ 2147483646 w 1448"/>
                      <a:gd name="T15" fmla="*/ 2147483646 h 1880"/>
                      <a:gd name="T16" fmla="*/ 2147483646 w 1448"/>
                      <a:gd name="T17" fmla="*/ 2147483646 h 1880"/>
                      <a:gd name="T18" fmla="*/ 2147483646 w 1448"/>
                      <a:gd name="T19" fmla="*/ 0 h 1880"/>
                      <a:gd name="T20" fmla="*/ 2147483646 w 1448"/>
                      <a:gd name="T21" fmla="*/ 2147483646 h 1880"/>
                      <a:gd name="T22" fmla="*/ 2147483646 w 1448"/>
                      <a:gd name="T23" fmla="*/ 2147483646 h 1880"/>
                      <a:gd name="T24" fmla="*/ 2147483646 w 1448"/>
                      <a:gd name="T25" fmla="*/ 2147483646 h 1880"/>
                      <a:gd name="T26" fmla="*/ 2147483646 w 1448"/>
                      <a:gd name="T27" fmla="*/ 2147483646 h 1880"/>
                      <a:gd name="T28" fmla="*/ 2147483646 w 1448"/>
                      <a:gd name="T29" fmla="*/ 2147483646 h 1880"/>
                      <a:gd name="T30" fmla="*/ 2147483646 w 1448"/>
                      <a:gd name="T31" fmla="*/ 2147483646 h 1880"/>
                      <a:gd name="T32" fmla="*/ 2147483646 w 1448"/>
                      <a:gd name="T33" fmla="*/ 2147483646 h 1880"/>
                      <a:gd name="T34" fmla="*/ 2147483646 w 1448"/>
                      <a:gd name="T35" fmla="*/ 2147483646 h 1880"/>
                      <a:gd name="T36" fmla="*/ 2147483646 w 1448"/>
                      <a:gd name="T37" fmla="*/ 2147483646 h 1880"/>
                      <a:gd name="T38" fmla="*/ 2147483646 w 1448"/>
                      <a:gd name="T39" fmla="*/ 2147483646 h 1880"/>
                      <a:gd name="T40" fmla="*/ 2147483646 w 1448"/>
                      <a:gd name="T41" fmla="*/ 2147483646 h 1880"/>
                      <a:gd name="T42" fmla="*/ 2147483646 w 1448"/>
                      <a:gd name="T43" fmla="*/ 2147483646 h 1880"/>
                      <a:gd name="T44" fmla="*/ 2147483646 w 1448"/>
                      <a:gd name="T45" fmla="*/ 2147483646 h 1880"/>
                      <a:gd name="T46" fmla="*/ 2147483646 w 1448"/>
                      <a:gd name="T47" fmla="*/ 2147483646 h 1880"/>
                      <a:gd name="T48" fmla="*/ 2147483646 w 1448"/>
                      <a:gd name="T49" fmla="*/ 2147483646 h 1880"/>
                      <a:gd name="T50" fmla="*/ 2147483646 w 1448"/>
                      <a:gd name="T51" fmla="*/ 2147483646 h 1880"/>
                      <a:gd name="T52" fmla="*/ 2147483646 w 1448"/>
                      <a:gd name="T53" fmla="*/ 2147483646 h 1880"/>
                      <a:gd name="T54" fmla="*/ 2147483646 w 1448"/>
                      <a:gd name="T55" fmla="*/ 2147483646 h 1880"/>
                      <a:gd name="T56" fmla="*/ 2147483646 w 1448"/>
                      <a:gd name="T57" fmla="*/ 2147483646 h 1880"/>
                      <a:gd name="T58" fmla="*/ 2147483646 w 1448"/>
                      <a:gd name="T59" fmla="*/ 2147483646 h 1880"/>
                      <a:gd name="T60" fmla="*/ 2147483646 w 1448"/>
                      <a:gd name="T61" fmla="*/ 2147483646 h 1880"/>
                      <a:gd name="T62" fmla="*/ 2147483646 w 1448"/>
                      <a:gd name="T63" fmla="*/ 2147483646 h 1880"/>
                      <a:gd name="T64" fmla="*/ 2147483646 w 1448"/>
                      <a:gd name="T65" fmla="*/ 2147483646 h 1880"/>
                      <a:gd name="T66" fmla="*/ 2147483646 w 1448"/>
                      <a:gd name="T67" fmla="*/ 2147483646 h 1880"/>
                      <a:gd name="T68" fmla="*/ 2147483646 w 1448"/>
                      <a:gd name="T69" fmla="*/ 2147483646 h 1880"/>
                      <a:gd name="T70" fmla="*/ 2147483646 w 1448"/>
                      <a:gd name="T71" fmla="*/ 2147483646 h 1880"/>
                      <a:gd name="T72" fmla="*/ 2147483646 w 1448"/>
                      <a:gd name="T73" fmla="*/ 2147483646 h 1880"/>
                      <a:gd name="T74" fmla="*/ 2147483646 w 1448"/>
                      <a:gd name="T75" fmla="*/ 2147483646 h 1880"/>
                      <a:gd name="T76" fmla="*/ 2147483646 w 1448"/>
                      <a:gd name="T77" fmla="*/ 2147483646 h 1880"/>
                      <a:gd name="T78" fmla="*/ 2147483646 w 1448"/>
                      <a:gd name="T79" fmla="*/ 2147483646 h 1880"/>
                      <a:gd name="T80" fmla="*/ 2147483646 w 1448"/>
                      <a:gd name="T81" fmla="*/ 2147483646 h 1880"/>
                      <a:gd name="T82" fmla="*/ 2147483646 w 1448"/>
                      <a:gd name="T83" fmla="*/ 2147483646 h 1880"/>
                      <a:gd name="T84" fmla="*/ 2147483646 w 1448"/>
                      <a:gd name="T85" fmla="*/ 2147483646 h 1880"/>
                      <a:gd name="T86" fmla="*/ 2147483646 w 1448"/>
                      <a:gd name="T87" fmla="*/ 2147483646 h 18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48"/>
                      <a:gd name="T133" fmla="*/ 0 h 1880"/>
                      <a:gd name="T134" fmla="*/ 1448 w 1448"/>
                      <a:gd name="T135" fmla="*/ 1880 h 18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48" h="1880">
                        <a:moveTo>
                          <a:pt x="0" y="1762"/>
                        </a:moveTo>
                        <a:lnTo>
                          <a:pt x="13" y="1668"/>
                        </a:lnTo>
                        <a:lnTo>
                          <a:pt x="26" y="1575"/>
                        </a:lnTo>
                        <a:lnTo>
                          <a:pt x="44" y="1480"/>
                        </a:lnTo>
                        <a:lnTo>
                          <a:pt x="62" y="1386"/>
                        </a:lnTo>
                        <a:lnTo>
                          <a:pt x="82" y="1291"/>
                        </a:lnTo>
                        <a:lnTo>
                          <a:pt x="104" y="1197"/>
                        </a:lnTo>
                        <a:lnTo>
                          <a:pt x="126" y="1103"/>
                        </a:lnTo>
                        <a:lnTo>
                          <a:pt x="149" y="1010"/>
                        </a:lnTo>
                        <a:lnTo>
                          <a:pt x="158" y="976"/>
                        </a:lnTo>
                        <a:lnTo>
                          <a:pt x="167" y="941"/>
                        </a:lnTo>
                        <a:lnTo>
                          <a:pt x="176" y="906"/>
                        </a:lnTo>
                        <a:lnTo>
                          <a:pt x="185" y="871"/>
                        </a:lnTo>
                        <a:lnTo>
                          <a:pt x="195" y="835"/>
                        </a:lnTo>
                        <a:lnTo>
                          <a:pt x="204" y="799"/>
                        </a:lnTo>
                        <a:lnTo>
                          <a:pt x="213" y="765"/>
                        </a:lnTo>
                        <a:lnTo>
                          <a:pt x="222" y="730"/>
                        </a:lnTo>
                        <a:lnTo>
                          <a:pt x="244" y="651"/>
                        </a:lnTo>
                        <a:lnTo>
                          <a:pt x="266" y="571"/>
                        </a:lnTo>
                        <a:lnTo>
                          <a:pt x="286" y="492"/>
                        </a:lnTo>
                        <a:lnTo>
                          <a:pt x="304" y="412"/>
                        </a:lnTo>
                        <a:lnTo>
                          <a:pt x="321" y="333"/>
                        </a:lnTo>
                        <a:lnTo>
                          <a:pt x="336" y="253"/>
                        </a:lnTo>
                        <a:lnTo>
                          <a:pt x="351" y="173"/>
                        </a:lnTo>
                        <a:lnTo>
                          <a:pt x="364" y="93"/>
                        </a:lnTo>
                        <a:lnTo>
                          <a:pt x="366" y="70"/>
                        </a:lnTo>
                        <a:lnTo>
                          <a:pt x="371" y="46"/>
                        </a:lnTo>
                        <a:lnTo>
                          <a:pt x="373" y="23"/>
                        </a:lnTo>
                        <a:lnTo>
                          <a:pt x="372" y="0"/>
                        </a:lnTo>
                        <a:lnTo>
                          <a:pt x="396" y="0"/>
                        </a:lnTo>
                        <a:lnTo>
                          <a:pt x="420" y="0"/>
                        </a:lnTo>
                        <a:lnTo>
                          <a:pt x="445" y="1"/>
                        </a:lnTo>
                        <a:lnTo>
                          <a:pt x="469" y="2"/>
                        </a:lnTo>
                        <a:lnTo>
                          <a:pt x="493" y="3"/>
                        </a:lnTo>
                        <a:lnTo>
                          <a:pt x="517" y="4"/>
                        </a:lnTo>
                        <a:lnTo>
                          <a:pt x="540" y="7"/>
                        </a:lnTo>
                        <a:lnTo>
                          <a:pt x="564" y="9"/>
                        </a:lnTo>
                        <a:lnTo>
                          <a:pt x="587" y="11"/>
                        </a:lnTo>
                        <a:lnTo>
                          <a:pt x="611" y="14"/>
                        </a:lnTo>
                        <a:lnTo>
                          <a:pt x="635" y="16"/>
                        </a:lnTo>
                        <a:lnTo>
                          <a:pt x="658" y="19"/>
                        </a:lnTo>
                        <a:lnTo>
                          <a:pt x="682" y="22"/>
                        </a:lnTo>
                        <a:lnTo>
                          <a:pt x="706" y="24"/>
                        </a:lnTo>
                        <a:lnTo>
                          <a:pt x="729" y="26"/>
                        </a:lnTo>
                        <a:lnTo>
                          <a:pt x="753" y="29"/>
                        </a:lnTo>
                        <a:lnTo>
                          <a:pt x="797" y="36"/>
                        </a:lnTo>
                        <a:lnTo>
                          <a:pt x="840" y="42"/>
                        </a:lnTo>
                        <a:lnTo>
                          <a:pt x="882" y="49"/>
                        </a:lnTo>
                        <a:lnTo>
                          <a:pt x="926" y="56"/>
                        </a:lnTo>
                        <a:lnTo>
                          <a:pt x="969" y="63"/>
                        </a:lnTo>
                        <a:lnTo>
                          <a:pt x="1011" y="70"/>
                        </a:lnTo>
                        <a:lnTo>
                          <a:pt x="1055" y="77"/>
                        </a:lnTo>
                        <a:lnTo>
                          <a:pt x="1097" y="83"/>
                        </a:lnTo>
                        <a:lnTo>
                          <a:pt x="1140" y="89"/>
                        </a:lnTo>
                        <a:lnTo>
                          <a:pt x="1184" y="94"/>
                        </a:lnTo>
                        <a:lnTo>
                          <a:pt x="1226" y="99"/>
                        </a:lnTo>
                        <a:lnTo>
                          <a:pt x="1270" y="102"/>
                        </a:lnTo>
                        <a:lnTo>
                          <a:pt x="1314" y="106"/>
                        </a:lnTo>
                        <a:lnTo>
                          <a:pt x="1359" y="108"/>
                        </a:lnTo>
                        <a:lnTo>
                          <a:pt x="1403" y="109"/>
                        </a:lnTo>
                        <a:lnTo>
                          <a:pt x="1448" y="110"/>
                        </a:lnTo>
                        <a:lnTo>
                          <a:pt x="1440" y="167"/>
                        </a:lnTo>
                        <a:lnTo>
                          <a:pt x="1430" y="222"/>
                        </a:lnTo>
                        <a:lnTo>
                          <a:pt x="1421" y="279"/>
                        </a:lnTo>
                        <a:lnTo>
                          <a:pt x="1411" y="335"/>
                        </a:lnTo>
                        <a:lnTo>
                          <a:pt x="1400" y="392"/>
                        </a:lnTo>
                        <a:lnTo>
                          <a:pt x="1390" y="447"/>
                        </a:lnTo>
                        <a:lnTo>
                          <a:pt x="1380" y="503"/>
                        </a:lnTo>
                        <a:lnTo>
                          <a:pt x="1368" y="560"/>
                        </a:lnTo>
                        <a:lnTo>
                          <a:pt x="1355" y="615"/>
                        </a:lnTo>
                        <a:lnTo>
                          <a:pt x="1343" y="671"/>
                        </a:lnTo>
                        <a:lnTo>
                          <a:pt x="1330" y="728"/>
                        </a:lnTo>
                        <a:lnTo>
                          <a:pt x="1317" y="784"/>
                        </a:lnTo>
                        <a:lnTo>
                          <a:pt x="1302" y="840"/>
                        </a:lnTo>
                        <a:lnTo>
                          <a:pt x="1289" y="896"/>
                        </a:lnTo>
                        <a:lnTo>
                          <a:pt x="1274" y="952"/>
                        </a:lnTo>
                        <a:lnTo>
                          <a:pt x="1258" y="1009"/>
                        </a:lnTo>
                        <a:lnTo>
                          <a:pt x="1245" y="1048"/>
                        </a:lnTo>
                        <a:lnTo>
                          <a:pt x="1233" y="1087"/>
                        </a:lnTo>
                        <a:lnTo>
                          <a:pt x="1223" y="1125"/>
                        </a:lnTo>
                        <a:lnTo>
                          <a:pt x="1213" y="1163"/>
                        </a:lnTo>
                        <a:lnTo>
                          <a:pt x="1202" y="1202"/>
                        </a:lnTo>
                        <a:lnTo>
                          <a:pt x="1192" y="1240"/>
                        </a:lnTo>
                        <a:lnTo>
                          <a:pt x="1182" y="1280"/>
                        </a:lnTo>
                        <a:lnTo>
                          <a:pt x="1171" y="1319"/>
                        </a:lnTo>
                        <a:lnTo>
                          <a:pt x="1155" y="1388"/>
                        </a:lnTo>
                        <a:lnTo>
                          <a:pt x="1140" y="1458"/>
                        </a:lnTo>
                        <a:lnTo>
                          <a:pt x="1126" y="1528"/>
                        </a:lnTo>
                        <a:lnTo>
                          <a:pt x="1112" y="1599"/>
                        </a:lnTo>
                        <a:lnTo>
                          <a:pt x="1100" y="1669"/>
                        </a:lnTo>
                        <a:lnTo>
                          <a:pt x="1088" y="1739"/>
                        </a:lnTo>
                        <a:lnTo>
                          <a:pt x="1078" y="1810"/>
                        </a:lnTo>
                        <a:lnTo>
                          <a:pt x="1069" y="1880"/>
                        </a:lnTo>
                        <a:lnTo>
                          <a:pt x="1054" y="1879"/>
                        </a:lnTo>
                        <a:lnTo>
                          <a:pt x="1040" y="1878"/>
                        </a:lnTo>
                        <a:lnTo>
                          <a:pt x="1025" y="1876"/>
                        </a:lnTo>
                        <a:lnTo>
                          <a:pt x="1011" y="1874"/>
                        </a:lnTo>
                        <a:lnTo>
                          <a:pt x="996" y="1873"/>
                        </a:lnTo>
                        <a:lnTo>
                          <a:pt x="981" y="1872"/>
                        </a:lnTo>
                        <a:lnTo>
                          <a:pt x="967" y="1871"/>
                        </a:lnTo>
                        <a:lnTo>
                          <a:pt x="952" y="1869"/>
                        </a:lnTo>
                        <a:lnTo>
                          <a:pt x="922" y="1868"/>
                        </a:lnTo>
                        <a:lnTo>
                          <a:pt x="891" y="1867"/>
                        </a:lnTo>
                        <a:lnTo>
                          <a:pt x="861" y="1865"/>
                        </a:lnTo>
                        <a:lnTo>
                          <a:pt x="831" y="1863"/>
                        </a:lnTo>
                        <a:lnTo>
                          <a:pt x="802" y="1859"/>
                        </a:lnTo>
                        <a:lnTo>
                          <a:pt x="772" y="1857"/>
                        </a:lnTo>
                        <a:lnTo>
                          <a:pt x="742" y="1853"/>
                        </a:lnTo>
                        <a:lnTo>
                          <a:pt x="713" y="1850"/>
                        </a:lnTo>
                        <a:lnTo>
                          <a:pt x="683" y="1846"/>
                        </a:lnTo>
                        <a:lnTo>
                          <a:pt x="653" y="1842"/>
                        </a:lnTo>
                        <a:lnTo>
                          <a:pt x="623" y="1837"/>
                        </a:lnTo>
                        <a:lnTo>
                          <a:pt x="594" y="1834"/>
                        </a:lnTo>
                        <a:lnTo>
                          <a:pt x="564" y="1829"/>
                        </a:lnTo>
                        <a:lnTo>
                          <a:pt x="534" y="1825"/>
                        </a:lnTo>
                        <a:lnTo>
                          <a:pt x="506" y="1820"/>
                        </a:lnTo>
                        <a:lnTo>
                          <a:pt x="476" y="1815"/>
                        </a:lnTo>
                        <a:lnTo>
                          <a:pt x="447" y="1811"/>
                        </a:lnTo>
                        <a:lnTo>
                          <a:pt x="417" y="1806"/>
                        </a:lnTo>
                        <a:lnTo>
                          <a:pt x="387" y="1801"/>
                        </a:lnTo>
                        <a:lnTo>
                          <a:pt x="358" y="1798"/>
                        </a:lnTo>
                        <a:lnTo>
                          <a:pt x="328" y="1793"/>
                        </a:lnTo>
                        <a:lnTo>
                          <a:pt x="298" y="1789"/>
                        </a:lnTo>
                        <a:lnTo>
                          <a:pt x="269" y="1785"/>
                        </a:lnTo>
                        <a:lnTo>
                          <a:pt x="240" y="1782"/>
                        </a:lnTo>
                        <a:lnTo>
                          <a:pt x="210" y="1778"/>
                        </a:lnTo>
                        <a:lnTo>
                          <a:pt x="180" y="1775"/>
                        </a:lnTo>
                        <a:lnTo>
                          <a:pt x="150" y="1772"/>
                        </a:lnTo>
                        <a:lnTo>
                          <a:pt x="120" y="1769"/>
                        </a:lnTo>
                        <a:lnTo>
                          <a:pt x="90" y="1767"/>
                        </a:lnTo>
                        <a:lnTo>
                          <a:pt x="60" y="1765"/>
                        </a:lnTo>
                        <a:lnTo>
                          <a:pt x="30" y="1763"/>
                        </a:lnTo>
                        <a:lnTo>
                          <a:pt x="0" y="1762"/>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99" name="Freeform 121">
                    <a:extLst>
                      <a:ext uri="{FF2B5EF4-FFF2-40B4-BE49-F238E27FC236}">
                        <a16:creationId xmlns:a16="http://schemas.microsoft.com/office/drawing/2014/main" id="{7C7782D7-1CA1-4C8D-9E0D-02AE142DF909}"/>
                      </a:ext>
                    </a:extLst>
                  </p:cNvPr>
                  <p:cNvSpPr>
                    <a:spLocks/>
                  </p:cNvSpPr>
                  <p:nvPr/>
                </p:nvSpPr>
                <p:spPr bwMode="auto">
                  <a:xfrm>
                    <a:off x="6953264" y="928670"/>
                    <a:ext cx="221482" cy="197070"/>
                  </a:xfrm>
                  <a:custGeom>
                    <a:avLst/>
                    <a:gdLst>
                      <a:gd name="T0" fmla="*/ 2147483646 w 1506"/>
                      <a:gd name="T1" fmla="*/ 2147483646 h 1965"/>
                      <a:gd name="T2" fmla="*/ 2147483646 w 1506"/>
                      <a:gd name="T3" fmla="*/ 2147483646 h 1965"/>
                      <a:gd name="T4" fmla="*/ 2147483646 w 1506"/>
                      <a:gd name="T5" fmla="*/ 2147483646 h 1965"/>
                      <a:gd name="T6" fmla="*/ 2147483646 w 1506"/>
                      <a:gd name="T7" fmla="*/ 2147483646 h 1965"/>
                      <a:gd name="T8" fmla="*/ 2147483646 w 1506"/>
                      <a:gd name="T9" fmla="*/ 2147483646 h 1965"/>
                      <a:gd name="T10" fmla="*/ 2147483646 w 1506"/>
                      <a:gd name="T11" fmla="*/ 2147483646 h 1965"/>
                      <a:gd name="T12" fmla="*/ 2147483646 w 1506"/>
                      <a:gd name="T13" fmla="*/ 2147483646 h 1965"/>
                      <a:gd name="T14" fmla="*/ 2147483646 w 1506"/>
                      <a:gd name="T15" fmla="*/ 2147483646 h 1965"/>
                      <a:gd name="T16" fmla="*/ 2147483646 w 1506"/>
                      <a:gd name="T17" fmla="*/ 2147483646 h 1965"/>
                      <a:gd name="T18" fmla="*/ 2147483646 w 1506"/>
                      <a:gd name="T19" fmla="*/ 2147483646 h 1965"/>
                      <a:gd name="T20" fmla="*/ 2147483646 w 1506"/>
                      <a:gd name="T21" fmla="*/ 2147483646 h 1965"/>
                      <a:gd name="T22" fmla="*/ 2147483646 w 1506"/>
                      <a:gd name="T23" fmla="*/ 2147483646 h 1965"/>
                      <a:gd name="T24" fmla="*/ 2147483646 w 1506"/>
                      <a:gd name="T25" fmla="*/ 2147483646 h 1965"/>
                      <a:gd name="T26" fmla="*/ 2147483646 w 1506"/>
                      <a:gd name="T27" fmla="*/ 2147483646 h 1965"/>
                      <a:gd name="T28" fmla="*/ 2147483646 w 1506"/>
                      <a:gd name="T29" fmla="*/ 2147483646 h 1965"/>
                      <a:gd name="T30" fmla="*/ 2147483646 w 1506"/>
                      <a:gd name="T31" fmla="*/ 2147483646 h 1965"/>
                      <a:gd name="T32" fmla="*/ 2147483646 w 1506"/>
                      <a:gd name="T33" fmla="*/ 2147483646 h 1965"/>
                      <a:gd name="T34" fmla="*/ 2147483646 w 1506"/>
                      <a:gd name="T35" fmla="*/ 2147483646 h 1965"/>
                      <a:gd name="T36" fmla="*/ 2147483646 w 1506"/>
                      <a:gd name="T37" fmla="*/ 2147483646 h 1965"/>
                      <a:gd name="T38" fmla="*/ 2147483646 w 1506"/>
                      <a:gd name="T39" fmla="*/ 2147483646 h 1965"/>
                      <a:gd name="T40" fmla="*/ 2147483646 w 1506"/>
                      <a:gd name="T41" fmla="*/ 2147483646 h 1965"/>
                      <a:gd name="T42" fmla="*/ 2147483646 w 1506"/>
                      <a:gd name="T43" fmla="*/ 2147483646 h 1965"/>
                      <a:gd name="T44" fmla="*/ 2147483646 w 1506"/>
                      <a:gd name="T45" fmla="*/ 2147483646 h 1965"/>
                      <a:gd name="T46" fmla="*/ 2147483646 w 1506"/>
                      <a:gd name="T47" fmla="*/ 2147483646 h 1965"/>
                      <a:gd name="T48" fmla="*/ 2147483646 w 1506"/>
                      <a:gd name="T49" fmla="*/ 2147483646 h 1965"/>
                      <a:gd name="T50" fmla="*/ 2147483646 w 1506"/>
                      <a:gd name="T51" fmla="*/ 2147483646 h 1965"/>
                      <a:gd name="T52" fmla="*/ 2147483646 w 1506"/>
                      <a:gd name="T53" fmla="*/ 2147483646 h 1965"/>
                      <a:gd name="T54" fmla="*/ 2147483646 w 1506"/>
                      <a:gd name="T55" fmla="*/ 2147483646 h 1965"/>
                      <a:gd name="T56" fmla="*/ 2147483646 w 1506"/>
                      <a:gd name="T57" fmla="*/ 2147483646 h 1965"/>
                      <a:gd name="T58" fmla="*/ 2147483646 w 1506"/>
                      <a:gd name="T59" fmla="*/ 2147483646 h 1965"/>
                      <a:gd name="T60" fmla="*/ 2147483646 w 1506"/>
                      <a:gd name="T61" fmla="*/ 2147483646 h 1965"/>
                      <a:gd name="T62" fmla="*/ 2147483646 w 1506"/>
                      <a:gd name="T63" fmla="*/ 2147483646 h 1965"/>
                      <a:gd name="T64" fmla="*/ 2147483646 w 1506"/>
                      <a:gd name="T65" fmla="*/ 2147483646 h 1965"/>
                      <a:gd name="T66" fmla="*/ 2147483646 w 1506"/>
                      <a:gd name="T67" fmla="*/ 2147483646 h 1965"/>
                      <a:gd name="T68" fmla="*/ 2147483646 w 1506"/>
                      <a:gd name="T69" fmla="*/ 2147483646 h 1965"/>
                      <a:gd name="T70" fmla="*/ 2147483646 w 1506"/>
                      <a:gd name="T71" fmla="*/ 2147483646 h 1965"/>
                      <a:gd name="T72" fmla="*/ 2147483646 w 1506"/>
                      <a:gd name="T73" fmla="*/ 2147483646 h 1965"/>
                      <a:gd name="T74" fmla="*/ 2147483646 w 1506"/>
                      <a:gd name="T75" fmla="*/ 2147483646 h 1965"/>
                      <a:gd name="T76" fmla="*/ 2147483646 w 1506"/>
                      <a:gd name="T77" fmla="*/ 2147483646 h 1965"/>
                      <a:gd name="T78" fmla="*/ 2147483646 w 1506"/>
                      <a:gd name="T79" fmla="*/ 2147483646 h 1965"/>
                      <a:gd name="T80" fmla="*/ 2147483646 w 1506"/>
                      <a:gd name="T81" fmla="*/ 2147483646 h 1965"/>
                      <a:gd name="T82" fmla="*/ 2147483646 w 1506"/>
                      <a:gd name="T83" fmla="*/ 2147483646 h 1965"/>
                      <a:gd name="T84" fmla="*/ 2147483646 w 1506"/>
                      <a:gd name="T85" fmla="*/ 2147483646 h 1965"/>
                      <a:gd name="T86" fmla="*/ 2147483646 w 1506"/>
                      <a:gd name="T87" fmla="*/ 2147483646 h 1965"/>
                      <a:gd name="T88" fmla="*/ 2147483646 w 1506"/>
                      <a:gd name="T89" fmla="*/ 2147483646 h 1965"/>
                      <a:gd name="T90" fmla="*/ 0 w 1506"/>
                      <a:gd name="T91" fmla="*/ 2147483646 h 196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6"/>
                      <a:gd name="T139" fmla="*/ 0 h 1965"/>
                      <a:gd name="T140" fmla="*/ 1506 w 1506"/>
                      <a:gd name="T141" fmla="*/ 1965 h 196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6" h="1965">
                        <a:moveTo>
                          <a:pt x="0" y="1856"/>
                        </a:moveTo>
                        <a:lnTo>
                          <a:pt x="10" y="1779"/>
                        </a:lnTo>
                        <a:lnTo>
                          <a:pt x="22" y="1700"/>
                        </a:lnTo>
                        <a:lnTo>
                          <a:pt x="35" y="1623"/>
                        </a:lnTo>
                        <a:lnTo>
                          <a:pt x="48" y="1546"/>
                        </a:lnTo>
                        <a:lnTo>
                          <a:pt x="63" y="1469"/>
                        </a:lnTo>
                        <a:lnTo>
                          <a:pt x="79" y="1392"/>
                        </a:lnTo>
                        <a:lnTo>
                          <a:pt x="96" y="1316"/>
                        </a:lnTo>
                        <a:lnTo>
                          <a:pt x="113" y="1238"/>
                        </a:lnTo>
                        <a:lnTo>
                          <a:pt x="130" y="1161"/>
                        </a:lnTo>
                        <a:lnTo>
                          <a:pt x="149" y="1085"/>
                        </a:lnTo>
                        <a:lnTo>
                          <a:pt x="167" y="1008"/>
                        </a:lnTo>
                        <a:lnTo>
                          <a:pt x="187" y="932"/>
                        </a:lnTo>
                        <a:lnTo>
                          <a:pt x="205" y="855"/>
                        </a:lnTo>
                        <a:lnTo>
                          <a:pt x="225" y="778"/>
                        </a:lnTo>
                        <a:lnTo>
                          <a:pt x="244" y="702"/>
                        </a:lnTo>
                        <a:lnTo>
                          <a:pt x="263" y="624"/>
                        </a:lnTo>
                        <a:lnTo>
                          <a:pt x="282" y="547"/>
                        </a:lnTo>
                        <a:lnTo>
                          <a:pt x="301" y="470"/>
                        </a:lnTo>
                        <a:lnTo>
                          <a:pt x="318" y="392"/>
                        </a:lnTo>
                        <a:lnTo>
                          <a:pt x="334" y="313"/>
                        </a:lnTo>
                        <a:lnTo>
                          <a:pt x="348" y="235"/>
                        </a:lnTo>
                        <a:lnTo>
                          <a:pt x="360" y="157"/>
                        </a:lnTo>
                        <a:lnTo>
                          <a:pt x="371" y="78"/>
                        </a:lnTo>
                        <a:lnTo>
                          <a:pt x="380" y="0"/>
                        </a:lnTo>
                        <a:lnTo>
                          <a:pt x="415" y="1"/>
                        </a:lnTo>
                        <a:lnTo>
                          <a:pt x="448" y="2"/>
                        </a:lnTo>
                        <a:lnTo>
                          <a:pt x="481" y="3"/>
                        </a:lnTo>
                        <a:lnTo>
                          <a:pt x="516" y="6"/>
                        </a:lnTo>
                        <a:lnTo>
                          <a:pt x="549" y="8"/>
                        </a:lnTo>
                        <a:lnTo>
                          <a:pt x="583" y="10"/>
                        </a:lnTo>
                        <a:lnTo>
                          <a:pt x="617" y="14"/>
                        </a:lnTo>
                        <a:lnTo>
                          <a:pt x="651" y="17"/>
                        </a:lnTo>
                        <a:lnTo>
                          <a:pt x="684" y="21"/>
                        </a:lnTo>
                        <a:lnTo>
                          <a:pt x="717" y="24"/>
                        </a:lnTo>
                        <a:lnTo>
                          <a:pt x="751" y="28"/>
                        </a:lnTo>
                        <a:lnTo>
                          <a:pt x="784" y="32"/>
                        </a:lnTo>
                        <a:lnTo>
                          <a:pt x="818" y="37"/>
                        </a:lnTo>
                        <a:lnTo>
                          <a:pt x="852" y="40"/>
                        </a:lnTo>
                        <a:lnTo>
                          <a:pt x="886" y="45"/>
                        </a:lnTo>
                        <a:lnTo>
                          <a:pt x="919" y="50"/>
                        </a:lnTo>
                        <a:lnTo>
                          <a:pt x="952" y="54"/>
                        </a:lnTo>
                        <a:lnTo>
                          <a:pt x="986" y="59"/>
                        </a:lnTo>
                        <a:lnTo>
                          <a:pt x="1019" y="63"/>
                        </a:lnTo>
                        <a:lnTo>
                          <a:pt x="1053" y="68"/>
                        </a:lnTo>
                        <a:lnTo>
                          <a:pt x="1086" y="73"/>
                        </a:lnTo>
                        <a:lnTo>
                          <a:pt x="1119" y="77"/>
                        </a:lnTo>
                        <a:lnTo>
                          <a:pt x="1153" y="81"/>
                        </a:lnTo>
                        <a:lnTo>
                          <a:pt x="1186" y="85"/>
                        </a:lnTo>
                        <a:lnTo>
                          <a:pt x="1220" y="90"/>
                        </a:lnTo>
                        <a:lnTo>
                          <a:pt x="1253" y="93"/>
                        </a:lnTo>
                        <a:lnTo>
                          <a:pt x="1286" y="97"/>
                        </a:lnTo>
                        <a:lnTo>
                          <a:pt x="1320" y="100"/>
                        </a:lnTo>
                        <a:lnTo>
                          <a:pt x="1353" y="104"/>
                        </a:lnTo>
                        <a:lnTo>
                          <a:pt x="1388" y="106"/>
                        </a:lnTo>
                        <a:lnTo>
                          <a:pt x="1421" y="108"/>
                        </a:lnTo>
                        <a:lnTo>
                          <a:pt x="1455" y="111"/>
                        </a:lnTo>
                        <a:lnTo>
                          <a:pt x="1461" y="111"/>
                        </a:lnTo>
                        <a:lnTo>
                          <a:pt x="1467" y="111"/>
                        </a:lnTo>
                        <a:lnTo>
                          <a:pt x="1474" y="111"/>
                        </a:lnTo>
                        <a:lnTo>
                          <a:pt x="1481" y="109"/>
                        </a:lnTo>
                        <a:lnTo>
                          <a:pt x="1487" y="108"/>
                        </a:lnTo>
                        <a:lnTo>
                          <a:pt x="1494" y="108"/>
                        </a:lnTo>
                        <a:lnTo>
                          <a:pt x="1499" y="108"/>
                        </a:lnTo>
                        <a:lnTo>
                          <a:pt x="1506" y="108"/>
                        </a:lnTo>
                        <a:lnTo>
                          <a:pt x="1505" y="151"/>
                        </a:lnTo>
                        <a:lnTo>
                          <a:pt x="1501" y="195"/>
                        </a:lnTo>
                        <a:lnTo>
                          <a:pt x="1495" y="237"/>
                        </a:lnTo>
                        <a:lnTo>
                          <a:pt x="1488" y="280"/>
                        </a:lnTo>
                        <a:lnTo>
                          <a:pt x="1480" y="323"/>
                        </a:lnTo>
                        <a:lnTo>
                          <a:pt x="1471" y="365"/>
                        </a:lnTo>
                        <a:lnTo>
                          <a:pt x="1463" y="408"/>
                        </a:lnTo>
                        <a:lnTo>
                          <a:pt x="1453" y="450"/>
                        </a:lnTo>
                        <a:lnTo>
                          <a:pt x="1443" y="511"/>
                        </a:lnTo>
                        <a:lnTo>
                          <a:pt x="1433" y="573"/>
                        </a:lnTo>
                        <a:lnTo>
                          <a:pt x="1420" y="634"/>
                        </a:lnTo>
                        <a:lnTo>
                          <a:pt x="1407" y="693"/>
                        </a:lnTo>
                        <a:lnTo>
                          <a:pt x="1393" y="755"/>
                        </a:lnTo>
                        <a:lnTo>
                          <a:pt x="1379" y="814"/>
                        </a:lnTo>
                        <a:lnTo>
                          <a:pt x="1364" y="874"/>
                        </a:lnTo>
                        <a:lnTo>
                          <a:pt x="1349" y="934"/>
                        </a:lnTo>
                        <a:lnTo>
                          <a:pt x="1332" y="994"/>
                        </a:lnTo>
                        <a:lnTo>
                          <a:pt x="1316" y="1053"/>
                        </a:lnTo>
                        <a:lnTo>
                          <a:pt x="1300" y="1113"/>
                        </a:lnTo>
                        <a:lnTo>
                          <a:pt x="1284" y="1173"/>
                        </a:lnTo>
                        <a:lnTo>
                          <a:pt x="1268" y="1231"/>
                        </a:lnTo>
                        <a:lnTo>
                          <a:pt x="1253" y="1291"/>
                        </a:lnTo>
                        <a:lnTo>
                          <a:pt x="1238" y="1350"/>
                        </a:lnTo>
                        <a:lnTo>
                          <a:pt x="1223" y="1410"/>
                        </a:lnTo>
                        <a:lnTo>
                          <a:pt x="1208" y="1479"/>
                        </a:lnTo>
                        <a:lnTo>
                          <a:pt x="1194" y="1548"/>
                        </a:lnTo>
                        <a:lnTo>
                          <a:pt x="1182" y="1617"/>
                        </a:lnTo>
                        <a:lnTo>
                          <a:pt x="1169" y="1688"/>
                        </a:lnTo>
                        <a:lnTo>
                          <a:pt x="1159" y="1757"/>
                        </a:lnTo>
                        <a:lnTo>
                          <a:pt x="1147" y="1826"/>
                        </a:lnTo>
                        <a:lnTo>
                          <a:pt x="1138" y="1896"/>
                        </a:lnTo>
                        <a:lnTo>
                          <a:pt x="1127" y="1965"/>
                        </a:lnTo>
                        <a:lnTo>
                          <a:pt x="1095" y="1965"/>
                        </a:lnTo>
                        <a:lnTo>
                          <a:pt x="1062" y="1965"/>
                        </a:lnTo>
                        <a:lnTo>
                          <a:pt x="1030" y="1965"/>
                        </a:lnTo>
                        <a:lnTo>
                          <a:pt x="997" y="1964"/>
                        </a:lnTo>
                        <a:lnTo>
                          <a:pt x="965" y="1962"/>
                        </a:lnTo>
                        <a:lnTo>
                          <a:pt x="933" y="1959"/>
                        </a:lnTo>
                        <a:lnTo>
                          <a:pt x="902" y="1957"/>
                        </a:lnTo>
                        <a:lnTo>
                          <a:pt x="869" y="1954"/>
                        </a:lnTo>
                        <a:lnTo>
                          <a:pt x="837" y="1951"/>
                        </a:lnTo>
                        <a:lnTo>
                          <a:pt x="805" y="1947"/>
                        </a:lnTo>
                        <a:lnTo>
                          <a:pt x="774" y="1943"/>
                        </a:lnTo>
                        <a:lnTo>
                          <a:pt x="742" y="1939"/>
                        </a:lnTo>
                        <a:lnTo>
                          <a:pt x="711" y="1934"/>
                        </a:lnTo>
                        <a:lnTo>
                          <a:pt x="678" y="1931"/>
                        </a:lnTo>
                        <a:lnTo>
                          <a:pt x="647" y="1925"/>
                        </a:lnTo>
                        <a:lnTo>
                          <a:pt x="615" y="1920"/>
                        </a:lnTo>
                        <a:lnTo>
                          <a:pt x="584" y="1916"/>
                        </a:lnTo>
                        <a:lnTo>
                          <a:pt x="552" y="1911"/>
                        </a:lnTo>
                        <a:lnTo>
                          <a:pt x="519" y="1906"/>
                        </a:lnTo>
                        <a:lnTo>
                          <a:pt x="488" y="1902"/>
                        </a:lnTo>
                        <a:lnTo>
                          <a:pt x="456" y="1897"/>
                        </a:lnTo>
                        <a:lnTo>
                          <a:pt x="424" y="1893"/>
                        </a:lnTo>
                        <a:lnTo>
                          <a:pt x="393" y="1888"/>
                        </a:lnTo>
                        <a:lnTo>
                          <a:pt x="360" y="1885"/>
                        </a:lnTo>
                        <a:lnTo>
                          <a:pt x="328" y="1881"/>
                        </a:lnTo>
                        <a:lnTo>
                          <a:pt x="296" y="1878"/>
                        </a:lnTo>
                        <a:lnTo>
                          <a:pt x="264" y="1874"/>
                        </a:lnTo>
                        <a:lnTo>
                          <a:pt x="231" y="1872"/>
                        </a:lnTo>
                        <a:lnTo>
                          <a:pt x="198" y="1868"/>
                        </a:lnTo>
                        <a:lnTo>
                          <a:pt x="166" y="1867"/>
                        </a:lnTo>
                        <a:lnTo>
                          <a:pt x="134" y="1866"/>
                        </a:lnTo>
                        <a:lnTo>
                          <a:pt x="100" y="1865"/>
                        </a:lnTo>
                        <a:lnTo>
                          <a:pt x="88" y="1864"/>
                        </a:lnTo>
                        <a:lnTo>
                          <a:pt x="75" y="1863"/>
                        </a:lnTo>
                        <a:lnTo>
                          <a:pt x="62" y="1862"/>
                        </a:lnTo>
                        <a:lnTo>
                          <a:pt x="51" y="1860"/>
                        </a:lnTo>
                        <a:lnTo>
                          <a:pt x="38" y="1859"/>
                        </a:lnTo>
                        <a:lnTo>
                          <a:pt x="25" y="1858"/>
                        </a:lnTo>
                        <a:lnTo>
                          <a:pt x="13" y="1857"/>
                        </a:lnTo>
                        <a:lnTo>
                          <a:pt x="0" y="18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00" name="Freeform 122">
                    <a:extLst>
                      <a:ext uri="{FF2B5EF4-FFF2-40B4-BE49-F238E27FC236}">
                        <a16:creationId xmlns:a16="http://schemas.microsoft.com/office/drawing/2014/main" id="{B878EA13-6841-42D5-A3C3-B366E45B4389}"/>
                      </a:ext>
                    </a:extLst>
                  </p:cNvPr>
                  <p:cNvSpPr>
                    <a:spLocks/>
                  </p:cNvSpPr>
                  <p:nvPr/>
                </p:nvSpPr>
                <p:spPr bwMode="auto">
                  <a:xfrm>
                    <a:off x="6957970" y="933081"/>
                    <a:ext cx="212952" cy="188650"/>
                  </a:xfrm>
                  <a:custGeom>
                    <a:avLst/>
                    <a:gdLst>
                      <a:gd name="T0" fmla="*/ 2147483646 w 1448"/>
                      <a:gd name="T1" fmla="*/ 2147483646 h 1881"/>
                      <a:gd name="T2" fmla="*/ 2147483646 w 1448"/>
                      <a:gd name="T3" fmla="*/ 2147483646 h 1881"/>
                      <a:gd name="T4" fmla="*/ 2147483646 w 1448"/>
                      <a:gd name="T5" fmla="*/ 2147483646 h 1881"/>
                      <a:gd name="T6" fmla="*/ 2147483646 w 1448"/>
                      <a:gd name="T7" fmla="*/ 2147483646 h 1881"/>
                      <a:gd name="T8" fmla="*/ 2147483646 w 1448"/>
                      <a:gd name="T9" fmla="*/ 2147483646 h 1881"/>
                      <a:gd name="T10" fmla="*/ 2147483646 w 1448"/>
                      <a:gd name="T11" fmla="*/ 2147483646 h 1881"/>
                      <a:gd name="T12" fmla="*/ 2147483646 w 1448"/>
                      <a:gd name="T13" fmla="*/ 2147483646 h 1881"/>
                      <a:gd name="T14" fmla="*/ 2147483646 w 1448"/>
                      <a:gd name="T15" fmla="*/ 2147483646 h 1881"/>
                      <a:gd name="T16" fmla="*/ 2147483646 w 1448"/>
                      <a:gd name="T17" fmla="*/ 2147483646 h 1881"/>
                      <a:gd name="T18" fmla="*/ 2147483646 w 1448"/>
                      <a:gd name="T19" fmla="*/ 0 h 1881"/>
                      <a:gd name="T20" fmla="*/ 2147483646 w 1448"/>
                      <a:gd name="T21" fmla="*/ 2147483646 h 1881"/>
                      <a:gd name="T22" fmla="*/ 2147483646 w 1448"/>
                      <a:gd name="T23" fmla="*/ 2147483646 h 1881"/>
                      <a:gd name="T24" fmla="*/ 2147483646 w 1448"/>
                      <a:gd name="T25" fmla="*/ 2147483646 h 1881"/>
                      <a:gd name="T26" fmla="*/ 2147483646 w 1448"/>
                      <a:gd name="T27" fmla="*/ 2147483646 h 1881"/>
                      <a:gd name="T28" fmla="*/ 2147483646 w 1448"/>
                      <a:gd name="T29" fmla="*/ 2147483646 h 1881"/>
                      <a:gd name="T30" fmla="*/ 2147483646 w 1448"/>
                      <a:gd name="T31" fmla="*/ 2147483646 h 1881"/>
                      <a:gd name="T32" fmla="*/ 2147483646 w 1448"/>
                      <a:gd name="T33" fmla="*/ 2147483646 h 1881"/>
                      <a:gd name="T34" fmla="*/ 2147483646 w 1448"/>
                      <a:gd name="T35" fmla="*/ 2147483646 h 1881"/>
                      <a:gd name="T36" fmla="*/ 2147483646 w 1448"/>
                      <a:gd name="T37" fmla="*/ 2147483646 h 1881"/>
                      <a:gd name="T38" fmla="*/ 2147483646 w 1448"/>
                      <a:gd name="T39" fmla="*/ 2147483646 h 1881"/>
                      <a:gd name="T40" fmla="*/ 2147483646 w 1448"/>
                      <a:gd name="T41" fmla="*/ 2147483646 h 1881"/>
                      <a:gd name="T42" fmla="*/ 2147483646 w 1448"/>
                      <a:gd name="T43" fmla="*/ 2147483646 h 1881"/>
                      <a:gd name="T44" fmla="*/ 2147483646 w 1448"/>
                      <a:gd name="T45" fmla="*/ 2147483646 h 1881"/>
                      <a:gd name="T46" fmla="*/ 2147483646 w 1448"/>
                      <a:gd name="T47" fmla="*/ 2147483646 h 1881"/>
                      <a:gd name="T48" fmla="*/ 2147483646 w 1448"/>
                      <a:gd name="T49" fmla="*/ 2147483646 h 1881"/>
                      <a:gd name="T50" fmla="*/ 2147483646 w 1448"/>
                      <a:gd name="T51" fmla="*/ 2147483646 h 1881"/>
                      <a:gd name="T52" fmla="*/ 2147483646 w 1448"/>
                      <a:gd name="T53" fmla="*/ 2147483646 h 1881"/>
                      <a:gd name="T54" fmla="*/ 2147483646 w 1448"/>
                      <a:gd name="T55" fmla="*/ 2147483646 h 1881"/>
                      <a:gd name="T56" fmla="*/ 2147483646 w 1448"/>
                      <a:gd name="T57" fmla="*/ 2147483646 h 1881"/>
                      <a:gd name="T58" fmla="*/ 2147483646 w 1448"/>
                      <a:gd name="T59" fmla="*/ 2147483646 h 1881"/>
                      <a:gd name="T60" fmla="*/ 2147483646 w 1448"/>
                      <a:gd name="T61" fmla="*/ 2147483646 h 1881"/>
                      <a:gd name="T62" fmla="*/ 2147483646 w 1448"/>
                      <a:gd name="T63" fmla="*/ 2147483646 h 1881"/>
                      <a:gd name="T64" fmla="*/ 2147483646 w 1448"/>
                      <a:gd name="T65" fmla="*/ 2147483646 h 1881"/>
                      <a:gd name="T66" fmla="*/ 2147483646 w 1448"/>
                      <a:gd name="T67" fmla="*/ 2147483646 h 1881"/>
                      <a:gd name="T68" fmla="*/ 2147483646 w 1448"/>
                      <a:gd name="T69" fmla="*/ 2147483646 h 1881"/>
                      <a:gd name="T70" fmla="*/ 2147483646 w 1448"/>
                      <a:gd name="T71" fmla="*/ 2147483646 h 1881"/>
                      <a:gd name="T72" fmla="*/ 2147483646 w 1448"/>
                      <a:gd name="T73" fmla="*/ 2147483646 h 1881"/>
                      <a:gd name="T74" fmla="*/ 2147483646 w 1448"/>
                      <a:gd name="T75" fmla="*/ 2147483646 h 1881"/>
                      <a:gd name="T76" fmla="*/ 2147483646 w 1448"/>
                      <a:gd name="T77" fmla="*/ 2147483646 h 1881"/>
                      <a:gd name="T78" fmla="*/ 2147483646 w 1448"/>
                      <a:gd name="T79" fmla="*/ 2147483646 h 1881"/>
                      <a:gd name="T80" fmla="*/ 2147483646 w 1448"/>
                      <a:gd name="T81" fmla="*/ 2147483646 h 1881"/>
                      <a:gd name="T82" fmla="*/ 2147483646 w 1448"/>
                      <a:gd name="T83" fmla="*/ 2147483646 h 1881"/>
                      <a:gd name="T84" fmla="*/ 2147483646 w 1448"/>
                      <a:gd name="T85" fmla="*/ 2147483646 h 1881"/>
                      <a:gd name="T86" fmla="*/ 2147483646 w 1448"/>
                      <a:gd name="T87" fmla="*/ 2147483646 h 188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48"/>
                      <a:gd name="T133" fmla="*/ 0 h 1881"/>
                      <a:gd name="T134" fmla="*/ 1448 w 1448"/>
                      <a:gd name="T135" fmla="*/ 1881 h 188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48" h="1881">
                        <a:moveTo>
                          <a:pt x="0" y="1764"/>
                        </a:moveTo>
                        <a:lnTo>
                          <a:pt x="13" y="1669"/>
                        </a:lnTo>
                        <a:lnTo>
                          <a:pt x="27" y="1576"/>
                        </a:lnTo>
                        <a:lnTo>
                          <a:pt x="44" y="1481"/>
                        </a:lnTo>
                        <a:lnTo>
                          <a:pt x="62" y="1386"/>
                        </a:lnTo>
                        <a:lnTo>
                          <a:pt x="82" y="1292"/>
                        </a:lnTo>
                        <a:lnTo>
                          <a:pt x="103" y="1198"/>
                        </a:lnTo>
                        <a:lnTo>
                          <a:pt x="125" y="1105"/>
                        </a:lnTo>
                        <a:lnTo>
                          <a:pt x="148" y="1012"/>
                        </a:lnTo>
                        <a:lnTo>
                          <a:pt x="157" y="978"/>
                        </a:lnTo>
                        <a:lnTo>
                          <a:pt x="166" y="942"/>
                        </a:lnTo>
                        <a:lnTo>
                          <a:pt x="176" y="907"/>
                        </a:lnTo>
                        <a:lnTo>
                          <a:pt x="186" y="871"/>
                        </a:lnTo>
                        <a:lnTo>
                          <a:pt x="195" y="836"/>
                        </a:lnTo>
                        <a:lnTo>
                          <a:pt x="204" y="801"/>
                        </a:lnTo>
                        <a:lnTo>
                          <a:pt x="213" y="765"/>
                        </a:lnTo>
                        <a:lnTo>
                          <a:pt x="223" y="730"/>
                        </a:lnTo>
                        <a:lnTo>
                          <a:pt x="244" y="651"/>
                        </a:lnTo>
                        <a:lnTo>
                          <a:pt x="266" y="572"/>
                        </a:lnTo>
                        <a:lnTo>
                          <a:pt x="286" y="493"/>
                        </a:lnTo>
                        <a:lnTo>
                          <a:pt x="304" y="413"/>
                        </a:lnTo>
                        <a:lnTo>
                          <a:pt x="322" y="333"/>
                        </a:lnTo>
                        <a:lnTo>
                          <a:pt x="337" y="253"/>
                        </a:lnTo>
                        <a:lnTo>
                          <a:pt x="351" y="174"/>
                        </a:lnTo>
                        <a:lnTo>
                          <a:pt x="364" y="93"/>
                        </a:lnTo>
                        <a:lnTo>
                          <a:pt x="366" y="70"/>
                        </a:lnTo>
                        <a:lnTo>
                          <a:pt x="371" y="47"/>
                        </a:lnTo>
                        <a:lnTo>
                          <a:pt x="373" y="23"/>
                        </a:lnTo>
                        <a:lnTo>
                          <a:pt x="372" y="0"/>
                        </a:lnTo>
                        <a:lnTo>
                          <a:pt x="396" y="0"/>
                        </a:lnTo>
                        <a:lnTo>
                          <a:pt x="421" y="0"/>
                        </a:lnTo>
                        <a:lnTo>
                          <a:pt x="445" y="1"/>
                        </a:lnTo>
                        <a:lnTo>
                          <a:pt x="469" y="2"/>
                        </a:lnTo>
                        <a:lnTo>
                          <a:pt x="493" y="3"/>
                        </a:lnTo>
                        <a:lnTo>
                          <a:pt x="517" y="6"/>
                        </a:lnTo>
                        <a:lnTo>
                          <a:pt x="540" y="8"/>
                        </a:lnTo>
                        <a:lnTo>
                          <a:pt x="565" y="9"/>
                        </a:lnTo>
                        <a:lnTo>
                          <a:pt x="588" y="13"/>
                        </a:lnTo>
                        <a:lnTo>
                          <a:pt x="612" y="15"/>
                        </a:lnTo>
                        <a:lnTo>
                          <a:pt x="635" y="17"/>
                        </a:lnTo>
                        <a:lnTo>
                          <a:pt x="658" y="20"/>
                        </a:lnTo>
                        <a:lnTo>
                          <a:pt x="682" y="22"/>
                        </a:lnTo>
                        <a:lnTo>
                          <a:pt x="706" y="25"/>
                        </a:lnTo>
                        <a:lnTo>
                          <a:pt x="729" y="28"/>
                        </a:lnTo>
                        <a:lnTo>
                          <a:pt x="753" y="30"/>
                        </a:lnTo>
                        <a:lnTo>
                          <a:pt x="797" y="37"/>
                        </a:lnTo>
                        <a:lnTo>
                          <a:pt x="840" y="44"/>
                        </a:lnTo>
                        <a:lnTo>
                          <a:pt x="882" y="51"/>
                        </a:lnTo>
                        <a:lnTo>
                          <a:pt x="926" y="58"/>
                        </a:lnTo>
                        <a:lnTo>
                          <a:pt x="969" y="64"/>
                        </a:lnTo>
                        <a:lnTo>
                          <a:pt x="1011" y="71"/>
                        </a:lnTo>
                        <a:lnTo>
                          <a:pt x="1055" y="78"/>
                        </a:lnTo>
                        <a:lnTo>
                          <a:pt x="1098" y="84"/>
                        </a:lnTo>
                        <a:lnTo>
                          <a:pt x="1140" y="90"/>
                        </a:lnTo>
                        <a:lnTo>
                          <a:pt x="1184" y="96"/>
                        </a:lnTo>
                        <a:lnTo>
                          <a:pt x="1227" y="100"/>
                        </a:lnTo>
                        <a:lnTo>
                          <a:pt x="1271" y="104"/>
                        </a:lnTo>
                        <a:lnTo>
                          <a:pt x="1314" y="107"/>
                        </a:lnTo>
                        <a:lnTo>
                          <a:pt x="1359" y="109"/>
                        </a:lnTo>
                        <a:lnTo>
                          <a:pt x="1403" y="111"/>
                        </a:lnTo>
                        <a:lnTo>
                          <a:pt x="1448" y="112"/>
                        </a:lnTo>
                        <a:lnTo>
                          <a:pt x="1440" y="168"/>
                        </a:lnTo>
                        <a:lnTo>
                          <a:pt x="1431" y="223"/>
                        </a:lnTo>
                        <a:lnTo>
                          <a:pt x="1421" y="280"/>
                        </a:lnTo>
                        <a:lnTo>
                          <a:pt x="1411" y="336"/>
                        </a:lnTo>
                        <a:lnTo>
                          <a:pt x="1401" y="392"/>
                        </a:lnTo>
                        <a:lnTo>
                          <a:pt x="1390" y="448"/>
                        </a:lnTo>
                        <a:lnTo>
                          <a:pt x="1379" y="504"/>
                        </a:lnTo>
                        <a:lnTo>
                          <a:pt x="1367" y="560"/>
                        </a:lnTo>
                        <a:lnTo>
                          <a:pt x="1356" y="616"/>
                        </a:lnTo>
                        <a:lnTo>
                          <a:pt x="1343" y="673"/>
                        </a:lnTo>
                        <a:lnTo>
                          <a:pt x="1330" y="729"/>
                        </a:lnTo>
                        <a:lnTo>
                          <a:pt x="1317" y="786"/>
                        </a:lnTo>
                        <a:lnTo>
                          <a:pt x="1303" y="842"/>
                        </a:lnTo>
                        <a:lnTo>
                          <a:pt x="1288" y="898"/>
                        </a:lnTo>
                        <a:lnTo>
                          <a:pt x="1273" y="955"/>
                        </a:lnTo>
                        <a:lnTo>
                          <a:pt x="1258" y="1011"/>
                        </a:lnTo>
                        <a:lnTo>
                          <a:pt x="1245" y="1050"/>
                        </a:lnTo>
                        <a:lnTo>
                          <a:pt x="1234" y="1089"/>
                        </a:lnTo>
                        <a:lnTo>
                          <a:pt x="1223" y="1127"/>
                        </a:lnTo>
                        <a:lnTo>
                          <a:pt x="1213" y="1165"/>
                        </a:lnTo>
                        <a:lnTo>
                          <a:pt x="1203" y="1204"/>
                        </a:lnTo>
                        <a:lnTo>
                          <a:pt x="1192" y="1242"/>
                        </a:lnTo>
                        <a:lnTo>
                          <a:pt x="1182" y="1281"/>
                        </a:lnTo>
                        <a:lnTo>
                          <a:pt x="1171" y="1320"/>
                        </a:lnTo>
                        <a:lnTo>
                          <a:pt x="1156" y="1389"/>
                        </a:lnTo>
                        <a:lnTo>
                          <a:pt x="1142" y="1459"/>
                        </a:lnTo>
                        <a:lnTo>
                          <a:pt x="1127" y="1530"/>
                        </a:lnTo>
                        <a:lnTo>
                          <a:pt x="1113" y="1600"/>
                        </a:lnTo>
                        <a:lnTo>
                          <a:pt x="1100" y="1670"/>
                        </a:lnTo>
                        <a:lnTo>
                          <a:pt x="1089" y="1741"/>
                        </a:lnTo>
                        <a:lnTo>
                          <a:pt x="1078" y="1811"/>
                        </a:lnTo>
                        <a:lnTo>
                          <a:pt x="1069" y="1881"/>
                        </a:lnTo>
                        <a:lnTo>
                          <a:pt x="1054" y="1880"/>
                        </a:lnTo>
                        <a:lnTo>
                          <a:pt x="1040" y="1879"/>
                        </a:lnTo>
                        <a:lnTo>
                          <a:pt x="1025" y="1876"/>
                        </a:lnTo>
                        <a:lnTo>
                          <a:pt x="1010" y="1875"/>
                        </a:lnTo>
                        <a:lnTo>
                          <a:pt x="995" y="1874"/>
                        </a:lnTo>
                        <a:lnTo>
                          <a:pt x="981" y="1872"/>
                        </a:lnTo>
                        <a:lnTo>
                          <a:pt x="966" y="1871"/>
                        </a:lnTo>
                        <a:lnTo>
                          <a:pt x="953" y="1870"/>
                        </a:lnTo>
                        <a:lnTo>
                          <a:pt x="923" y="1868"/>
                        </a:lnTo>
                        <a:lnTo>
                          <a:pt x="892" y="1867"/>
                        </a:lnTo>
                        <a:lnTo>
                          <a:pt x="862" y="1865"/>
                        </a:lnTo>
                        <a:lnTo>
                          <a:pt x="832" y="1863"/>
                        </a:lnTo>
                        <a:lnTo>
                          <a:pt x="802" y="1860"/>
                        </a:lnTo>
                        <a:lnTo>
                          <a:pt x="772" y="1857"/>
                        </a:lnTo>
                        <a:lnTo>
                          <a:pt x="742" y="1853"/>
                        </a:lnTo>
                        <a:lnTo>
                          <a:pt x="713" y="1850"/>
                        </a:lnTo>
                        <a:lnTo>
                          <a:pt x="683" y="1846"/>
                        </a:lnTo>
                        <a:lnTo>
                          <a:pt x="653" y="1843"/>
                        </a:lnTo>
                        <a:lnTo>
                          <a:pt x="623" y="1838"/>
                        </a:lnTo>
                        <a:lnTo>
                          <a:pt x="594" y="1834"/>
                        </a:lnTo>
                        <a:lnTo>
                          <a:pt x="565" y="1830"/>
                        </a:lnTo>
                        <a:lnTo>
                          <a:pt x="535" y="1826"/>
                        </a:lnTo>
                        <a:lnTo>
                          <a:pt x="506" y="1821"/>
                        </a:lnTo>
                        <a:lnTo>
                          <a:pt x="476" y="1817"/>
                        </a:lnTo>
                        <a:lnTo>
                          <a:pt x="447" y="1812"/>
                        </a:lnTo>
                        <a:lnTo>
                          <a:pt x="417" y="1807"/>
                        </a:lnTo>
                        <a:lnTo>
                          <a:pt x="387" y="1803"/>
                        </a:lnTo>
                        <a:lnTo>
                          <a:pt x="358" y="1799"/>
                        </a:lnTo>
                        <a:lnTo>
                          <a:pt x="328" y="1795"/>
                        </a:lnTo>
                        <a:lnTo>
                          <a:pt x="299" y="1790"/>
                        </a:lnTo>
                        <a:lnTo>
                          <a:pt x="270" y="1787"/>
                        </a:lnTo>
                        <a:lnTo>
                          <a:pt x="240" y="1783"/>
                        </a:lnTo>
                        <a:lnTo>
                          <a:pt x="210" y="1780"/>
                        </a:lnTo>
                        <a:lnTo>
                          <a:pt x="180" y="1776"/>
                        </a:lnTo>
                        <a:lnTo>
                          <a:pt x="150" y="1773"/>
                        </a:lnTo>
                        <a:lnTo>
                          <a:pt x="120" y="1770"/>
                        </a:lnTo>
                        <a:lnTo>
                          <a:pt x="90" y="1768"/>
                        </a:lnTo>
                        <a:lnTo>
                          <a:pt x="60" y="1766"/>
                        </a:lnTo>
                        <a:lnTo>
                          <a:pt x="30" y="1765"/>
                        </a:lnTo>
                        <a:lnTo>
                          <a:pt x="0" y="17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01" name="Freeform 123">
                    <a:extLst>
                      <a:ext uri="{FF2B5EF4-FFF2-40B4-BE49-F238E27FC236}">
                        <a16:creationId xmlns:a16="http://schemas.microsoft.com/office/drawing/2014/main" id="{1B3BB83B-FC93-4D2E-860E-649F962B0EFC}"/>
                      </a:ext>
                    </a:extLst>
                  </p:cNvPr>
                  <p:cNvSpPr>
                    <a:spLocks/>
                  </p:cNvSpPr>
                  <p:nvPr/>
                </p:nvSpPr>
                <p:spPr bwMode="auto">
                  <a:xfrm>
                    <a:off x="6975324" y="948317"/>
                    <a:ext cx="177362" cy="157576"/>
                  </a:xfrm>
                  <a:custGeom>
                    <a:avLst/>
                    <a:gdLst>
                      <a:gd name="T0" fmla="*/ 2147483646 w 1204"/>
                      <a:gd name="T1" fmla="*/ 2147483646 h 1572"/>
                      <a:gd name="T2" fmla="*/ 2147483646 w 1204"/>
                      <a:gd name="T3" fmla="*/ 2147483646 h 1572"/>
                      <a:gd name="T4" fmla="*/ 2147483646 w 1204"/>
                      <a:gd name="T5" fmla="*/ 2147483646 h 1572"/>
                      <a:gd name="T6" fmla="*/ 2147483646 w 1204"/>
                      <a:gd name="T7" fmla="*/ 2147483646 h 1572"/>
                      <a:gd name="T8" fmla="*/ 2147483646 w 1204"/>
                      <a:gd name="T9" fmla="*/ 2147483646 h 1572"/>
                      <a:gd name="T10" fmla="*/ 2147483646 w 1204"/>
                      <a:gd name="T11" fmla="*/ 2147483646 h 1572"/>
                      <a:gd name="T12" fmla="*/ 2147483646 w 1204"/>
                      <a:gd name="T13" fmla="*/ 2147483646 h 1572"/>
                      <a:gd name="T14" fmla="*/ 2147483646 w 1204"/>
                      <a:gd name="T15" fmla="*/ 2147483646 h 1572"/>
                      <a:gd name="T16" fmla="*/ 2147483646 w 1204"/>
                      <a:gd name="T17" fmla="*/ 2147483646 h 1572"/>
                      <a:gd name="T18" fmla="*/ 2147483646 w 1204"/>
                      <a:gd name="T19" fmla="*/ 2147483646 h 1572"/>
                      <a:gd name="T20" fmla="*/ 2147483646 w 1204"/>
                      <a:gd name="T21" fmla="*/ 2147483646 h 1572"/>
                      <a:gd name="T22" fmla="*/ 2147483646 w 1204"/>
                      <a:gd name="T23" fmla="*/ 2147483646 h 1572"/>
                      <a:gd name="T24" fmla="*/ 2147483646 w 1204"/>
                      <a:gd name="T25" fmla="*/ 2147483646 h 1572"/>
                      <a:gd name="T26" fmla="*/ 2147483646 w 1204"/>
                      <a:gd name="T27" fmla="*/ 2147483646 h 1572"/>
                      <a:gd name="T28" fmla="*/ 2147483646 w 1204"/>
                      <a:gd name="T29" fmla="*/ 2147483646 h 1572"/>
                      <a:gd name="T30" fmla="*/ 2147483646 w 1204"/>
                      <a:gd name="T31" fmla="*/ 2147483646 h 1572"/>
                      <a:gd name="T32" fmla="*/ 2147483646 w 1204"/>
                      <a:gd name="T33" fmla="*/ 2147483646 h 1572"/>
                      <a:gd name="T34" fmla="*/ 2147483646 w 1204"/>
                      <a:gd name="T35" fmla="*/ 2147483646 h 1572"/>
                      <a:gd name="T36" fmla="*/ 2147483646 w 1204"/>
                      <a:gd name="T37" fmla="*/ 2147483646 h 1572"/>
                      <a:gd name="T38" fmla="*/ 2147483646 w 1204"/>
                      <a:gd name="T39" fmla="*/ 2147483646 h 1572"/>
                      <a:gd name="T40" fmla="*/ 2147483646 w 1204"/>
                      <a:gd name="T41" fmla="*/ 2147483646 h 1572"/>
                      <a:gd name="T42" fmla="*/ 2147483646 w 1204"/>
                      <a:gd name="T43" fmla="*/ 2147483646 h 1572"/>
                      <a:gd name="T44" fmla="*/ 2147483646 w 1204"/>
                      <a:gd name="T45" fmla="*/ 2147483646 h 1572"/>
                      <a:gd name="T46" fmla="*/ 2147483646 w 1204"/>
                      <a:gd name="T47" fmla="*/ 2147483646 h 1572"/>
                      <a:gd name="T48" fmla="*/ 2147483646 w 1204"/>
                      <a:gd name="T49" fmla="*/ 2147483646 h 1572"/>
                      <a:gd name="T50" fmla="*/ 2147483646 w 1204"/>
                      <a:gd name="T51" fmla="*/ 2147483646 h 1572"/>
                      <a:gd name="T52" fmla="*/ 2147483646 w 1204"/>
                      <a:gd name="T53" fmla="*/ 2147483646 h 1572"/>
                      <a:gd name="T54" fmla="*/ 2147483646 w 1204"/>
                      <a:gd name="T55" fmla="*/ 2147483646 h 1572"/>
                      <a:gd name="T56" fmla="*/ 2147483646 w 1204"/>
                      <a:gd name="T57" fmla="*/ 2147483646 h 1572"/>
                      <a:gd name="T58" fmla="*/ 2147483646 w 1204"/>
                      <a:gd name="T59" fmla="*/ 2147483646 h 1572"/>
                      <a:gd name="T60" fmla="*/ 2147483646 w 1204"/>
                      <a:gd name="T61" fmla="*/ 2147483646 h 1572"/>
                      <a:gd name="T62" fmla="*/ 2147483646 w 1204"/>
                      <a:gd name="T63" fmla="*/ 2147483646 h 1572"/>
                      <a:gd name="T64" fmla="*/ 2147483646 w 1204"/>
                      <a:gd name="T65" fmla="*/ 2147483646 h 1572"/>
                      <a:gd name="T66" fmla="*/ 2147483646 w 1204"/>
                      <a:gd name="T67" fmla="*/ 2147483646 h 1572"/>
                      <a:gd name="T68" fmla="*/ 2147483646 w 1204"/>
                      <a:gd name="T69" fmla="*/ 2147483646 h 1572"/>
                      <a:gd name="T70" fmla="*/ 2147483646 w 1204"/>
                      <a:gd name="T71" fmla="*/ 2147483646 h 1572"/>
                      <a:gd name="T72" fmla="*/ 2147483646 w 1204"/>
                      <a:gd name="T73" fmla="*/ 2147483646 h 1572"/>
                      <a:gd name="T74" fmla="*/ 2147483646 w 1204"/>
                      <a:gd name="T75" fmla="*/ 2147483646 h 1572"/>
                      <a:gd name="T76" fmla="*/ 2147483646 w 1204"/>
                      <a:gd name="T77" fmla="*/ 2147483646 h 1572"/>
                      <a:gd name="T78" fmla="*/ 2147483646 w 1204"/>
                      <a:gd name="T79" fmla="*/ 2147483646 h 1572"/>
                      <a:gd name="T80" fmla="*/ 2147483646 w 1204"/>
                      <a:gd name="T81" fmla="*/ 2147483646 h 1572"/>
                      <a:gd name="T82" fmla="*/ 2147483646 w 1204"/>
                      <a:gd name="T83" fmla="*/ 2147483646 h 1572"/>
                      <a:gd name="T84" fmla="*/ 0 w 1204"/>
                      <a:gd name="T85" fmla="*/ 2147483646 h 157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04"/>
                      <a:gd name="T130" fmla="*/ 0 h 1572"/>
                      <a:gd name="T131" fmla="*/ 1204 w 1204"/>
                      <a:gd name="T132" fmla="*/ 1572 h 157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04" h="1572">
                        <a:moveTo>
                          <a:pt x="0" y="1485"/>
                        </a:moveTo>
                        <a:lnTo>
                          <a:pt x="8" y="1422"/>
                        </a:lnTo>
                        <a:lnTo>
                          <a:pt x="17" y="1360"/>
                        </a:lnTo>
                        <a:lnTo>
                          <a:pt x="28" y="1299"/>
                        </a:lnTo>
                        <a:lnTo>
                          <a:pt x="39" y="1237"/>
                        </a:lnTo>
                        <a:lnTo>
                          <a:pt x="51" y="1175"/>
                        </a:lnTo>
                        <a:lnTo>
                          <a:pt x="63" y="1114"/>
                        </a:lnTo>
                        <a:lnTo>
                          <a:pt x="76" y="1053"/>
                        </a:lnTo>
                        <a:lnTo>
                          <a:pt x="90" y="990"/>
                        </a:lnTo>
                        <a:lnTo>
                          <a:pt x="105" y="929"/>
                        </a:lnTo>
                        <a:lnTo>
                          <a:pt x="120" y="868"/>
                        </a:lnTo>
                        <a:lnTo>
                          <a:pt x="135" y="807"/>
                        </a:lnTo>
                        <a:lnTo>
                          <a:pt x="150" y="745"/>
                        </a:lnTo>
                        <a:lnTo>
                          <a:pt x="165" y="684"/>
                        </a:lnTo>
                        <a:lnTo>
                          <a:pt x="180" y="623"/>
                        </a:lnTo>
                        <a:lnTo>
                          <a:pt x="196" y="561"/>
                        </a:lnTo>
                        <a:lnTo>
                          <a:pt x="211" y="500"/>
                        </a:lnTo>
                        <a:lnTo>
                          <a:pt x="227" y="439"/>
                        </a:lnTo>
                        <a:lnTo>
                          <a:pt x="241" y="377"/>
                        </a:lnTo>
                        <a:lnTo>
                          <a:pt x="254" y="314"/>
                        </a:lnTo>
                        <a:lnTo>
                          <a:pt x="267" y="251"/>
                        </a:lnTo>
                        <a:lnTo>
                          <a:pt x="279" y="189"/>
                        </a:lnTo>
                        <a:lnTo>
                          <a:pt x="289" y="125"/>
                        </a:lnTo>
                        <a:lnTo>
                          <a:pt x="297" y="62"/>
                        </a:lnTo>
                        <a:lnTo>
                          <a:pt x="304" y="0"/>
                        </a:lnTo>
                        <a:lnTo>
                          <a:pt x="332" y="1"/>
                        </a:lnTo>
                        <a:lnTo>
                          <a:pt x="358" y="2"/>
                        </a:lnTo>
                        <a:lnTo>
                          <a:pt x="386" y="3"/>
                        </a:lnTo>
                        <a:lnTo>
                          <a:pt x="412" y="4"/>
                        </a:lnTo>
                        <a:lnTo>
                          <a:pt x="440" y="7"/>
                        </a:lnTo>
                        <a:lnTo>
                          <a:pt x="466" y="9"/>
                        </a:lnTo>
                        <a:lnTo>
                          <a:pt x="493" y="11"/>
                        </a:lnTo>
                        <a:lnTo>
                          <a:pt x="520" y="14"/>
                        </a:lnTo>
                        <a:lnTo>
                          <a:pt x="547" y="17"/>
                        </a:lnTo>
                        <a:lnTo>
                          <a:pt x="575" y="19"/>
                        </a:lnTo>
                        <a:lnTo>
                          <a:pt x="601" y="23"/>
                        </a:lnTo>
                        <a:lnTo>
                          <a:pt x="628" y="26"/>
                        </a:lnTo>
                        <a:lnTo>
                          <a:pt x="654" y="30"/>
                        </a:lnTo>
                        <a:lnTo>
                          <a:pt x="682" y="33"/>
                        </a:lnTo>
                        <a:lnTo>
                          <a:pt x="708" y="37"/>
                        </a:lnTo>
                        <a:lnTo>
                          <a:pt x="735" y="40"/>
                        </a:lnTo>
                        <a:lnTo>
                          <a:pt x="761" y="44"/>
                        </a:lnTo>
                        <a:lnTo>
                          <a:pt x="789" y="47"/>
                        </a:lnTo>
                        <a:lnTo>
                          <a:pt x="815" y="52"/>
                        </a:lnTo>
                        <a:lnTo>
                          <a:pt x="842" y="55"/>
                        </a:lnTo>
                        <a:lnTo>
                          <a:pt x="868" y="59"/>
                        </a:lnTo>
                        <a:lnTo>
                          <a:pt x="895" y="62"/>
                        </a:lnTo>
                        <a:lnTo>
                          <a:pt x="922" y="65"/>
                        </a:lnTo>
                        <a:lnTo>
                          <a:pt x="949" y="69"/>
                        </a:lnTo>
                        <a:lnTo>
                          <a:pt x="975" y="72"/>
                        </a:lnTo>
                        <a:lnTo>
                          <a:pt x="1002" y="75"/>
                        </a:lnTo>
                        <a:lnTo>
                          <a:pt x="1029" y="78"/>
                        </a:lnTo>
                        <a:lnTo>
                          <a:pt x="1056" y="80"/>
                        </a:lnTo>
                        <a:lnTo>
                          <a:pt x="1082" y="83"/>
                        </a:lnTo>
                        <a:lnTo>
                          <a:pt x="1109" y="85"/>
                        </a:lnTo>
                        <a:lnTo>
                          <a:pt x="1137" y="87"/>
                        </a:lnTo>
                        <a:lnTo>
                          <a:pt x="1163" y="89"/>
                        </a:lnTo>
                        <a:lnTo>
                          <a:pt x="1169" y="89"/>
                        </a:lnTo>
                        <a:lnTo>
                          <a:pt x="1173" y="90"/>
                        </a:lnTo>
                        <a:lnTo>
                          <a:pt x="1179" y="89"/>
                        </a:lnTo>
                        <a:lnTo>
                          <a:pt x="1184" y="89"/>
                        </a:lnTo>
                        <a:lnTo>
                          <a:pt x="1190" y="87"/>
                        </a:lnTo>
                        <a:lnTo>
                          <a:pt x="1194" y="87"/>
                        </a:lnTo>
                        <a:lnTo>
                          <a:pt x="1200" y="87"/>
                        </a:lnTo>
                        <a:lnTo>
                          <a:pt x="1204" y="87"/>
                        </a:lnTo>
                        <a:lnTo>
                          <a:pt x="1203" y="122"/>
                        </a:lnTo>
                        <a:lnTo>
                          <a:pt x="1201" y="156"/>
                        </a:lnTo>
                        <a:lnTo>
                          <a:pt x="1196" y="191"/>
                        </a:lnTo>
                        <a:lnTo>
                          <a:pt x="1191" y="224"/>
                        </a:lnTo>
                        <a:lnTo>
                          <a:pt x="1184" y="259"/>
                        </a:lnTo>
                        <a:lnTo>
                          <a:pt x="1177" y="292"/>
                        </a:lnTo>
                        <a:lnTo>
                          <a:pt x="1169" y="327"/>
                        </a:lnTo>
                        <a:lnTo>
                          <a:pt x="1162" y="360"/>
                        </a:lnTo>
                        <a:lnTo>
                          <a:pt x="1146" y="458"/>
                        </a:lnTo>
                        <a:lnTo>
                          <a:pt x="1125" y="555"/>
                        </a:lnTo>
                        <a:lnTo>
                          <a:pt x="1102" y="652"/>
                        </a:lnTo>
                        <a:lnTo>
                          <a:pt x="1078" y="747"/>
                        </a:lnTo>
                        <a:lnTo>
                          <a:pt x="1052" y="843"/>
                        </a:lnTo>
                        <a:lnTo>
                          <a:pt x="1027" y="939"/>
                        </a:lnTo>
                        <a:lnTo>
                          <a:pt x="1002" y="1034"/>
                        </a:lnTo>
                        <a:lnTo>
                          <a:pt x="979" y="1129"/>
                        </a:lnTo>
                        <a:lnTo>
                          <a:pt x="966" y="1184"/>
                        </a:lnTo>
                        <a:lnTo>
                          <a:pt x="956" y="1239"/>
                        </a:lnTo>
                        <a:lnTo>
                          <a:pt x="945" y="1295"/>
                        </a:lnTo>
                        <a:lnTo>
                          <a:pt x="935" y="1350"/>
                        </a:lnTo>
                        <a:lnTo>
                          <a:pt x="927" y="1405"/>
                        </a:lnTo>
                        <a:lnTo>
                          <a:pt x="918" y="1460"/>
                        </a:lnTo>
                        <a:lnTo>
                          <a:pt x="910" y="1517"/>
                        </a:lnTo>
                        <a:lnTo>
                          <a:pt x="902" y="1572"/>
                        </a:lnTo>
                        <a:lnTo>
                          <a:pt x="875" y="1572"/>
                        </a:lnTo>
                        <a:lnTo>
                          <a:pt x="850" y="1572"/>
                        </a:lnTo>
                        <a:lnTo>
                          <a:pt x="823" y="1572"/>
                        </a:lnTo>
                        <a:lnTo>
                          <a:pt x="798" y="1571"/>
                        </a:lnTo>
                        <a:lnTo>
                          <a:pt x="773" y="1570"/>
                        </a:lnTo>
                        <a:lnTo>
                          <a:pt x="746" y="1568"/>
                        </a:lnTo>
                        <a:lnTo>
                          <a:pt x="721" y="1566"/>
                        </a:lnTo>
                        <a:lnTo>
                          <a:pt x="695" y="1564"/>
                        </a:lnTo>
                        <a:lnTo>
                          <a:pt x="670" y="1561"/>
                        </a:lnTo>
                        <a:lnTo>
                          <a:pt x="645" y="1558"/>
                        </a:lnTo>
                        <a:lnTo>
                          <a:pt x="618" y="1555"/>
                        </a:lnTo>
                        <a:lnTo>
                          <a:pt x="593" y="1551"/>
                        </a:lnTo>
                        <a:lnTo>
                          <a:pt x="568" y="1548"/>
                        </a:lnTo>
                        <a:lnTo>
                          <a:pt x="542" y="1545"/>
                        </a:lnTo>
                        <a:lnTo>
                          <a:pt x="517" y="1541"/>
                        </a:lnTo>
                        <a:lnTo>
                          <a:pt x="492" y="1537"/>
                        </a:lnTo>
                        <a:lnTo>
                          <a:pt x="466" y="1533"/>
                        </a:lnTo>
                        <a:lnTo>
                          <a:pt x="441" y="1530"/>
                        </a:lnTo>
                        <a:lnTo>
                          <a:pt x="416" y="1525"/>
                        </a:lnTo>
                        <a:lnTo>
                          <a:pt x="390" y="1522"/>
                        </a:lnTo>
                        <a:lnTo>
                          <a:pt x="365" y="1518"/>
                        </a:lnTo>
                        <a:lnTo>
                          <a:pt x="338" y="1515"/>
                        </a:lnTo>
                        <a:lnTo>
                          <a:pt x="313" y="1511"/>
                        </a:lnTo>
                        <a:lnTo>
                          <a:pt x="288" y="1508"/>
                        </a:lnTo>
                        <a:lnTo>
                          <a:pt x="262" y="1504"/>
                        </a:lnTo>
                        <a:lnTo>
                          <a:pt x="236" y="1502"/>
                        </a:lnTo>
                        <a:lnTo>
                          <a:pt x="211" y="1500"/>
                        </a:lnTo>
                        <a:lnTo>
                          <a:pt x="184" y="1497"/>
                        </a:lnTo>
                        <a:lnTo>
                          <a:pt x="158" y="1496"/>
                        </a:lnTo>
                        <a:lnTo>
                          <a:pt x="132" y="1494"/>
                        </a:lnTo>
                        <a:lnTo>
                          <a:pt x="106" y="1493"/>
                        </a:lnTo>
                        <a:lnTo>
                          <a:pt x="79" y="1493"/>
                        </a:lnTo>
                        <a:lnTo>
                          <a:pt x="69" y="1492"/>
                        </a:lnTo>
                        <a:lnTo>
                          <a:pt x="60" y="1490"/>
                        </a:lnTo>
                        <a:lnTo>
                          <a:pt x="49" y="1489"/>
                        </a:lnTo>
                        <a:lnTo>
                          <a:pt x="40" y="1488"/>
                        </a:lnTo>
                        <a:lnTo>
                          <a:pt x="30" y="1488"/>
                        </a:lnTo>
                        <a:lnTo>
                          <a:pt x="19" y="1487"/>
                        </a:lnTo>
                        <a:lnTo>
                          <a:pt x="10" y="1486"/>
                        </a:lnTo>
                        <a:lnTo>
                          <a:pt x="0" y="1485"/>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02" name="Freeform 124">
                    <a:extLst>
                      <a:ext uri="{FF2B5EF4-FFF2-40B4-BE49-F238E27FC236}">
                        <a16:creationId xmlns:a16="http://schemas.microsoft.com/office/drawing/2014/main" id="{1DC23C3F-82A7-45B4-BF8A-2FA30E51C163}"/>
                      </a:ext>
                    </a:extLst>
                  </p:cNvPr>
                  <p:cNvSpPr>
                    <a:spLocks/>
                  </p:cNvSpPr>
                  <p:nvPr/>
                </p:nvSpPr>
                <p:spPr bwMode="auto">
                  <a:xfrm>
                    <a:off x="6979148" y="951925"/>
                    <a:ext cx="170303" cy="150960"/>
                  </a:xfrm>
                  <a:custGeom>
                    <a:avLst/>
                    <a:gdLst>
                      <a:gd name="T0" fmla="*/ 2147483646 w 1158"/>
                      <a:gd name="T1" fmla="*/ 2147483646 h 1504"/>
                      <a:gd name="T2" fmla="*/ 2147483646 w 1158"/>
                      <a:gd name="T3" fmla="*/ 2147483646 h 1504"/>
                      <a:gd name="T4" fmla="*/ 2147483646 w 1158"/>
                      <a:gd name="T5" fmla="*/ 2147483646 h 1504"/>
                      <a:gd name="T6" fmla="*/ 2147483646 w 1158"/>
                      <a:gd name="T7" fmla="*/ 2147483646 h 1504"/>
                      <a:gd name="T8" fmla="*/ 2147483646 w 1158"/>
                      <a:gd name="T9" fmla="*/ 2147483646 h 1504"/>
                      <a:gd name="T10" fmla="*/ 2147483646 w 1158"/>
                      <a:gd name="T11" fmla="*/ 2147483646 h 1504"/>
                      <a:gd name="T12" fmla="*/ 2147483646 w 1158"/>
                      <a:gd name="T13" fmla="*/ 2147483646 h 1504"/>
                      <a:gd name="T14" fmla="*/ 2147483646 w 1158"/>
                      <a:gd name="T15" fmla="*/ 2147483646 h 1504"/>
                      <a:gd name="T16" fmla="*/ 2147483646 w 1158"/>
                      <a:gd name="T17" fmla="*/ 2147483646 h 1504"/>
                      <a:gd name="T18" fmla="*/ 2147483646 w 1158"/>
                      <a:gd name="T19" fmla="*/ 2147483646 h 1504"/>
                      <a:gd name="T20" fmla="*/ 2147483646 w 1158"/>
                      <a:gd name="T21" fmla="*/ 2147483646 h 1504"/>
                      <a:gd name="T22" fmla="*/ 2147483646 w 1158"/>
                      <a:gd name="T23" fmla="*/ 2147483646 h 1504"/>
                      <a:gd name="T24" fmla="*/ 2147483646 w 1158"/>
                      <a:gd name="T25" fmla="*/ 2147483646 h 1504"/>
                      <a:gd name="T26" fmla="*/ 2147483646 w 1158"/>
                      <a:gd name="T27" fmla="*/ 2147483646 h 1504"/>
                      <a:gd name="T28" fmla="*/ 2147483646 w 1158"/>
                      <a:gd name="T29" fmla="*/ 0 h 1504"/>
                      <a:gd name="T30" fmla="*/ 2147483646 w 1158"/>
                      <a:gd name="T31" fmla="*/ 2147483646 h 1504"/>
                      <a:gd name="T32" fmla="*/ 2147483646 w 1158"/>
                      <a:gd name="T33" fmla="*/ 2147483646 h 1504"/>
                      <a:gd name="T34" fmla="*/ 2147483646 w 1158"/>
                      <a:gd name="T35" fmla="*/ 2147483646 h 1504"/>
                      <a:gd name="T36" fmla="*/ 2147483646 w 1158"/>
                      <a:gd name="T37" fmla="*/ 2147483646 h 1504"/>
                      <a:gd name="T38" fmla="*/ 2147483646 w 1158"/>
                      <a:gd name="T39" fmla="*/ 2147483646 h 1504"/>
                      <a:gd name="T40" fmla="*/ 2147483646 w 1158"/>
                      <a:gd name="T41" fmla="*/ 2147483646 h 1504"/>
                      <a:gd name="T42" fmla="*/ 2147483646 w 1158"/>
                      <a:gd name="T43" fmla="*/ 2147483646 h 1504"/>
                      <a:gd name="T44" fmla="*/ 2147483646 w 1158"/>
                      <a:gd name="T45" fmla="*/ 2147483646 h 1504"/>
                      <a:gd name="T46" fmla="*/ 2147483646 w 1158"/>
                      <a:gd name="T47" fmla="*/ 2147483646 h 1504"/>
                      <a:gd name="T48" fmla="*/ 2147483646 w 1158"/>
                      <a:gd name="T49" fmla="*/ 2147483646 h 1504"/>
                      <a:gd name="T50" fmla="*/ 2147483646 w 1158"/>
                      <a:gd name="T51" fmla="*/ 2147483646 h 1504"/>
                      <a:gd name="T52" fmla="*/ 2147483646 w 1158"/>
                      <a:gd name="T53" fmla="*/ 2147483646 h 1504"/>
                      <a:gd name="T54" fmla="*/ 2147483646 w 1158"/>
                      <a:gd name="T55" fmla="*/ 2147483646 h 1504"/>
                      <a:gd name="T56" fmla="*/ 2147483646 w 1158"/>
                      <a:gd name="T57" fmla="*/ 2147483646 h 1504"/>
                      <a:gd name="T58" fmla="*/ 2147483646 w 1158"/>
                      <a:gd name="T59" fmla="*/ 2147483646 h 1504"/>
                      <a:gd name="T60" fmla="*/ 2147483646 w 1158"/>
                      <a:gd name="T61" fmla="*/ 2147483646 h 1504"/>
                      <a:gd name="T62" fmla="*/ 2147483646 w 1158"/>
                      <a:gd name="T63" fmla="*/ 2147483646 h 1504"/>
                      <a:gd name="T64" fmla="*/ 2147483646 w 1158"/>
                      <a:gd name="T65" fmla="*/ 2147483646 h 1504"/>
                      <a:gd name="T66" fmla="*/ 2147483646 w 1158"/>
                      <a:gd name="T67" fmla="*/ 2147483646 h 1504"/>
                      <a:gd name="T68" fmla="*/ 2147483646 w 1158"/>
                      <a:gd name="T69" fmla="*/ 2147483646 h 1504"/>
                      <a:gd name="T70" fmla="*/ 2147483646 w 1158"/>
                      <a:gd name="T71" fmla="*/ 2147483646 h 1504"/>
                      <a:gd name="T72" fmla="*/ 2147483646 w 1158"/>
                      <a:gd name="T73" fmla="*/ 2147483646 h 1504"/>
                      <a:gd name="T74" fmla="*/ 2147483646 w 1158"/>
                      <a:gd name="T75" fmla="*/ 2147483646 h 1504"/>
                      <a:gd name="T76" fmla="*/ 2147483646 w 1158"/>
                      <a:gd name="T77" fmla="*/ 2147483646 h 1504"/>
                      <a:gd name="T78" fmla="*/ 2147483646 w 1158"/>
                      <a:gd name="T79" fmla="*/ 2147483646 h 1504"/>
                      <a:gd name="T80" fmla="*/ 2147483646 w 1158"/>
                      <a:gd name="T81" fmla="*/ 2147483646 h 1504"/>
                      <a:gd name="T82" fmla="*/ 2147483646 w 1158"/>
                      <a:gd name="T83" fmla="*/ 2147483646 h 1504"/>
                      <a:gd name="T84" fmla="*/ 2147483646 w 1158"/>
                      <a:gd name="T85" fmla="*/ 2147483646 h 1504"/>
                      <a:gd name="T86" fmla="*/ 2147483646 w 1158"/>
                      <a:gd name="T87" fmla="*/ 2147483646 h 1504"/>
                      <a:gd name="T88" fmla="*/ 2147483646 w 1158"/>
                      <a:gd name="T89" fmla="*/ 2147483646 h 1504"/>
                      <a:gd name="T90" fmla="*/ 2147483646 w 1158"/>
                      <a:gd name="T91" fmla="*/ 2147483646 h 1504"/>
                      <a:gd name="T92" fmla="*/ 2147483646 w 1158"/>
                      <a:gd name="T93" fmla="*/ 2147483646 h 1504"/>
                      <a:gd name="T94" fmla="*/ 2147483646 w 1158"/>
                      <a:gd name="T95" fmla="*/ 2147483646 h 1504"/>
                      <a:gd name="T96" fmla="*/ 2147483646 w 1158"/>
                      <a:gd name="T97" fmla="*/ 2147483646 h 1504"/>
                      <a:gd name="T98" fmla="*/ 2147483646 w 1158"/>
                      <a:gd name="T99" fmla="*/ 2147483646 h 1504"/>
                      <a:gd name="T100" fmla="*/ 2147483646 w 1158"/>
                      <a:gd name="T101" fmla="*/ 2147483646 h 1504"/>
                      <a:gd name="T102" fmla="*/ 2147483646 w 1158"/>
                      <a:gd name="T103" fmla="*/ 2147483646 h 1504"/>
                      <a:gd name="T104" fmla="*/ 2147483646 w 1158"/>
                      <a:gd name="T105" fmla="*/ 2147483646 h 1504"/>
                      <a:gd name="T106" fmla="*/ 2147483646 w 1158"/>
                      <a:gd name="T107" fmla="*/ 2147483646 h 1504"/>
                      <a:gd name="T108" fmla="*/ 2147483646 w 1158"/>
                      <a:gd name="T109" fmla="*/ 2147483646 h 1504"/>
                      <a:gd name="T110" fmla="*/ 2147483646 w 1158"/>
                      <a:gd name="T111" fmla="*/ 2147483646 h 1504"/>
                      <a:gd name="T112" fmla="*/ 2147483646 w 1158"/>
                      <a:gd name="T113" fmla="*/ 2147483646 h 1504"/>
                      <a:gd name="T114" fmla="*/ 2147483646 w 1158"/>
                      <a:gd name="T115" fmla="*/ 2147483646 h 1504"/>
                      <a:gd name="T116" fmla="*/ 2147483646 w 1158"/>
                      <a:gd name="T117" fmla="*/ 2147483646 h 1504"/>
                      <a:gd name="T118" fmla="*/ 2147483646 w 1158"/>
                      <a:gd name="T119" fmla="*/ 2147483646 h 1504"/>
                      <a:gd name="T120" fmla="*/ 2147483646 w 1158"/>
                      <a:gd name="T121" fmla="*/ 2147483646 h 1504"/>
                      <a:gd name="T122" fmla="*/ 2147483646 w 1158"/>
                      <a:gd name="T123" fmla="*/ 2147483646 h 1504"/>
                      <a:gd name="T124" fmla="*/ 0 w 1158"/>
                      <a:gd name="T125" fmla="*/ 2147483646 h 15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58"/>
                      <a:gd name="T190" fmla="*/ 0 h 1504"/>
                      <a:gd name="T191" fmla="*/ 1158 w 1158"/>
                      <a:gd name="T192" fmla="*/ 1504 h 15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58" h="1504">
                        <a:moveTo>
                          <a:pt x="0" y="1410"/>
                        </a:moveTo>
                        <a:lnTo>
                          <a:pt x="9" y="1335"/>
                        </a:lnTo>
                        <a:lnTo>
                          <a:pt x="21" y="1259"/>
                        </a:lnTo>
                        <a:lnTo>
                          <a:pt x="35" y="1184"/>
                        </a:lnTo>
                        <a:lnTo>
                          <a:pt x="50" y="1108"/>
                        </a:lnTo>
                        <a:lnTo>
                          <a:pt x="66" y="1033"/>
                        </a:lnTo>
                        <a:lnTo>
                          <a:pt x="83" y="958"/>
                        </a:lnTo>
                        <a:lnTo>
                          <a:pt x="100" y="883"/>
                        </a:lnTo>
                        <a:lnTo>
                          <a:pt x="119" y="810"/>
                        </a:lnTo>
                        <a:lnTo>
                          <a:pt x="126" y="782"/>
                        </a:lnTo>
                        <a:lnTo>
                          <a:pt x="134" y="753"/>
                        </a:lnTo>
                        <a:lnTo>
                          <a:pt x="141" y="725"/>
                        </a:lnTo>
                        <a:lnTo>
                          <a:pt x="149" y="697"/>
                        </a:lnTo>
                        <a:lnTo>
                          <a:pt x="157" y="668"/>
                        </a:lnTo>
                        <a:lnTo>
                          <a:pt x="164" y="640"/>
                        </a:lnTo>
                        <a:lnTo>
                          <a:pt x="172" y="611"/>
                        </a:lnTo>
                        <a:lnTo>
                          <a:pt x="179" y="584"/>
                        </a:lnTo>
                        <a:lnTo>
                          <a:pt x="196" y="520"/>
                        </a:lnTo>
                        <a:lnTo>
                          <a:pt x="213" y="457"/>
                        </a:lnTo>
                        <a:lnTo>
                          <a:pt x="229" y="394"/>
                        </a:lnTo>
                        <a:lnTo>
                          <a:pt x="244" y="330"/>
                        </a:lnTo>
                        <a:lnTo>
                          <a:pt x="257" y="266"/>
                        </a:lnTo>
                        <a:lnTo>
                          <a:pt x="270" y="202"/>
                        </a:lnTo>
                        <a:lnTo>
                          <a:pt x="281" y="138"/>
                        </a:lnTo>
                        <a:lnTo>
                          <a:pt x="292" y="75"/>
                        </a:lnTo>
                        <a:lnTo>
                          <a:pt x="294" y="56"/>
                        </a:lnTo>
                        <a:lnTo>
                          <a:pt x="297" y="37"/>
                        </a:lnTo>
                        <a:lnTo>
                          <a:pt x="298" y="18"/>
                        </a:lnTo>
                        <a:lnTo>
                          <a:pt x="298" y="0"/>
                        </a:lnTo>
                        <a:lnTo>
                          <a:pt x="318" y="0"/>
                        </a:lnTo>
                        <a:lnTo>
                          <a:pt x="338" y="0"/>
                        </a:lnTo>
                        <a:lnTo>
                          <a:pt x="357" y="1"/>
                        </a:lnTo>
                        <a:lnTo>
                          <a:pt x="376" y="2"/>
                        </a:lnTo>
                        <a:lnTo>
                          <a:pt x="395" y="3"/>
                        </a:lnTo>
                        <a:lnTo>
                          <a:pt x="414" y="4"/>
                        </a:lnTo>
                        <a:lnTo>
                          <a:pt x="433" y="5"/>
                        </a:lnTo>
                        <a:lnTo>
                          <a:pt x="452" y="8"/>
                        </a:lnTo>
                        <a:lnTo>
                          <a:pt x="470" y="9"/>
                        </a:lnTo>
                        <a:lnTo>
                          <a:pt x="490" y="11"/>
                        </a:lnTo>
                        <a:lnTo>
                          <a:pt x="508" y="14"/>
                        </a:lnTo>
                        <a:lnTo>
                          <a:pt x="526" y="16"/>
                        </a:lnTo>
                        <a:lnTo>
                          <a:pt x="546" y="18"/>
                        </a:lnTo>
                        <a:lnTo>
                          <a:pt x="566" y="19"/>
                        </a:lnTo>
                        <a:lnTo>
                          <a:pt x="584" y="22"/>
                        </a:lnTo>
                        <a:lnTo>
                          <a:pt x="604" y="24"/>
                        </a:lnTo>
                        <a:lnTo>
                          <a:pt x="638" y="30"/>
                        </a:lnTo>
                        <a:lnTo>
                          <a:pt x="673" y="35"/>
                        </a:lnTo>
                        <a:lnTo>
                          <a:pt x="707" y="40"/>
                        </a:lnTo>
                        <a:lnTo>
                          <a:pt x="741" y="46"/>
                        </a:lnTo>
                        <a:lnTo>
                          <a:pt x="775" y="52"/>
                        </a:lnTo>
                        <a:lnTo>
                          <a:pt x="810" y="56"/>
                        </a:lnTo>
                        <a:lnTo>
                          <a:pt x="844" y="62"/>
                        </a:lnTo>
                        <a:lnTo>
                          <a:pt x="879" y="67"/>
                        </a:lnTo>
                        <a:lnTo>
                          <a:pt x="913" y="71"/>
                        </a:lnTo>
                        <a:lnTo>
                          <a:pt x="947" y="75"/>
                        </a:lnTo>
                        <a:lnTo>
                          <a:pt x="983" y="79"/>
                        </a:lnTo>
                        <a:lnTo>
                          <a:pt x="1017" y="81"/>
                        </a:lnTo>
                        <a:lnTo>
                          <a:pt x="1052" y="85"/>
                        </a:lnTo>
                        <a:lnTo>
                          <a:pt x="1087" y="86"/>
                        </a:lnTo>
                        <a:lnTo>
                          <a:pt x="1122" y="87"/>
                        </a:lnTo>
                        <a:lnTo>
                          <a:pt x="1158" y="88"/>
                        </a:lnTo>
                        <a:lnTo>
                          <a:pt x="1144" y="178"/>
                        </a:lnTo>
                        <a:lnTo>
                          <a:pt x="1129" y="268"/>
                        </a:lnTo>
                        <a:lnTo>
                          <a:pt x="1113" y="358"/>
                        </a:lnTo>
                        <a:lnTo>
                          <a:pt x="1094" y="448"/>
                        </a:lnTo>
                        <a:lnTo>
                          <a:pt x="1075" y="538"/>
                        </a:lnTo>
                        <a:lnTo>
                          <a:pt x="1054" y="627"/>
                        </a:lnTo>
                        <a:lnTo>
                          <a:pt x="1031" y="717"/>
                        </a:lnTo>
                        <a:lnTo>
                          <a:pt x="1007" y="808"/>
                        </a:lnTo>
                        <a:lnTo>
                          <a:pt x="998" y="839"/>
                        </a:lnTo>
                        <a:lnTo>
                          <a:pt x="988" y="871"/>
                        </a:lnTo>
                        <a:lnTo>
                          <a:pt x="980" y="902"/>
                        </a:lnTo>
                        <a:lnTo>
                          <a:pt x="971" y="932"/>
                        </a:lnTo>
                        <a:lnTo>
                          <a:pt x="963" y="962"/>
                        </a:lnTo>
                        <a:lnTo>
                          <a:pt x="955" y="993"/>
                        </a:lnTo>
                        <a:lnTo>
                          <a:pt x="947" y="1024"/>
                        </a:lnTo>
                        <a:lnTo>
                          <a:pt x="939" y="1055"/>
                        </a:lnTo>
                        <a:lnTo>
                          <a:pt x="926" y="1110"/>
                        </a:lnTo>
                        <a:lnTo>
                          <a:pt x="913" y="1167"/>
                        </a:lnTo>
                        <a:lnTo>
                          <a:pt x="902" y="1223"/>
                        </a:lnTo>
                        <a:lnTo>
                          <a:pt x="890" y="1279"/>
                        </a:lnTo>
                        <a:lnTo>
                          <a:pt x="880" y="1336"/>
                        </a:lnTo>
                        <a:lnTo>
                          <a:pt x="871" y="1392"/>
                        </a:lnTo>
                        <a:lnTo>
                          <a:pt x="863" y="1448"/>
                        </a:lnTo>
                        <a:lnTo>
                          <a:pt x="856" y="1504"/>
                        </a:lnTo>
                        <a:lnTo>
                          <a:pt x="844" y="1503"/>
                        </a:lnTo>
                        <a:lnTo>
                          <a:pt x="833" y="1502"/>
                        </a:lnTo>
                        <a:lnTo>
                          <a:pt x="821" y="1501"/>
                        </a:lnTo>
                        <a:lnTo>
                          <a:pt x="810" y="1500"/>
                        </a:lnTo>
                        <a:lnTo>
                          <a:pt x="797" y="1498"/>
                        </a:lnTo>
                        <a:lnTo>
                          <a:pt x="786" y="1497"/>
                        </a:lnTo>
                        <a:lnTo>
                          <a:pt x="774" y="1496"/>
                        </a:lnTo>
                        <a:lnTo>
                          <a:pt x="763" y="1495"/>
                        </a:lnTo>
                        <a:lnTo>
                          <a:pt x="738" y="1494"/>
                        </a:lnTo>
                        <a:lnTo>
                          <a:pt x="714" y="1493"/>
                        </a:lnTo>
                        <a:lnTo>
                          <a:pt x="690" y="1491"/>
                        </a:lnTo>
                        <a:lnTo>
                          <a:pt x="666" y="1489"/>
                        </a:lnTo>
                        <a:lnTo>
                          <a:pt x="642" y="1488"/>
                        </a:lnTo>
                        <a:lnTo>
                          <a:pt x="619" y="1486"/>
                        </a:lnTo>
                        <a:lnTo>
                          <a:pt x="594" y="1482"/>
                        </a:lnTo>
                        <a:lnTo>
                          <a:pt x="570" y="1480"/>
                        </a:lnTo>
                        <a:lnTo>
                          <a:pt x="546" y="1476"/>
                        </a:lnTo>
                        <a:lnTo>
                          <a:pt x="523" y="1474"/>
                        </a:lnTo>
                        <a:lnTo>
                          <a:pt x="499" y="1471"/>
                        </a:lnTo>
                        <a:lnTo>
                          <a:pt x="476" y="1467"/>
                        </a:lnTo>
                        <a:lnTo>
                          <a:pt x="452" y="1464"/>
                        </a:lnTo>
                        <a:lnTo>
                          <a:pt x="429" y="1460"/>
                        </a:lnTo>
                        <a:lnTo>
                          <a:pt x="404" y="1457"/>
                        </a:lnTo>
                        <a:lnTo>
                          <a:pt x="381" y="1452"/>
                        </a:lnTo>
                        <a:lnTo>
                          <a:pt x="357" y="1449"/>
                        </a:lnTo>
                        <a:lnTo>
                          <a:pt x="334" y="1445"/>
                        </a:lnTo>
                        <a:lnTo>
                          <a:pt x="310" y="1442"/>
                        </a:lnTo>
                        <a:lnTo>
                          <a:pt x="287" y="1438"/>
                        </a:lnTo>
                        <a:lnTo>
                          <a:pt x="263" y="1435"/>
                        </a:lnTo>
                        <a:lnTo>
                          <a:pt x="239" y="1432"/>
                        </a:lnTo>
                        <a:lnTo>
                          <a:pt x="216" y="1428"/>
                        </a:lnTo>
                        <a:lnTo>
                          <a:pt x="191" y="1426"/>
                        </a:lnTo>
                        <a:lnTo>
                          <a:pt x="168" y="1422"/>
                        </a:lnTo>
                        <a:lnTo>
                          <a:pt x="144" y="1420"/>
                        </a:lnTo>
                        <a:lnTo>
                          <a:pt x="120" y="1418"/>
                        </a:lnTo>
                        <a:lnTo>
                          <a:pt x="97" y="1415"/>
                        </a:lnTo>
                        <a:lnTo>
                          <a:pt x="73" y="1413"/>
                        </a:lnTo>
                        <a:lnTo>
                          <a:pt x="49" y="1412"/>
                        </a:lnTo>
                        <a:lnTo>
                          <a:pt x="24" y="1411"/>
                        </a:lnTo>
                        <a:lnTo>
                          <a:pt x="0" y="14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03" name="Freeform 125">
                    <a:extLst>
                      <a:ext uri="{FF2B5EF4-FFF2-40B4-BE49-F238E27FC236}">
                        <a16:creationId xmlns:a16="http://schemas.microsoft.com/office/drawing/2014/main" id="{BC7F9201-D32B-441E-B475-BDEFBD9170FA}"/>
                      </a:ext>
                    </a:extLst>
                  </p:cNvPr>
                  <p:cNvSpPr>
                    <a:spLocks/>
                  </p:cNvSpPr>
                  <p:nvPr/>
                </p:nvSpPr>
                <p:spPr bwMode="auto">
                  <a:xfrm>
                    <a:off x="7029444" y="985806"/>
                    <a:ext cx="92064" cy="6415"/>
                  </a:xfrm>
                  <a:custGeom>
                    <a:avLst/>
                    <a:gdLst>
                      <a:gd name="T0" fmla="*/ 2147483646 w 628"/>
                      <a:gd name="T1" fmla="*/ 2147483646 h 66"/>
                      <a:gd name="T2" fmla="*/ 2147483646 w 628"/>
                      <a:gd name="T3" fmla="*/ 2147483646 h 66"/>
                      <a:gd name="T4" fmla="*/ 2147483646 w 628"/>
                      <a:gd name="T5" fmla="*/ 2147483646 h 66"/>
                      <a:gd name="T6" fmla="*/ 2147483646 w 628"/>
                      <a:gd name="T7" fmla="*/ 2147483646 h 66"/>
                      <a:gd name="T8" fmla="*/ 2147483646 w 628"/>
                      <a:gd name="T9" fmla="*/ 2147483646 h 66"/>
                      <a:gd name="T10" fmla="*/ 2147483646 w 628"/>
                      <a:gd name="T11" fmla="*/ 2147483646 h 66"/>
                      <a:gd name="T12" fmla="*/ 2147483646 w 628"/>
                      <a:gd name="T13" fmla="*/ 2147483646 h 66"/>
                      <a:gd name="T14" fmla="*/ 2147483646 w 628"/>
                      <a:gd name="T15" fmla="*/ 2147483646 h 66"/>
                      <a:gd name="T16" fmla="*/ 2147483646 w 628"/>
                      <a:gd name="T17" fmla="*/ 2147483646 h 66"/>
                      <a:gd name="T18" fmla="*/ 2147483646 w 628"/>
                      <a:gd name="T19" fmla="*/ 2147483646 h 66"/>
                      <a:gd name="T20" fmla="*/ 2147483646 w 628"/>
                      <a:gd name="T21" fmla="*/ 2147483646 h 66"/>
                      <a:gd name="T22" fmla="*/ 2147483646 w 628"/>
                      <a:gd name="T23" fmla="*/ 2147483646 h 66"/>
                      <a:gd name="T24" fmla="*/ 2147483646 w 628"/>
                      <a:gd name="T25" fmla="*/ 2147483646 h 66"/>
                      <a:gd name="T26" fmla="*/ 2147483646 w 628"/>
                      <a:gd name="T27" fmla="*/ 2147483646 h 66"/>
                      <a:gd name="T28" fmla="*/ 2147483646 w 628"/>
                      <a:gd name="T29" fmla="*/ 2147483646 h 66"/>
                      <a:gd name="T30" fmla="*/ 2147483646 w 628"/>
                      <a:gd name="T31" fmla="*/ 2147483646 h 66"/>
                      <a:gd name="T32" fmla="*/ 2147483646 w 628"/>
                      <a:gd name="T33" fmla="*/ 2147483646 h 66"/>
                      <a:gd name="T34" fmla="*/ 2147483646 w 628"/>
                      <a:gd name="T35" fmla="*/ 2147483646 h 66"/>
                      <a:gd name="T36" fmla="*/ 2147483646 w 628"/>
                      <a:gd name="T37" fmla="*/ 2147483646 h 66"/>
                      <a:gd name="T38" fmla="*/ 2147483646 w 628"/>
                      <a:gd name="T39" fmla="*/ 0 h 66"/>
                      <a:gd name="T40" fmla="*/ 2147483646 w 628"/>
                      <a:gd name="T41" fmla="*/ 0 h 66"/>
                      <a:gd name="T42" fmla="*/ 2147483646 w 628"/>
                      <a:gd name="T43" fmla="*/ 2147483646 h 66"/>
                      <a:gd name="T44" fmla="*/ 2147483646 w 628"/>
                      <a:gd name="T45" fmla="*/ 2147483646 h 66"/>
                      <a:gd name="T46" fmla="*/ 2147483646 w 628"/>
                      <a:gd name="T47" fmla="*/ 2147483646 h 66"/>
                      <a:gd name="T48" fmla="*/ 2147483646 w 628"/>
                      <a:gd name="T49" fmla="*/ 2147483646 h 66"/>
                      <a:gd name="T50" fmla="*/ 0 w 628"/>
                      <a:gd name="T51" fmla="*/ 2147483646 h 66"/>
                      <a:gd name="T52" fmla="*/ 2147483646 w 628"/>
                      <a:gd name="T53" fmla="*/ 2147483646 h 66"/>
                      <a:gd name="T54" fmla="*/ 2147483646 w 628"/>
                      <a:gd name="T55" fmla="*/ 2147483646 h 66"/>
                      <a:gd name="T56" fmla="*/ 2147483646 w 628"/>
                      <a:gd name="T57" fmla="*/ 2147483646 h 66"/>
                      <a:gd name="T58" fmla="*/ 2147483646 w 628"/>
                      <a:gd name="T59" fmla="*/ 2147483646 h 66"/>
                      <a:gd name="T60" fmla="*/ 2147483646 w 628"/>
                      <a:gd name="T61" fmla="*/ 2147483646 h 66"/>
                      <a:gd name="T62" fmla="*/ 2147483646 w 628"/>
                      <a:gd name="T63" fmla="*/ 2147483646 h 66"/>
                      <a:gd name="T64" fmla="*/ 2147483646 w 628"/>
                      <a:gd name="T65" fmla="*/ 2147483646 h 66"/>
                      <a:gd name="T66" fmla="*/ 2147483646 w 628"/>
                      <a:gd name="T67" fmla="*/ 2147483646 h 66"/>
                      <a:gd name="T68" fmla="*/ 2147483646 w 628"/>
                      <a:gd name="T69" fmla="*/ 2147483646 h 66"/>
                      <a:gd name="T70" fmla="*/ 2147483646 w 628"/>
                      <a:gd name="T71" fmla="*/ 2147483646 h 66"/>
                      <a:gd name="T72" fmla="*/ 2147483646 w 628"/>
                      <a:gd name="T73" fmla="*/ 2147483646 h 66"/>
                      <a:gd name="T74" fmla="*/ 2147483646 w 628"/>
                      <a:gd name="T75" fmla="*/ 2147483646 h 66"/>
                      <a:gd name="T76" fmla="*/ 2147483646 w 628"/>
                      <a:gd name="T77" fmla="*/ 2147483646 h 66"/>
                      <a:gd name="T78" fmla="*/ 2147483646 w 628"/>
                      <a:gd name="T79" fmla="*/ 2147483646 h 66"/>
                      <a:gd name="T80" fmla="*/ 2147483646 w 628"/>
                      <a:gd name="T81" fmla="*/ 2147483646 h 66"/>
                      <a:gd name="T82" fmla="*/ 2147483646 w 628"/>
                      <a:gd name="T83" fmla="*/ 2147483646 h 66"/>
                      <a:gd name="T84" fmla="*/ 2147483646 w 628"/>
                      <a:gd name="T85" fmla="*/ 2147483646 h 66"/>
                      <a:gd name="T86" fmla="*/ 2147483646 w 628"/>
                      <a:gd name="T87" fmla="*/ 2147483646 h 66"/>
                      <a:gd name="T88" fmla="*/ 2147483646 w 628"/>
                      <a:gd name="T89" fmla="*/ 2147483646 h 66"/>
                      <a:gd name="T90" fmla="*/ 2147483646 w 628"/>
                      <a:gd name="T91" fmla="*/ 2147483646 h 66"/>
                      <a:gd name="T92" fmla="*/ 2147483646 w 628"/>
                      <a:gd name="T93" fmla="*/ 2147483646 h 66"/>
                      <a:gd name="T94" fmla="*/ 2147483646 w 628"/>
                      <a:gd name="T95" fmla="*/ 2147483646 h 66"/>
                      <a:gd name="T96" fmla="*/ 2147483646 w 628"/>
                      <a:gd name="T97" fmla="*/ 2147483646 h 66"/>
                      <a:gd name="T98" fmla="*/ 2147483646 w 628"/>
                      <a:gd name="T99" fmla="*/ 2147483646 h 66"/>
                      <a:gd name="T100" fmla="*/ 2147483646 w 628"/>
                      <a:gd name="T101" fmla="*/ 2147483646 h 6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8"/>
                      <a:gd name="T154" fmla="*/ 0 h 66"/>
                      <a:gd name="T155" fmla="*/ 628 w 628"/>
                      <a:gd name="T156" fmla="*/ 66 h 6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8" h="66">
                        <a:moveTo>
                          <a:pt x="628" y="45"/>
                        </a:moveTo>
                        <a:lnTo>
                          <a:pt x="623" y="45"/>
                        </a:lnTo>
                        <a:lnTo>
                          <a:pt x="610" y="44"/>
                        </a:lnTo>
                        <a:lnTo>
                          <a:pt x="590" y="42"/>
                        </a:lnTo>
                        <a:lnTo>
                          <a:pt x="562" y="39"/>
                        </a:lnTo>
                        <a:lnTo>
                          <a:pt x="531" y="36"/>
                        </a:lnTo>
                        <a:lnTo>
                          <a:pt x="494" y="32"/>
                        </a:lnTo>
                        <a:lnTo>
                          <a:pt x="456" y="29"/>
                        </a:lnTo>
                        <a:lnTo>
                          <a:pt x="415" y="25"/>
                        </a:lnTo>
                        <a:lnTo>
                          <a:pt x="374" y="22"/>
                        </a:lnTo>
                        <a:lnTo>
                          <a:pt x="333" y="17"/>
                        </a:lnTo>
                        <a:lnTo>
                          <a:pt x="294" y="14"/>
                        </a:lnTo>
                        <a:lnTo>
                          <a:pt x="258" y="10"/>
                        </a:lnTo>
                        <a:lnTo>
                          <a:pt x="226" y="8"/>
                        </a:lnTo>
                        <a:lnTo>
                          <a:pt x="198" y="6"/>
                        </a:lnTo>
                        <a:lnTo>
                          <a:pt x="177" y="4"/>
                        </a:lnTo>
                        <a:lnTo>
                          <a:pt x="164" y="2"/>
                        </a:lnTo>
                        <a:lnTo>
                          <a:pt x="142" y="1"/>
                        </a:lnTo>
                        <a:lnTo>
                          <a:pt x="118" y="1"/>
                        </a:lnTo>
                        <a:lnTo>
                          <a:pt x="92" y="0"/>
                        </a:lnTo>
                        <a:lnTo>
                          <a:pt x="67" y="0"/>
                        </a:lnTo>
                        <a:lnTo>
                          <a:pt x="45" y="1"/>
                        </a:lnTo>
                        <a:lnTo>
                          <a:pt x="27" y="1"/>
                        </a:lnTo>
                        <a:lnTo>
                          <a:pt x="14" y="1"/>
                        </a:lnTo>
                        <a:lnTo>
                          <a:pt x="9" y="1"/>
                        </a:lnTo>
                        <a:lnTo>
                          <a:pt x="0" y="16"/>
                        </a:lnTo>
                        <a:lnTo>
                          <a:pt x="5" y="16"/>
                        </a:lnTo>
                        <a:lnTo>
                          <a:pt x="16" y="16"/>
                        </a:lnTo>
                        <a:lnTo>
                          <a:pt x="35" y="16"/>
                        </a:lnTo>
                        <a:lnTo>
                          <a:pt x="57" y="17"/>
                        </a:lnTo>
                        <a:lnTo>
                          <a:pt x="81" y="17"/>
                        </a:lnTo>
                        <a:lnTo>
                          <a:pt x="105" y="18"/>
                        </a:lnTo>
                        <a:lnTo>
                          <a:pt x="127" y="18"/>
                        </a:lnTo>
                        <a:lnTo>
                          <a:pt x="146" y="20"/>
                        </a:lnTo>
                        <a:lnTo>
                          <a:pt x="159" y="21"/>
                        </a:lnTo>
                        <a:lnTo>
                          <a:pt x="180" y="22"/>
                        </a:lnTo>
                        <a:lnTo>
                          <a:pt x="206" y="24"/>
                        </a:lnTo>
                        <a:lnTo>
                          <a:pt x="238" y="28"/>
                        </a:lnTo>
                        <a:lnTo>
                          <a:pt x="275" y="31"/>
                        </a:lnTo>
                        <a:lnTo>
                          <a:pt x="316" y="35"/>
                        </a:lnTo>
                        <a:lnTo>
                          <a:pt x="357" y="39"/>
                        </a:lnTo>
                        <a:lnTo>
                          <a:pt x="400" y="43"/>
                        </a:lnTo>
                        <a:lnTo>
                          <a:pt x="442" y="47"/>
                        </a:lnTo>
                        <a:lnTo>
                          <a:pt x="483" y="52"/>
                        </a:lnTo>
                        <a:lnTo>
                          <a:pt x="519" y="55"/>
                        </a:lnTo>
                        <a:lnTo>
                          <a:pt x="553" y="59"/>
                        </a:lnTo>
                        <a:lnTo>
                          <a:pt x="581" y="61"/>
                        </a:lnTo>
                        <a:lnTo>
                          <a:pt x="602" y="63"/>
                        </a:lnTo>
                        <a:lnTo>
                          <a:pt x="616" y="66"/>
                        </a:lnTo>
                        <a:lnTo>
                          <a:pt x="621" y="66"/>
                        </a:lnTo>
                        <a:lnTo>
                          <a:pt x="628"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04" name="Freeform 126">
                    <a:extLst>
                      <a:ext uri="{FF2B5EF4-FFF2-40B4-BE49-F238E27FC236}">
                        <a16:creationId xmlns:a16="http://schemas.microsoft.com/office/drawing/2014/main" id="{41ED59F2-701F-40ED-AB71-F710268D1612}"/>
                      </a:ext>
                    </a:extLst>
                  </p:cNvPr>
                  <p:cNvSpPr>
                    <a:spLocks/>
                  </p:cNvSpPr>
                  <p:nvPr/>
                </p:nvSpPr>
                <p:spPr bwMode="auto">
                  <a:xfrm>
                    <a:off x="7052975" y="1001243"/>
                    <a:ext cx="63239" cy="6014"/>
                  </a:xfrm>
                  <a:custGeom>
                    <a:avLst/>
                    <a:gdLst>
                      <a:gd name="T0" fmla="*/ 2147483646 w 431"/>
                      <a:gd name="T1" fmla="*/ 0 h 60"/>
                      <a:gd name="T2" fmla="*/ 2147483646 w 431"/>
                      <a:gd name="T3" fmla="*/ 2147483646 h 60"/>
                      <a:gd name="T4" fmla="*/ 2147483646 w 431"/>
                      <a:gd name="T5" fmla="*/ 2147483646 h 60"/>
                      <a:gd name="T6" fmla="*/ 2147483646 w 431"/>
                      <a:gd name="T7" fmla="*/ 2147483646 h 60"/>
                      <a:gd name="T8" fmla="*/ 2147483646 w 431"/>
                      <a:gd name="T9" fmla="*/ 2147483646 h 60"/>
                      <a:gd name="T10" fmla="*/ 2147483646 w 431"/>
                      <a:gd name="T11" fmla="*/ 2147483646 h 60"/>
                      <a:gd name="T12" fmla="*/ 2147483646 w 431"/>
                      <a:gd name="T13" fmla="*/ 2147483646 h 60"/>
                      <a:gd name="T14" fmla="*/ 2147483646 w 431"/>
                      <a:gd name="T15" fmla="*/ 2147483646 h 60"/>
                      <a:gd name="T16" fmla="*/ 2147483646 w 431"/>
                      <a:gd name="T17" fmla="*/ 2147483646 h 60"/>
                      <a:gd name="T18" fmla="*/ 2147483646 w 431"/>
                      <a:gd name="T19" fmla="*/ 2147483646 h 60"/>
                      <a:gd name="T20" fmla="*/ 2147483646 w 431"/>
                      <a:gd name="T21" fmla="*/ 2147483646 h 60"/>
                      <a:gd name="T22" fmla="*/ 2147483646 w 431"/>
                      <a:gd name="T23" fmla="*/ 2147483646 h 60"/>
                      <a:gd name="T24" fmla="*/ 2147483646 w 431"/>
                      <a:gd name="T25" fmla="*/ 2147483646 h 60"/>
                      <a:gd name="T26" fmla="*/ 2147483646 w 431"/>
                      <a:gd name="T27" fmla="*/ 2147483646 h 60"/>
                      <a:gd name="T28" fmla="*/ 2147483646 w 431"/>
                      <a:gd name="T29" fmla="*/ 2147483646 h 60"/>
                      <a:gd name="T30" fmla="*/ 2147483646 w 431"/>
                      <a:gd name="T31" fmla="*/ 2147483646 h 60"/>
                      <a:gd name="T32" fmla="*/ 2147483646 w 431"/>
                      <a:gd name="T33" fmla="*/ 2147483646 h 60"/>
                      <a:gd name="T34" fmla="*/ 2147483646 w 431"/>
                      <a:gd name="T35" fmla="*/ 2147483646 h 60"/>
                      <a:gd name="T36" fmla="*/ 2147483646 w 431"/>
                      <a:gd name="T37" fmla="*/ 2147483646 h 60"/>
                      <a:gd name="T38" fmla="*/ 2147483646 w 431"/>
                      <a:gd name="T39" fmla="*/ 2147483646 h 60"/>
                      <a:gd name="T40" fmla="*/ 2147483646 w 431"/>
                      <a:gd name="T41" fmla="*/ 2147483646 h 60"/>
                      <a:gd name="T42" fmla="*/ 2147483646 w 431"/>
                      <a:gd name="T43" fmla="*/ 2147483646 h 60"/>
                      <a:gd name="T44" fmla="*/ 2147483646 w 431"/>
                      <a:gd name="T45" fmla="*/ 2147483646 h 60"/>
                      <a:gd name="T46" fmla="*/ 2147483646 w 431"/>
                      <a:gd name="T47" fmla="*/ 2147483646 h 60"/>
                      <a:gd name="T48" fmla="*/ 2147483646 w 431"/>
                      <a:gd name="T49" fmla="*/ 2147483646 h 60"/>
                      <a:gd name="T50" fmla="*/ 2147483646 w 431"/>
                      <a:gd name="T51" fmla="*/ 2147483646 h 60"/>
                      <a:gd name="T52" fmla="*/ 2147483646 w 431"/>
                      <a:gd name="T53" fmla="*/ 2147483646 h 60"/>
                      <a:gd name="T54" fmla="*/ 2147483646 w 431"/>
                      <a:gd name="T55" fmla="*/ 2147483646 h 60"/>
                      <a:gd name="T56" fmla="*/ 2147483646 w 431"/>
                      <a:gd name="T57" fmla="*/ 2147483646 h 60"/>
                      <a:gd name="T58" fmla="*/ 2147483646 w 431"/>
                      <a:gd name="T59" fmla="*/ 2147483646 h 60"/>
                      <a:gd name="T60" fmla="*/ 2147483646 w 431"/>
                      <a:gd name="T61" fmla="*/ 2147483646 h 60"/>
                      <a:gd name="T62" fmla="*/ 2147483646 w 431"/>
                      <a:gd name="T63" fmla="*/ 2147483646 h 60"/>
                      <a:gd name="T64" fmla="*/ 2147483646 w 431"/>
                      <a:gd name="T65" fmla="*/ 2147483646 h 60"/>
                      <a:gd name="T66" fmla="*/ 0 w 431"/>
                      <a:gd name="T67" fmla="*/ 2147483646 h 60"/>
                      <a:gd name="T68" fmla="*/ 2147483646 w 431"/>
                      <a:gd name="T69" fmla="*/ 0 h 6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31"/>
                      <a:gd name="T106" fmla="*/ 0 h 60"/>
                      <a:gd name="T107" fmla="*/ 431 w 431"/>
                      <a:gd name="T108" fmla="*/ 60 h 6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31" h="60">
                        <a:moveTo>
                          <a:pt x="7" y="0"/>
                        </a:moveTo>
                        <a:lnTo>
                          <a:pt x="31" y="3"/>
                        </a:lnTo>
                        <a:lnTo>
                          <a:pt x="59" y="5"/>
                        </a:lnTo>
                        <a:lnTo>
                          <a:pt x="90" y="7"/>
                        </a:lnTo>
                        <a:lnTo>
                          <a:pt x="123" y="11"/>
                        </a:lnTo>
                        <a:lnTo>
                          <a:pt x="158" y="14"/>
                        </a:lnTo>
                        <a:lnTo>
                          <a:pt x="192" y="18"/>
                        </a:lnTo>
                        <a:lnTo>
                          <a:pt x="228" y="21"/>
                        </a:lnTo>
                        <a:lnTo>
                          <a:pt x="263" y="23"/>
                        </a:lnTo>
                        <a:lnTo>
                          <a:pt x="296" y="27"/>
                        </a:lnTo>
                        <a:lnTo>
                          <a:pt x="327" y="30"/>
                        </a:lnTo>
                        <a:lnTo>
                          <a:pt x="356" y="33"/>
                        </a:lnTo>
                        <a:lnTo>
                          <a:pt x="381" y="35"/>
                        </a:lnTo>
                        <a:lnTo>
                          <a:pt x="402" y="37"/>
                        </a:lnTo>
                        <a:lnTo>
                          <a:pt x="417" y="38"/>
                        </a:lnTo>
                        <a:lnTo>
                          <a:pt x="427" y="40"/>
                        </a:lnTo>
                        <a:lnTo>
                          <a:pt x="431" y="40"/>
                        </a:lnTo>
                        <a:lnTo>
                          <a:pt x="424" y="60"/>
                        </a:lnTo>
                        <a:lnTo>
                          <a:pt x="421" y="60"/>
                        </a:lnTo>
                        <a:lnTo>
                          <a:pt x="411" y="59"/>
                        </a:lnTo>
                        <a:lnTo>
                          <a:pt x="395" y="57"/>
                        </a:lnTo>
                        <a:lnTo>
                          <a:pt x="376" y="56"/>
                        </a:lnTo>
                        <a:lnTo>
                          <a:pt x="351" y="52"/>
                        </a:lnTo>
                        <a:lnTo>
                          <a:pt x="324" y="50"/>
                        </a:lnTo>
                        <a:lnTo>
                          <a:pt x="293" y="46"/>
                        </a:lnTo>
                        <a:lnTo>
                          <a:pt x="259" y="43"/>
                        </a:lnTo>
                        <a:lnTo>
                          <a:pt x="225" y="40"/>
                        </a:lnTo>
                        <a:lnTo>
                          <a:pt x="190" y="36"/>
                        </a:lnTo>
                        <a:lnTo>
                          <a:pt x="154" y="33"/>
                        </a:lnTo>
                        <a:lnTo>
                          <a:pt x="120" y="29"/>
                        </a:lnTo>
                        <a:lnTo>
                          <a:pt x="87" y="26"/>
                        </a:lnTo>
                        <a:lnTo>
                          <a:pt x="54" y="22"/>
                        </a:lnTo>
                        <a:lnTo>
                          <a:pt x="25" y="20"/>
                        </a:lnTo>
                        <a:lnTo>
                          <a:pt x="0" y="18"/>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05" name="Freeform 127">
                    <a:extLst>
                      <a:ext uri="{FF2B5EF4-FFF2-40B4-BE49-F238E27FC236}">
                        <a16:creationId xmlns:a16="http://schemas.microsoft.com/office/drawing/2014/main" id="{8DA7814A-810E-4CAC-A882-B70462466741}"/>
                      </a:ext>
                    </a:extLst>
                  </p:cNvPr>
                  <p:cNvSpPr>
                    <a:spLocks/>
                  </p:cNvSpPr>
                  <p:nvPr/>
                </p:nvSpPr>
                <p:spPr bwMode="auto">
                  <a:xfrm>
                    <a:off x="7053858" y="1062188"/>
                    <a:ext cx="44120" cy="4210"/>
                  </a:xfrm>
                  <a:custGeom>
                    <a:avLst/>
                    <a:gdLst>
                      <a:gd name="T0" fmla="*/ 2147483646 w 301"/>
                      <a:gd name="T1" fmla="*/ 0 h 41"/>
                      <a:gd name="T2" fmla="*/ 2147483646 w 301"/>
                      <a:gd name="T3" fmla="*/ 2147483646 h 41"/>
                      <a:gd name="T4" fmla="*/ 2147483646 w 301"/>
                      <a:gd name="T5" fmla="*/ 2147483646 h 41"/>
                      <a:gd name="T6" fmla="*/ 2147483646 w 301"/>
                      <a:gd name="T7" fmla="*/ 2147483646 h 41"/>
                      <a:gd name="T8" fmla="*/ 2147483646 w 301"/>
                      <a:gd name="T9" fmla="*/ 2147483646 h 41"/>
                      <a:gd name="T10" fmla="*/ 2147483646 w 301"/>
                      <a:gd name="T11" fmla="*/ 2147483646 h 41"/>
                      <a:gd name="T12" fmla="*/ 2147483646 w 301"/>
                      <a:gd name="T13" fmla="*/ 2147483646 h 41"/>
                      <a:gd name="T14" fmla="*/ 2147483646 w 301"/>
                      <a:gd name="T15" fmla="*/ 2147483646 h 41"/>
                      <a:gd name="T16" fmla="*/ 2147483646 w 301"/>
                      <a:gd name="T17" fmla="*/ 2147483646 h 41"/>
                      <a:gd name="T18" fmla="*/ 2147483646 w 301"/>
                      <a:gd name="T19" fmla="*/ 2147483646 h 41"/>
                      <a:gd name="T20" fmla="*/ 2147483646 w 301"/>
                      <a:gd name="T21" fmla="*/ 2147483646 h 41"/>
                      <a:gd name="T22" fmla="*/ 2147483646 w 301"/>
                      <a:gd name="T23" fmla="*/ 2147483646 h 41"/>
                      <a:gd name="T24" fmla="*/ 2147483646 w 301"/>
                      <a:gd name="T25" fmla="*/ 2147483646 h 41"/>
                      <a:gd name="T26" fmla="*/ 2147483646 w 301"/>
                      <a:gd name="T27" fmla="*/ 2147483646 h 41"/>
                      <a:gd name="T28" fmla="*/ 2147483646 w 301"/>
                      <a:gd name="T29" fmla="*/ 2147483646 h 41"/>
                      <a:gd name="T30" fmla="*/ 2147483646 w 301"/>
                      <a:gd name="T31" fmla="*/ 2147483646 h 41"/>
                      <a:gd name="T32" fmla="*/ 2147483646 w 301"/>
                      <a:gd name="T33" fmla="*/ 2147483646 h 41"/>
                      <a:gd name="T34" fmla="*/ 2147483646 w 301"/>
                      <a:gd name="T35" fmla="*/ 2147483646 h 41"/>
                      <a:gd name="T36" fmla="*/ 2147483646 w 301"/>
                      <a:gd name="T37" fmla="*/ 2147483646 h 41"/>
                      <a:gd name="T38" fmla="*/ 2147483646 w 301"/>
                      <a:gd name="T39" fmla="*/ 2147483646 h 41"/>
                      <a:gd name="T40" fmla="*/ 2147483646 w 301"/>
                      <a:gd name="T41" fmla="*/ 2147483646 h 41"/>
                      <a:gd name="T42" fmla="*/ 2147483646 w 301"/>
                      <a:gd name="T43" fmla="*/ 2147483646 h 41"/>
                      <a:gd name="T44" fmla="*/ 2147483646 w 301"/>
                      <a:gd name="T45" fmla="*/ 2147483646 h 41"/>
                      <a:gd name="T46" fmla="*/ 2147483646 w 301"/>
                      <a:gd name="T47" fmla="*/ 2147483646 h 41"/>
                      <a:gd name="T48" fmla="*/ 2147483646 w 301"/>
                      <a:gd name="T49" fmla="*/ 2147483646 h 41"/>
                      <a:gd name="T50" fmla="*/ 2147483646 w 301"/>
                      <a:gd name="T51" fmla="*/ 2147483646 h 41"/>
                      <a:gd name="T52" fmla="*/ 2147483646 w 301"/>
                      <a:gd name="T53" fmla="*/ 2147483646 h 41"/>
                      <a:gd name="T54" fmla="*/ 2147483646 w 301"/>
                      <a:gd name="T55" fmla="*/ 2147483646 h 41"/>
                      <a:gd name="T56" fmla="*/ 2147483646 w 301"/>
                      <a:gd name="T57" fmla="*/ 2147483646 h 41"/>
                      <a:gd name="T58" fmla="*/ 2147483646 w 301"/>
                      <a:gd name="T59" fmla="*/ 2147483646 h 41"/>
                      <a:gd name="T60" fmla="*/ 2147483646 w 301"/>
                      <a:gd name="T61" fmla="*/ 2147483646 h 41"/>
                      <a:gd name="T62" fmla="*/ 2147483646 w 301"/>
                      <a:gd name="T63" fmla="*/ 2147483646 h 41"/>
                      <a:gd name="T64" fmla="*/ 2147483646 w 301"/>
                      <a:gd name="T65" fmla="*/ 2147483646 h 41"/>
                      <a:gd name="T66" fmla="*/ 0 w 301"/>
                      <a:gd name="T67" fmla="*/ 2147483646 h 41"/>
                      <a:gd name="T68" fmla="*/ 2147483646 w 301"/>
                      <a:gd name="T69" fmla="*/ 0 h 4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01"/>
                      <a:gd name="T106" fmla="*/ 0 h 41"/>
                      <a:gd name="T107" fmla="*/ 301 w 301"/>
                      <a:gd name="T108" fmla="*/ 41 h 4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01" h="41">
                        <a:moveTo>
                          <a:pt x="4" y="0"/>
                        </a:moveTo>
                        <a:lnTo>
                          <a:pt x="21" y="1"/>
                        </a:lnTo>
                        <a:lnTo>
                          <a:pt x="40" y="3"/>
                        </a:lnTo>
                        <a:lnTo>
                          <a:pt x="62" y="4"/>
                        </a:lnTo>
                        <a:lnTo>
                          <a:pt x="85" y="7"/>
                        </a:lnTo>
                        <a:lnTo>
                          <a:pt x="109" y="9"/>
                        </a:lnTo>
                        <a:lnTo>
                          <a:pt x="134" y="11"/>
                        </a:lnTo>
                        <a:lnTo>
                          <a:pt x="159" y="14"/>
                        </a:lnTo>
                        <a:lnTo>
                          <a:pt x="183" y="16"/>
                        </a:lnTo>
                        <a:lnTo>
                          <a:pt x="206" y="18"/>
                        </a:lnTo>
                        <a:lnTo>
                          <a:pt x="228" y="19"/>
                        </a:lnTo>
                        <a:lnTo>
                          <a:pt x="249" y="22"/>
                        </a:lnTo>
                        <a:lnTo>
                          <a:pt x="266" y="23"/>
                        </a:lnTo>
                        <a:lnTo>
                          <a:pt x="280" y="24"/>
                        </a:lnTo>
                        <a:lnTo>
                          <a:pt x="291" y="25"/>
                        </a:lnTo>
                        <a:lnTo>
                          <a:pt x="298" y="26"/>
                        </a:lnTo>
                        <a:lnTo>
                          <a:pt x="301" y="26"/>
                        </a:lnTo>
                        <a:lnTo>
                          <a:pt x="296" y="41"/>
                        </a:lnTo>
                        <a:lnTo>
                          <a:pt x="294" y="41"/>
                        </a:lnTo>
                        <a:lnTo>
                          <a:pt x="287" y="40"/>
                        </a:lnTo>
                        <a:lnTo>
                          <a:pt x="276" y="39"/>
                        </a:lnTo>
                        <a:lnTo>
                          <a:pt x="263" y="38"/>
                        </a:lnTo>
                        <a:lnTo>
                          <a:pt x="245" y="36"/>
                        </a:lnTo>
                        <a:lnTo>
                          <a:pt x="226" y="34"/>
                        </a:lnTo>
                        <a:lnTo>
                          <a:pt x="204" y="32"/>
                        </a:lnTo>
                        <a:lnTo>
                          <a:pt x="181" y="30"/>
                        </a:lnTo>
                        <a:lnTo>
                          <a:pt x="157" y="26"/>
                        </a:lnTo>
                        <a:lnTo>
                          <a:pt x="133" y="24"/>
                        </a:lnTo>
                        <a:lnTo>
                          <a:pt x="107" y="22"/>
                        </a:lnTo>
                        <a:lnTo>
                          <a:pt x="83" y="19"/>
                        </a:lnTo>
                        <a:lnTo>
                          <a:pt x="60" y="17"/>
                        </a:lnTo>
                        <a:lnTo>
                          <a:pt x="38" y="15"/>
                        </a:lnTo>
                        <a:lnTo>
                          <a:pt x="17" y="12"/>
                        </a:lnTo>
                        <a:lnTo>
                          <a:pt x="0" y="11"/>
                        </a:lnTo>
                        <a:lnTo>
                          <a:pt x="4" y="0"/>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06" name="Freeform 128">
                    <a:extLst>
                      <a:ext uri="{FF2B5EF4-FFF2-40B4-BE49-F238E27FC236}">
                        <a16:creationId xmlns:a16="http://schemas.microsoft.com/office/drawing/2014/main" id="{8113B789-312A-42EC-B7B1-A8B38693D1FB}"/>
                      </a:ext>
                    </a:extLst>
                  </p:cNvPr>
                  <p:cNvSpPr>
                    <a:spLocks/>
                  </p:cNvSpPr>
                  <p:nvPr/>
                </p:nvSpPr>
                <p:spPr bwMode="auto">
                  <a:xfrm>
                    <a:off x="7048563" y="1072012"/>
                    <a:ext cx="44120" cy="4210"/>
                  </a:xfrm>
                  <a:custGeom>
                    <a:avLst/>
                    <a:gdLst>
                      <a:gd name="T0" fmla="*/ 2147483646 w 301"/>
                      <a:gd name="T1" fmla="*/ 0 h 41"/>
                      <a:gd name="T2" fmla="*/ 2147483646 w 301"/>
                      <a:gd name="T3" fmla="*/ 2147483646 h 41"/>
                      <a:gd name="T4" fmla="*/ 2147483646 w 301"/>
                      <a:gd name="T5" fmla="*/ 2147483646 h 41"/>
                      <a:gd name="T6" fmla="*/ 2147483646 w 301"/>
                      <a:gd name="T7" fmla="*/ 2147483646 h 41"/>
                      <a:gd name="T8" fmla="*/ 2147483646 w 301"/>
                      <a:gd name="T9" fmla="*/ 2147483646 h 41"/>
                      <a:gd name="T10" fmla="*/ 2147483646 w 301"/>
                      <a:gd name="T11" fmla="*/ 2147483646 h 41"/>
                      <a:gd name="T12" fmla="*/ 2147483646 w 301"/>
                      <a:gd name="T13" fmla="*/ 2147483646 h 41"/>
                      <a:gd name="T14" fmla="*/ 2147483646 w 301"/>
                      <a:gd name="T15" fmla="*/ 2147483646 h 41"/>
                      <a:gd name="T16" fmla="*/ 2147483646 w 301"/>
                      <a:gd name="T17" fmla="*/ 2147483646 h 41"/>
                      <a:gd name="T18" fmla="*/ 2147483646 w 301"/>
                      <a:gd name="T19" fmla="*/ 2147483646 h 41"/>
                      <a:gd name="T20" fmla="*/ 2147483646 w 301"/>
                      <a:gd name="T21" fmla="*/ 2147483646 h 41"/>
                      <a:gd name="T22" fmla="*/ 2147483646 w 301"/>
                      <a:gd name="T23" fmla="*/ 2147483646 h 41"/>
                      <a:gd name="T24" fmla="*/ 2147483646 w 301"/>
                      <a:gd name="T25" fmla="*/ 2147483646 h 41"/>
                      <a:gd name="T26" fmla="*/ 2147483646 w 301"/>
                      <a:gd name="T27" fmla="*/ 2147483646 h 41"/>
                      <a:gd name="T28" fmla="*/ 2147483646 w 301"/>
                      <a:gd name="T29" fmla="*/ 2147483646 h 41"/>
                      <a:gd name="T30" fmla="*/ 2147483646 w 301"/>
                      <a:gd name="T31" fmla="*/ 2147483646 h 41"/>
                      <a:gd name="T32" fmla="*/ 2147483646 w 301"/>
                      <a:gd name="T33" fmla="*/ 2147483646 h 41"/>
                      <a:gd name="T34" fmla="*/ 2147483646 w 301"/>
                      <a:gd name="T35" fmla="*/ 2147483646 h 41"/>
                      <a:gd name="T36" fmla="*/ 2147483646 w 301"/>
                      <a:gd name="T37" fmla="*/ 2147483646 h 41"/>
                      <a:gd name="T38" fmla="*/ 2147483646 w 301"/>
                      <a:gd name="T39" fmla="*/ 2147483646 h 41"/>
                      <a:gd name="T40" fmla="*/ 2147483646 w 301"/>
                      <a:gd name="T41" fmla="*/ 2147483646 h 41"/>
                      <a:gd name="T42" fmla="*/ 2147483646 w 301"/>
                      <a:gd name="T43" fmla="*/ 2147483646 h 41"/>
                      <a:gd name="T44" fmla="*/ 2147483646 w 301"/>
                      <a:gd name="T45" fmla="*/ 2147483646 h 41"/>
                      <a:gd name="T46" fmla="*/ 2147483646 w 301"/>
                      <a:gd name="T47" fmla="*/ 2147483646 h 41"/>
                      <a:gd name="T48" fmla="*/ 2147483646 w 301"/>
                      <a:gd name="T49" fmla="*/ 2147483646 h 41"/>
                      <a:gd name="T50" fmla="*/ 2147483646 w 301"/>
                      <a:gd name="T51" fmla="*/ 2147483646 h 41"/>
                      <a:gd name="T52" fmla="*/ 2147483646 w 301"/>
                      <a:gd name="T53" fmla="*/ 2147483646 h 41"/>
                      <a:gd name="T54" fmla="*/ 2147483646 w 301"/>
                      <a:gd name="T55" fmla="*/ 2147483646 h 41"/>
                      <a:gd name="T56" fmla="*/ 2147483646 w 301"/>
                      <a:gd name="T57" fmla="*/ 2147483646 h 41"/>
                      <a:gd name="T58" fmla="*/ 2147483646 w 301"/>
                      <a:gd name="T59" fmla="*/ 2147483646 h 41"/>
                      <a:gd name="T60" fmla="*/ 2147483646 w 301"/>
                      <a:gd name="T61" fmla="*/ 2147483646 h 41"/>
                      <a:gd name="T62" fmla="*/ 2147483646 w 301"/>
                      <a:gd name="T63" fmla="*/ 2147483646 h 41"/>
                      <a:gd name="T64" fmla="*/ 2147483646 w 301"/>
                      <a:gd name="T65" fmla="*/ 2147483646 h 41"/>
                      <a:gd name="T66" fmla="*/ 0 w 301"/>
                      <a:gd name="T67" fmla="*/ 2147483646 h 41"/>
                      <a:gd name="T68" fmla="*/ 2147483646 w 301"/>
                      <a:gd name="T69" fmla="*/ 0 h 4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01"/>
                      <a:gd name="T106" fmla="*/ 0 h 41"/>
                      <a:gd name="T107" fmla="*/ 301 w 301"/>
                      <a:gd name="T108" fmla="*/ 41 h 4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01" h="41">
                        <a:moveTo>
                          <a:pt x="5" y="0"/>
                        </a:moveTo>
                        <a:lnTo>
                          <a:pt x="22" y="1"/>
                        </a:lnTo>
                        <a:lnTo>
                          <a:pt x="41" y="3"/>
                        </a:lnTo>
                        <a:lnTo>
                          <a:pt x="63" y="5"/>
                        </a:lnTo>
                        <a:lnTo>
                          <a:pt x="86" y="8"/>
                        </a:lnTo>
                        <a:lnTo>
                          <a:pt x="110" y="10"/>
                        </a:lnTo>
                        <a:lnTo>
                          <a:pt x="135" y="12"/>
                        </a:lnTo>
                        <a:lnTo>
                          <a:pt x="159" y="15"/>
                        </a:lnTo>
                        <a:lnTo>
                          <a:pt x="183" y="17"/>
                        </a:lnTo>
                        <a:lnTo>
                          <a:pt x="207" y="18"/>
                        </a:lnTo>
                        <a:lnTo>
                          <a:pt x="228" y="20"/>
                        </a:lnTo>
                        <a:lnTo>
                          <a:pt x="249" y="23"/>
                        </a:lnTo>
                        <a:lnTo>
                          <a:pt x="266" y="24"/>
                        </a:lnTo>
                        <a:lnTo>
                          <a:pt x="280" y="25"/>
                        </a:lnTo>
                        <a:lnTo>
                          <a:pt x="292" y="26"/>
                        </a:lnTo>
                        <a:lnTo>
                          <a:pt x="299" y="27"/>
                        </a:lnTo>
                        <a:lnTo>
                          <a:pt x="301" y="27"/>
                        </a:lnTo>
                        <a:lnTo>
                          <a:pt x="296" y="41"/>
                        </a:lnTo>
                        <a:lnTo>
                          <a:pt x="294" y="41"/>
                        </a:lnTo>
                        <a:lnTo>
                          <a:pt x="287" y="40"/>
                        </a:lnTo>
                        <a:lnTo>
                          <a:pt x="277" y="39"/>
                        </a:lnTo>
                        <a:lnTo>
                          <a:pt x="263" y="38"/>
                        </a:lnTo>
                        <a:lnTo>
                          <a:pt x="246" y="36"/>
                        </a:lnTo>
                        <a:lnTo>
                          <a:pt x="226" y="34"/>
                        </a:lnTo>
                        <a:lnTo>
                          <a:pt x="204" y="32"/>
                        </a:lnTo>
                        <a:lnTo>
                          <a:pt x="181" y="30"/>
                        </a:lnTo>
                        <a:lnTo>
                          <a:pt x="158" y="27"/>
                        </a:lnTo>
                        <a:lnTo>
                          <a:pt x="133" y="25"/>
                        </a:lnTo>
                        <a:lnTo>
                          <a:pt x="109" y="23"/>
                        </a:lnTo>
                        <a:lnTo>
                          <a:pt x="84" y="20"/>
                        </a:lnTo>
                        <a:lnTo>
                          <a:pt x="60" y="18"/>
                        </a:lnTo>
                        <a:lnTo>
                          <a:pt x="38" y="16"/>
                        </a:lnTo>
                        <a:lnTo>
                          <a:pt x="19" y="13"/>
                        </a:lnTo>
                        <a:lnTo>
                          <a:pt x="0" y="12"/>
                        </a:lnTo>
                        <a:lnTo>
                          <a:pt x="5" y="0"/>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07" name="Freeform 129">
                    <a:extLst>
                      <a:ext uri="{FF2B5EF4-FFF2-40B4-BE49-F238E27FC236}">
                        <a16:creationId xmlns:a16="http://schemas.microsoft.com/office/drawing/2014/main" id="{6ACB2C9B-CE01-4BFA-9769-C375DD599C0D}"/>
                      </a:ext>
                    </a:extLst>
                  </p:cNvPr>
                  <p:cNvSpPr>
                    <a:spLocks/>
                  </p:cNvSpPr>
                  <p:nvPr/>
                </p:nvSpPr>
                <p:spPr bwMode="auto">
                  <a:xfrm>
                    <a:off x="7045622" y="1083439"/>
                    <a:ext cx="44414" cy="4210"/>
                  </a:xfrm>
                  <a:custGeom>
                    <a:avLst/>
                    <a:gdLst>
                      <a:gd name="T0" fmla="*/ 2147483646 w 300"/>
                      <a:gd name="T1" fmla="*/ 0 h 41"/>
                      <a:gd name="T2" fmla="*/ 2147483646 w 300"/>
                      <a:gd name="T3" fmla="*/ 2147483646 h 41"/>
                      <a:gd name="T4" fmla="*/ 2147483646 w 300"/>
                      <a:gd name="T5" fmla="*/ 2147483646 h 41"/>
                      <a:gd name="T6" fmla="*/ 2147483646 w 300"/>
                      <a:gd name="T7" fmla="*/ 2147483646 h 41"/>
                      <a:gd name="T8" fmla="*/ 2147483646 w 300"/>
                      <a:gd name="T9" fmla="*/ 2147483646 h 41"/>
                      <a:gd name="T10" fmla="*/ 2147483646 w 300"/>
                      <a:gd name="T11" fmla="*/ 2147483646 h 41"/>
                      <a:gd name="T12" fmla="*/ 2147483646 w 300"/>
                      <a:gd name="T13" fmla="*/ 2147483646 h 41"/>
                      <a:gd name="T14" fmla="*/ 2147483646 w 300"/>
                      <a:gd name="T15" fmla="*/ 2147483646 h 41"/>
                      <a:gd name="T16" fmla="*/ 2147483646 w 300"/>
                      <a:gd name="T17" fmla="*/ 2147483646 h 41"/>
                      <a:gd name="T18" fmla="*/ 2147483646 w 300"/>
                      <a:gd name="T19" fmla="*/ 2147483646 h 41"/>
                      <a:gd name="T20" fmla="*/ 2147483646 w 300"/>
                      <a:gd name="T21" fmla="*/ 2147483646 h 41"/>
                      <a:gd name="T22" fmla="*/ 2147483646 w 300"/>
                      <a:gd name="T23" fmla="*/ 2147483646 h 41"/>
                      <a:gd name="T24" fmla="*/ 2147483646 w 300"/>
                      <a:gd name="T25" fmla="*/ 2147483646 h 41"/>
                      <a:gd name="T26" fmla="*/ 2147483646 w 300"/>
                      <a:gd name="T27" fmla="*/ 2147483646 h 41"/>
                      <a:gd name="T28" fmla="*/ 2147483646 w 300"/>
                      <a:gd name="T29" fmla="*/ 2147483646 h 41"/>
                      <a:gd name="T30" fmla="*/ 2147483646 w 300"/>
                      <a:gd name="T31" fmla="*/ 2147483646 h 41"/>
                      <a:gd name="T32" fmla="*/ 2147483646 w 300"/>
                      <a:gd name="T33" fmla="*/ 2147483646 h 41"/>
                      <a:gd name="T34" fmla="*/ 2147483646 w 300"/>
                      <a:gd name="T35" fmla="*/ 2147483646 h 41"/>
                      <a:gd name="T36" fmla="*/ 2147483646 w 300"/>
                      <a:gd name="T37" fmla="*/ 2147483646 h 41"/>
                      <a:gd name="T38" fmla="*/ 2147483646 w 300"/>
                      <a:gd name="T39" fmla="*/ 2147483646 h 41"/>
                      <a:gd name="T40" fmla="*/ 2147483646 w 300"/>
                      <a:gd name="T41" fmla="*/ 2147483646 h 41"/>
                      <a:gd name="T42" fmla="*/ 2147483646 w 300"/>
                      <a:gd name="T43" fmla="*/ 2147483646 h 41"/>
                      <a:gd name="T44" fmla="*/ 2147483646 w 300"/>
                      <a:gd name="T45" fmla="*/ 2147483646 h 41"/>
                      <a:gd name="T46" fmla="*/ 2147483646 w 300"/>
                      <a:gd name="T47" fmla="*/ 2147483646 h 41"/>
                      <a:gd name="T48" fmla="*/ 2147483646 w 300"/>
                      <a:gd name="T49" fmla="*/ 2147483646 h 41"/>
                      <a:gd name="T50" fmla="*/ 2147483646 w 300"/>
                      <a:gd name="T51" fmla="*/ 2147483646 h 41"/>
                      <a:gd name="T52" fmla="*/ 2147483646 w 300"/>
                      <a:gd name="T53" fmla="*/ 2147483646 h 41"/>
                      <a:gd name="T54" fmla="*/ 2147483646 w 300"/>
                      <a:gd name="T55" fmla="*/ 2147483646 h 41"/>
                      <a:gd name="T56" fmla="*/ 2147483646 w 300"/>
                      <a:gd name="T57" fmla="*/ 2147483646 h 41"/>
                      <a:gd name="T58" fmla="*/ 2147483646 w 300"/>
                      <a:gd name="T59" fmla="*/ 2147483646 h 41"/>
                      <a:gd name="T60" fmla="*/ 2147483646 w 300"/>
                      <a:gd name="T61" fmla="*/ 2147483646 h 41"/>
                      <a:gd name="T62" fmla="*/ 2147483646 w 300"/>
                      <a:gd name="T63" fmla="*/ 2147483646 h 41"/>
                      <a:gd name="T64" fmla="*/ 2147483646 w 300"/>
                      <a:gd name="T65" fmla="*/ 2147483646 h 41"/>
                      <a:gd name="T66" fmla="*/ 0 w 300"/>
                      <a:gd name="T67" fmla="*/ 2147483646 h 41"/>
                      <a:gd name="T68" fmla="*/ 2147483646 w 300"/>
                      <a:gd name="T69" fmla="*/ 0 h 4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00"/>
                      <a:gd name="T106" fmla="*/ 0 h 41"/>
                      <a:gd name="T107" fmla="*/ 300 w 300"/>
                      <a:gd name="T108" fmla="*/ 41 h 4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00" h="41">
                        <a:moveTo>
                          <a:pt x="3" y="0"/>
                        </a:moveTo>
                        <a:lnTo>
                          <a:pt x="21" y="1"/>
                        </a:lnTo>
                        <a:lnTo>
                          <a:pt x="40" y="3"/>
                        </a:lnTo>
                        <a:lnTo>
                          <a:pt x="62" y="5"/>
                        </a:lnTo>
                        <a:lnTo>
                          <a:pt x="85" y="8"/>
                        </a:lnTo>
                        <a:lnTo>
                          <a:pt x="109" y="10"/>
                        </a:lnTo>
                        <a:lnTo>
                          <a:pt x="133" y="12"/>
                        </a:lnTo>
                        <a:lnTo>
                          <a:pt x="159" y="15"/>
                        </a:lnTo>
                        <a:lnTo>
                          <a:pt x="183" y="17"/>
                        </a:lnTo>
                        <a:lnTo>
                          <a:pt x="206" y="18"/>
                        </a:lnTo>
                        <a:lnTo>
                          <a:pt x="228" y="20"/>
                        </a:lnTo>
                        <a:lnTo>
                          <a:pt x="249" y="23"/>
                        </a:lnTo>
                        <a:lnTo>
                          <a:pt x="266" y="24"/>
                        </a:lnTo>
                        <a:lnTo>
                          <a:pt x="280" y="25"/>
                        </a:lnTo>
                        <a:lnTo>
                          <a:pt x="291" y="26"/>
                        </a:lnTo>
                        <a:lnTo>
                          <a:pt x="298" y="27"/>
                        </a:lnTo>
                        <a:lnTo>
                          <a:pt x="300" y="27"/>
                        </a:lnTo>
                        <a:lnTo>
                          <a:pt x="296" y="41"/>
                        </a:lnTo>
                        <a:lnTo>
                          <a:pt x="293" y="41"/>
                        </a:lnTo>
                        <a:lnTo>
                          <a:pt x="287" y="40"/>
                        </a:lnTo>
                        <a:lnTo>
                          <a:pt x="276" y="39"/>
                        </a:lnTo>
                        <a:lnTo>
                          <a:pt x="262" y="38"/>
                        </a:lnTo>
                        <a:lnTo>
                          <a:pt x="245" y="36"/>
                        </a:lnTo>
                        <a:lnTo>
                          <a:pt x="226" y="34"/>
                        </a:lnTo>
                        <a:lnTo>
                          <a:pt x="204" y="32"/>
                        </a:lnTo>
                        <a:lnTo>
                          <a:pt x="181" y="30"/>
                        </a:lnTo>
                        <a:lnTo>
                          <a:pt x="156" y="27"/>
                        </a:lnTo>
                        <a:lnTo>
                          <a:pt x="132" y="25"/>
                        </a:lnTo>
                        <a:lnTo>
                          <a:pt x="107" y="23"/>
                        </a:lnTo>
                        <a:lnTo>
                          <a:pt x="83" y="20"/>
                        </a:lnTo>
                        <a:lnTo>
                          <a:pt x="60" y="18"/>
                        </a:lnTo>
                        <a:lnTo>
                          <a:pt x="38" y="16"/>
                        </a:lnTo>
                        <a:lnTo>
                          <a:pt x="17" y="13"/>
                        </a:lnTo>
                        <a:lnTo>
                          <a:pt x="0" y="12"/>
                        </a:lnTo>
                        <a:lnTo>
                          <a:pt x="3" y="0"/>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08" name="Freeform 130">
                    <a:extLst>
                      <a:ext uri="{FF2B5EF4-FFF2-40B4-BE49-F238E27FC236}">
                        <a16:creationId xmlns:a16="http://schemas.microsoft.com/office/drawing/2014/main" id="{EA286AF6-4D9E-45CA-90CF-CD39A584C82C}"/>
                      </a:ext>
                    </a:extLst>
                  </p:cNvPr>
                  <p:cNvSpPr>
                    <a:spLocks/>
                  </p:cNvSpPr>
                  <p:nvPr/>
                </p:nvSpPr>
                <p:spPr bwMode="auto">
                  <a:xfrm>
                    <a:off x="7025327" y="994427"/>
                    <a:ext cx="92358" cy="6415"/>
                  </a:xfrm>
                  <a:custGeom>
                    <a:avLst/>
                    <a:gdLst>
                      <a:gd name="T0" fmla="*/ 2147483646 w 627"/>
                      <a:gd name="T1" fmla="*/ 2147483646 h 65"/>
                      <a:gd name="T2" fmla="*/ 2147483646 w 627"/>
                      <a:gd name="T3" fmla="*/ 2147483646 h 65"/>
                      <a:gd name="T4" fmla="*/ 2147483646 w 627"/>
                      <a:gd name="T5" fmla="*/ 2147483646 h 65"/>
                      <a:gd name="T6" fmla="*/ 2147483646 w 627"/>
                      <a:gd name="T7" fmla="*/ 2147483646 h 65"/>
                      <a:gd name="T8" fmla="*/ 2147483646 w 627"/>
                      <a:gd name="T9" fmla="*/ 2147483646 h 65"/>
                      <a:gd name="T10" fmla="*/ 2147483646 w 627"/>
                      <a:gd name="T11" fmla="*/ 2147483646 h 65"/>
                      <a:gd name="T12" fmla="*/ 2147483646 w 627"/>
                      <a:gd name="T13" fmla="*/ 2147483646 h 65"/>
                      <a:gd name="T14" fmla="*/ 2147483646 w 627"/>
                      <a:gd name="T15" fmla="*/ 2147483646 h 65"/>
                      <a:gd name="T16" fmla="*/ 2147483646 w 627"/>
                      <a:gd name="T17" fmla="*/ 2147483646 h 65"/>
                      <a:gd name="T18" fmla="*/ 2147483646 w 627"/>
                      <a:gd name="T19" fmla="*/ 2147483646 h 65"/>
                      <a:gd name="T20" fmla="*/ 2147483646 w 627"/>
                      <a:gd name="T21" fmla="*/ 2147483646 h 65"/>
                      <a:gd name="T22" fmla="*/ 2147483646 w 627"/>
                      <a:gd name="T23" fmla="*/ 2147483646 h 65"/>
                      <a:gd name="T24" fmla="*/ 2147483646 w 627"/>
                      <a:gd name="T25" fmla="*/ 2147483646 h 65"/>
                      <a:gd name="T26" fmla="*/ 2147483646 w 627"/>
                      <a:gd name="T27" fmla="*/ 2147483646 h 65"/>
                      <a:gd name="T28" fmla="*/ 2147483646 w 627"/>
                      <a:gd name="T29" fmla="*/ 2147483646 h 65"/>
                      <a:gd name="T30" fmla="*/ 2147483646 w 627"/>
                      <a:gd name="T31" fmla="*/ 2147483646 h 65"/>
                      <a:gd name="T32" fmla="*/ 2147483646 w 627"/>
                      <a:gd name="T33" fmla="*/ 2147483646 h 65"/>
                      <a:gd name="T34" fmla="*/ 2147483646 w 627"/>
                      <a:gd name="T35" fmla="*/ 2147483646 h 65"/>
                      <a:gd name="T36" fmla="*/ 2147483646 w 627"/>
                      <a:gd name="T37" fmla="*/ 0 h 65"/>
                      <a:gd name="T38" fmla="*/ 2147483646 w 627"/>
                      <a:gd name="T39" fmla="*/ 0 h 65"/>
                      <a:gd name="T40" fmla="*/ 2147483646 w 627"/>
                      <a:gd name="T41" fmla="*/ 0 h 65"/>
                      <a:gd name="T42" fmla="*/ 2147483646 w 627"/>
                      <a:gd name="T43" fmla="*/ 0 h 65"/>
                      <a:gd name="T44" fmla="*/ 2147483646 w 627"/>
                      <a:gd name="T45" fmla="*/ 0 h 65"/>
                      <a:gd name="T46" fmla="*/ 2147483646 w 627"/>
                      <a:gd name="T47" fmla="*/ 0 h 65"/>
                      <a:gd name="T48" fmla="*/ 2147483646 w 627"/>
                      <a:gd name="T49" fmla="*/ 0 h 65"/>
                      <a:gd name="T50" fmla="*/ 0 w 627"/>
                      <a:gd name="T51" fmla="*/ 2147483646 h 65"/>
                      <a:gd name="T52" fmla="*/ 2147483646 w 627"/>
                      <a:gd name="T53" fmla="*/ 2147483646 h 65"/>
                      <a:gd name="T54" fmla="*/ 2147483646 w 627"/>
                      <a:gd name="T55" fmla="*/ 2147483646 h 65"/>
                      <a:gd name="T56" fmla="*/ 2147483646 w 627"/>
                      <a:gd name="T57" fmla="*/ 2147483646 h 65"/>
                      <a:gd name="T58" fmla="*/ 2147483646 w 627"/>
                      <a:gd name="T59" fmla="*/ 2147483646 h 65"/>
                      <a:gd name="T60" fmla="*/ 2147483646 w 627"/>
                      <a:gd name="T61" fmla="*/ 2147483646 h 65"/>
                      <a:gd name="T62" fmla="*/ 2147483646 w 627"/>
                      <a:gd name="T63" fmla="*/ 2147483646 h 65"/>
                      <a:gd name="T64" fmla="*/ 2147483646 w 627"/>
                      <a:gd name="T65" fmla="*/ 2147483646 h 65"/>
                      <a:gd name="T66" fmla="*/ 2147483646 w 627"/>
                      <a:gd name="T67" fmla="*/ 2147483646 h 65"/>
                      <a:gd name="T68" fmla="*/ 2147483646 w 627"/>
                      <a:gd name="T69" fmla="*/ 2147483646 h 65"/>
                      <a:gd name="T70" fmla="*/ 2147483646 w 627"/>
                      <a:gd name="T71" fmla="*/ 2147483646 h 65"/>
                      <a:gd name="T72" fmla="*/ 2147483646 w 627"/>
                      <a:gd name="T73" fmla="*/ 2147483646 h 65"/>
                      <a:gd name="T74" fmla="*/ 2147483646 w 627"/>
                      <a:gd name="T75" fmla="*/ 2147483646 h 65"/>
                      <a:gd name="T76" fmla="*/ 2147483646 w 627"/>
                      <a:gd name="T77" fmla="*/ 2147483646 h 65"/>
                      <a:gd name="T78" fmla="*/ 2147483646 w 627"/>
                      <a:gd name="T79" fmla="*/ 2147483646 h 65"/>
                      <a:gd name="T80" fmla="*/ 2147483646 w 627"/>
                      <a:gd name="T81" fmla="*/ 2147483646 h 65"/>
                      <a:gd name="T82" fmla="*/ 2147483646 w 627"/>
                      <a:gd name="T83" fmla="*/ 2147483646 h 65"/>
                      <a:gd name="T84" fmla="*/ 2147483646 w 627"/>
                      <a:gd name="T85" fmla="*/ 2147483646 h 65"/>
                      <a:gd name="T86" fmla="*/ 2147483646 w 627"/>
                      <a:gd name="T87" fmla="*/ 2147483646 h 65"/>
                      <a:gd name="T88" fmla="*/ 2147483646 w 627"/>
                      <a:gd name="T89" fmla="*/ 2147483646 h 65"/>
                      <a:gd name="T90" fmla="*/ 2147483646 w 627"/>
                      <a:gd name="T91" fmla="*/ 2147483646 h 65"/>
                      <a:gd name="T92" fmla="*/ 2147483646 w 627"/>
                      <a:gd name="T93" fmla="*/ 2147483646 h 65"/>
                      <a:gd name="T94" fmla="*/ 2147483646 w 627"/>
                      <a:gd name="T95" fmla="*/ 2147483646 h 65"/>
                      <a:gd name="T96" fmla="*/ 2147483646 w 627"/>
                      <a:gd name="T97" fmla="*/ 2147483646 h 65"/>
                      <a:gd name="T98" fmla="*/ 2147483646 w 627"/>
                      <a:gd name="T99" fmla="*/ 2147483646 h 65"/>
                      <a:gd name="T100" fmla="*/ 2147483646 w 627"/>
                      <a:gd name="T101" fmla="*/ 2147483646 h 6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7"/>
                      <a:gd name="T154" fmla="*/ 0 h 65"/>
                      <a:gd name="T155" fmla="*/ 627 w 627"/>
                      <a:gd name="T156" fmla="*/ 65 h 6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7" h="65">
                        <a:moveTo>
                          <a:pt x="627" y="45"/>
                        </a:moveTo>
                        <a:lnTo>
                          <a:pt x="623" y="45"/>
                        </a:lnTo>
                        <a:lnTo>
                          <a:pt x="610" y="44"/>
                        </a:lnTo>
                        <a:lnTo>
                          <a:pt x="589" y="42"/>
                        </a:lnTo>
                        <a:lnTo>
                          <a:pt x="562" y="40"/>
                        </a:lnTo>
                        <a:lnTo>
                          <a:pt x="531" y="36"/>
                        </a:lnTo>
                        <a:lnTo>
                          <a:pt x="494" y="33"/>
                        </a:lnTo>
                        <a:lnTo>
                          <a:pt x="456" y="29"/>
                        </a:lnTo>
                        <a:lnTo>
                          <a:pt x="414" y="26"/>
                        </a:lnTo>
                        <a:lnTo>
                          <a:pt x="374" y="21"/>
                        </a:lnTo>
                        <a:lnTo>
                          <a:pt x="332" y="18"/>
                        </a:lnTo>
                        <a:lnTo>
                          <a:pt x="293" y="14"/>
                        </a:lnTo>
                        <a:lnTo>
                          <a:pt x="258" y="11"/>
                        </a:lnTo>
                        <a:lnTo>
                          <a:pt x="225" y="9"/>
                        </a:lnTo>
                        <a:lnTo>
                          <a:pt x="198" y="5"/>
                        </a:lnTo>
                        <a:lnTo>
                          <a:pt x="177" y="4"/>
                        </a:lnTo>
                        <a:lnTo>
                          <a:pt x="163" y="3"/>
                        </a:lnTo>
                        <a:lnTo>
                          <a:pt x="142" y="2"/>
                        </a:lnTo>
                        <a:lnTo>
                          <a:pt x="118" y="0"/>
                        </a:lnTo>
                        <a:lnTo>
                          <a:pt x="92" y="0"/>
                        </a:lnTo>
                        <a:lnTo>
                          <a:pt x="68" y="0"/>
                        </a:lnTo>
                        <a:lnTo>
                          <a:pt x="45" y="0"/>
                        </a:lnTo>
                        <a:lnTo>
                          <a:pt x="26" y="0"/>
                        </a:lnTo>
                        <a:lnTo>
                          <a:pt x="13" y="0"/>
                        </a:lnTo>
                        <a:lnTo>
                          <a:pt x="9" y="0"/>
                        </a:lnTo>
                        <a:lnTo>
                          <a:pt x="0" y="15"/>
                        </a:lnTo>
                        <a:lnTo>
                          <a:pt x="4" y="15"/>
                        </a:lnTo>
                        <a:lnTo>
                          <a:pt x="16" y="15"/>
                        </a:lnTo>
                        <a:lnTo>
                          <a:pt x="34" y="17"/>
                        </a:lnTo>
                        <a:lnTo>
                          <a:pt x="56" y="17"/>
                        </a:lnTo>
                        <a:lnTo>
                          <a:pt x="80" y="18"/>
                        </a:lnTo>
                        <a:lnTo>
                          <a:pt x="104" y="18"/>
                        </a:lnTo>
                        <a:lnTo>
                          <a:pt x="126" y="19"/>
                        </a:lnTo>
                        <a:lnTo>
                          <a:pt x="146" y="19"/>
                        </a:lnTo>
                        <a:lnTo>
                          <a:pt x="159" y="20"/>
                        </a:lnTo>
                        <a:lnTo>
                          <a:pt x="179" y="21"/>
                        </a:lnTo>
                        <a:lnTo>
                          <a:pt x="207" y="23"/>
                        </a:lnTo>
                        <a:lnTo>
                          <a:pt x="239" y="27"/>
                        </a:lnTo>
                        <a:lnTo>
                          <a:pt x="276" y="30"/>
                        </a:lnTo>
                        <a:lnTo>
                          <a:pt x="315" y="35"/>
                        </a:lnTo>
                        <a:lnTo>
                          <a:pt x="358" y="38"/>
                        </a:lnTo>
                        <a:lnTo>
                          <a:pt x="400" y="43"/>
                        </a:lnTo>
                        <a:lnTo>
                          <a:pt x="442" y="47"/>
                        </a:lnTo>
                        <a:lnTo>
                          <a:pt x="482" y="51"/>
                        </a:lnTo>
                        <a:lnTo>
                          <a:pt x="519" y="55"/>
                        </a:lnTo>
                        <a:lnTo>
                          <a:pt x="552" y="58"/>
                        </a:lnTo>
                        <a:lnTo>
                          <a:pt x="580" y="60"/>
                        </a:lnTo>
                        <a:lnTo>
                          <a:pt x="602" y="63"/>
                        </a:lnTo>
                        <a:lnTo>
                          <a:pt x="616" y="65"/>
                        </a:lnTo>
                        <a:lnTo>
                          <a:pt x="620" y="65"/>
                        </a:lnTo>
                        <a:lnTo>
                          <a:pt x="627"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09" name="Freeform 131">
                    <a:extLst>
                      <a:ext uri="{FF2B5EF4-FFF2-40B4-BE49-F238E27FC236}">
                        <a16:creationId xmlns:a16="http://schemas.microsoft.com/office/drawing/2014/main" id="{98A6C247-2FD8-4CF6-B918-42D5DB7C1F42}"/>
                      </a:ext>
                    </a:extLst>
                  </p:cNvPr>
                  <p:cNvSpPr>
                    <a:spLocks/>
                  </p:cNvSpPr>
                  <p:nvPr/>
                </p:nvSpPr>
                <p:spPr bwMode="auto">
                  <a:xfrm>
                    <a:off x="7017679" y="1015677"/>
                    <a:ext cx="92358" cy="6616"/>
                  </a:xfrm>
                  <a:custGeom>
                    <a:avLst/>
                    <a:gdLst>
                      <a:gd name="T0" fmla="*/ 2147483646 w 627"/>
                      <a:gd name="T1" fmla="*/ 2147483646 h 65"/>
                      <a:gd name="T2" fmla="*/ 2147483646 w 627"/>
                      <a:gd name="T3" fmla="*/ 2147483646 h 65"/>
                      <a:gd name="T4" fmla="*/ 2147483646 w 627"/>
                      <a:gd name="T5" fmla="*/ 2147483646 h 65"/>
                      <a:gd name="T6" fmla="*/ 2147483646 w 627"/>
                      <a:gd name="T7" fmla="*/ 2147483646 h 65"/>
                      <a:gd name="T8" fmla="*/ 2147483646 w 627"/>
                      <a:gd name="T9" fmla="*/ 2147483646 h 65"/>
                      <a:gd name="T10" fmla="*/ 2147483646 w 627"/>
                      <a:gd name="T11" fmla="*/ 2147483646 h 65"/>
                      <a:gd name="T12" fmla="*/ 2147483646 w 627"/>
                      <a:gd name="T13" fmla="*/ 2147483646 h 65"/>
                      <a:gd name="T14" fmla="*/ 2147483646 w 627"/>
                      <a:gd name="T15" fmla="*/ 2147483646 h 65"/>
                      <a:gd name="T16" fmla="*/ 2147483646 w 627"/>
                      <a:gd name="T17" fmla="*/ 2147483646 h 65"/>
                      <a:gd name="T18" fmla="*/ 2147483646 w 627"/>
                      <a:gd name="T19" fmla="*/ 2147483646 h 65"/>
                      <a:gd name="T20" fmla="*/ 2147483646 w 627"/>
                      <a:gd name="T21" fmla="*/ 2147483646 h 65"/>
                      <a:gd name="T22" fmla="*/ 2147483646 w 627"/>
                      <a:gd name="T23" fmla="*/ 2147483646 h 65"/>
                      <a:gd name="T24" fmla="*/ 2147483646 w 627"/>
                      <a:gd name="T25" fmla="*/ 2147483646 h 65"/>
                      <a:gd name="T26" fmla="*/ 2147483646 w 627"/>
                      <a:gd name="T27" fmla="*/ 2147483646 h 65"/>
                      <a:gd name="T28" fmla="*/ 2147483646 w 627"/>
                      <a:gd name="T29" fmla="*/ 2147483646 h 65"/>
                      <a:gd name="T30" fmla="*/ 2147483646 w 627"/>
                      <a:gd name="T31" fmla="*/ 2147483646 h 65"/>
                      <a:gd name="T32" fmla="*/ 2147483646 w 627"/>
                      <a:gd name="T33" fmla="*/ 2147483646 h 65"/>
                      <a:gd name="T34" fmla="*/ 2147483646 w 627"/>
                      <a:gd name="T35" fmla="*/ 2147483646 h 65"/>
                      <a:gd name="T36" fmla="*/ 2147483646 w 627"/>
                      <a:gd name="T37" fmla="*/ 2147483646 h 65"/>
                      <a:gd name="T38" fmla="*/ 2147483646 w 627"/>
                      <a:gd name="T39" fmla="*/ 0 h 65"/>
                      <a:gd name="T40" fmla="*/ 2147483646 w 627"/>
                      <a:gd name="T41" fmla="*/ 0 h 65"/>
                      <a:gd name="T42" fmla="*/ 2147483646 w 627"/>
                      <a:gd name="T43" fmla="*/ 2147483646 h 65"/>
                      <a:gd name="T44" fmla="*/ 2147483646 w 627"/>
                      <a:gd name="T45" fmla="*/ 2147483646 h 65"/>
                      <a:gd name="T46" fmla="*/ 2147483646 w 627"/>
                      <a:gd name="T47" fmla="*/ 2147483646 h 65"/>
                      <a:gd name="T48" fmla="*/ 2147483646 w 627"/>
                      <a:gd name="T49" fmla="*/ 2147483646 h 65"/>
                      <a:gd name="T50" fmla="*/ 0 w 627"/>
                      <a:gd name="T51" fmla="*/ 2147483646 h 65"/>
                      <a:gd name="T52" fmla="*/ 2147483646 w 627"/>
                      <a:gd name="T53" fmla="*/ 2147483646 h 65"/>
                      <a:gd name="T54" fmla="*/ 2147483646 w 627"/>
                      <a:gd name="T55" fmla="*/ 2147483646 h 65"/>
                      <a:gd name="T56" fmla="*/ 2147483646 w 627"/>
                      <a:gd name="T57" fmla="*/ 2147483646 h 65"/>
                      <a:gd name="T58" fmla="*/ 2147483646 w 627"/>
                      <a:gd name="T59" fmla="*/ 2147483646 h 65"/>
                      <a:gd name="T60" fmla="*/ 2147483646 w 627"/>
                      <a:gd name="T61" fmla="*/ 2147483646 h 65"/>
                      <a:gd name="T62" fmla="*/ 2147483646 w 627"/>
                      <a:gd name="T63" fmla="*/ 2147483646 h 65"/>
                      <a:gd name="T64" fmla="*/ 2147483646 w 627"/>
                      <a:gd name="T65" fmla="*/ 2147483646 h 65"/>
                      <a:gd name="T66" fmla="*/ 2147483646 w 627"/>
                      <a:gd name="T67" fmla="*/ 2147483646 h 65"/>
                      <a:gd name="T68" fmla="*/ 2147483646 w 627"/>
                      <a:gd name="T69" fmla="*/ 2147483646 h 65"/>
                      <a:gd name="T70" fmla="*/ 2147483646 w 627"/>
                      <a:gd name="T71" fmla="*/ 2147483646 h 65"/>
                      <a:gd name="T72" fmla="*/ 2147483646 w 627"/>
                      <a:gd name="T73" fmla="*/ 2147483646 h 65"/>
                      <a:gd name="T74" fmla="*/ 2147483646 w 627"/>
                      <a:gd name="T75" fmla="*/ 2147483646 h 65"/>
                      <a:gd name="T76" fmla="*/ 2147483646 w 627"/>
                      <a:gd name="T77" fmla="*/ 2147483646 h 65"/>
                      <a:gd name="T78" fmla="*/ 2147483646 w 627"/>
                      <a:gd name="T79" fmla="*/ 2147483646 h 65"/>
                      <a:gd name="T80" fmla="*/ 2147483646 w 627"/>
                      <a:gd name="T81" fmla="*/ 2147483646 h 65"/>
                      <a:gd name="T82" fmla="*/ 2147483646 w 627"/>
                      <a:gd name="T83" fmla="*/ 2147483646 h 65"/>
                      <a:gd name="T84" fmla="*/ 2147483646 w 627"/>
                      <a:gd name="T85" fmla="*/ 2147483646 h 65"/>
                      <a:gd name="T86" fmla="*/ 2147483646 w 627"/>
                      <a:gd name="T87" fmla="*/ 2147483646 h 65"/>
                      <a:gd name="T88" fmla="*/ 2147483646 w 627"/>
                      <a:gd name="T89" fmla="*/ 2147483646 h 65"/>
                      <a:gd name="T90" fmla="*/ 2147483646 w 627"/>
                      <a:gd name="T91" fmla="*/ 2147483646 h 65"/>
                      <a:gd name="T92" fmla="*/ 2147483646 w 627"/>
                      <a:gd name="T93" fmla="*/ 2147483646 h 65"/>
                      <a:gd name="T94" fmla="*/ 2147483646 w 627"/>
                      <a:gd name="T95" fmla="*/ 2147483646 h 65"/>
                      <a:gd name="T96" fmla="*/ 2147483646 w 627"/>
                      <a:gd name="T97" fmla="*/ 2147483646 h 65"/>
                      <a:gd name="T98" fmla="*/ 2147483646 w 627"/>
                      <a:gd name="T99" fmla="*/ 2147483646 h 65"/>
                      <a:gd name="T100" fmla="*/ 2147483646 w 627"/>
                      <a:gd name="T101" fmla="*/ 2147483646 h 6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7"/>
                      <a:gd name="T154" fmla="*/ 0 h 65"/>
                      <a:gd name="T155" fmla="*/ 627 w 627"/>
                      <a:gd name="T156" fmla="*/ 65 h 6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7" h="65">
                        <a:moveTo>
                          <a:pt x="627" y="44"/>
                        </a:moveTo>
                        <a:lnTo>
                          <a:pt x="623" y="44"/>
                        </a:lnTo>
                        <a:lnTo>
                          <a:pt x="610" y="43"/>
                        </a:lnTo>
                        <a:lnTo>
                          <a:pt x="589" y="41"/>
                        </a:lnTo>
                        <a:lnTo>
                          <a:pt x="562" y="39"/>
                        </a:lnTo>
                        <a:lnTo>
                          <a:pt x="531" y="35"/>
                        </a:lnTo>
                        <a:lnTo>
                          <a:pt x="494" y="32"/>
                        </a:lnTo>
                        <a:lnTo>
                          <a:pt x="456" y="28"/>
                        </a:lnTo>
                        <a:lnTo>
                          <a:pt x="414" y="25"/>
                        </a:lnTo>
                        <a:lnTo>
                          <a:pt x="374" y="21"/>
                        </a:lnTo>
                        <a:lnTo>
                          <a:pt x="333" y="17"/>
                        </a:lnTo>
                        <a:lnTo>
                          <a:pt x="293" y="13"/>
                        </a:lnTo>
                        <a:lnTo>
                          <a:pt x="258" y="10"/>
                        </a:lnTo>
                        <a:lnTo>
                          <a:pt x="225" y="8"/>
                        </a:lnTo>
                        <a:lnTo>
                          <a:pt x="198" y="5"/>
                        </a:lnTo>
                        <a:lnTo>
                          <a:pt x="177" y="3"/>
                        </a:lnTo>
                        <a:lnTo>
                          <a:pt x="163" y="2"/>
                        </a:lnTo>
                        <a:lnTo>
                          <a:pt x="143" y="1"/>
                        </a:lnTo>
                        <a:lnTo>
                          <a:pt x="118" y="1"/>
                        </a:lnTo>
                        <a:lnTo>
                          <a:pt x="92" y="0"/>
                        </a:lnTo>
                        <a:lnTo>
                          <a:pt x="68" y="0"/>
                        </a:lnTo>
                        <a:lnTo>
                          <a:pt x="45" y="1"/>
                        </a:lnTo>
                        <a:lnTo>
                          <a:pt x="26" y="1"/>
                        </a:lnTo>
                        <a:lnTo>
                          <a:pt x="14" y="1"/>
                        </a:lnTo>
                        <a:lnTo>
                          <a:pt x="9" y="1"/>
                        </a:lnTo>
                        <a:lnTo>
                          <a:pt x="0" y="16"/>
                        </a:lnTo>
                        <a:lnTo>
                          <a:pt x="4" y="16"/>
                        </a:lnTo>
                        <a:lnTo>
                          <a:pt x="16" y="16"/>
                        </a:lnTo>
                        <a:lnTo>
                          <a:pt x="34" y="16"/>
                        </a:lnTo>
                        <a:lnTo>
                          <a:pt x="56" y="17"/>
                        </a:lnTo>
                        <a:lnTo>
                          <a:pt x="80" y="17"/>
                        </a:lnTo>
                        <a:lnTo>
                          <a:pt x="105" y="18"/>
                        </a:lnTo>
                        <a:lnTo>
                          <a:pt x="126" y="18"/>
                        </a:lnTo>
                        <a:lnTo>
                          <a:pt x="146" y="19"/>
                        </a:lnTo>
                        <a:lnTo>
                          <a:pt x="159" y="20"/>
                        </a:lnTo>
                        <a:lnTo>
                          <a:pt x="179" y="21"/>
                        </a:lnTo>
                        <a:lnTo>
                          <a:pt x="207" y="24"/>
                        </a:lnTo>
                        <a:lnTo>
                          <a:pt x="239" y="27"/>
                        </a:lnTo>
                        <a:lnTo>
                          <a:pt x="276" y="31"/>
                        </a:lnTo>
                        <a:lnTo>
                          <a:pt x="315" y="34"/>
                        </a:lnTo>
                        <a:lnTo>
                          <a:pt x="358" y="39"/>
                        </a:lnTo>
                        <a:lnTo>
                          <a:pt x="401" y="42"/>
                        </a:lnTo>
                        <a:lnTo>
                          <a:pt x="442" y="47"/>
                        </a:lnTo>
                        <a:lnTo>
                          <a:pt x="482" y="51"/>
                        </a:lnTo>
                        <a:lnTo>
                          <a:pt x="519" y="55"/>
                        </a:lnTo>
                        <a:lnTo>
                          <a:pt x="553" y="58"/>
                        </a:lnTo>
                        <a:lnTo>
                          <a:pt x="580" y="61"/>
                        </a:lnTo>
                        <a:lnTo>
                          <a:pt x="602" y="63"/>
                        </a:lnTo>
                        <a:lnTo>
                          <a:pt x="616" y="65"/>
                        </a:lnTo>
                        <a:lnTo>
                          <a:pt x="621" y="65"/>
                        </a:lnTo>
                        <a:lnTo>
                          <a:pt x="627"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10" name="Freeform 132">
                    <a:extLst>
                      <a:ext uri="{FF2B5EF4-FFF2-40B4-BE49-F238E27FC236}">
                        <a16:creationId xmlns:a16="http://schemas.microsoft.com/office/drawing/2014/main" id="{11191DA3-594C-4A9F-84B1-1A42CDA4D07B}"/>
                      </a:ext>
                    </a:extLst>
                  </p:cNvPr>
                  <p:cNvSpPr>
                    <a:spLocks/>
                  </p:cNvSpPr>
                  <p:nvPr/>
                </p:nvSpPr>
                <p:spPr bwMode="auto">
                  <a:xfrm>
                    <a:off x="7012973" y="1029510"/>
                    <a:ext cx="92358" cy="6616"/>
                  </a:xfrm>
                  <a:custGeom>
                    <a:avLst/>
                    <a:gdLst>
                      <a:gd name="T0" fmla="*/ 2147483646 w 627"/>
                      <a:gd name="T1" fmla="*/ 2147483646 h 65"/>
                      <a:gd name="T2" fmla="*/ 2147483646 w 627"/>
                      <a:gd name="T3" fmla="*/ 2147483646 h 65"/>
                      <a:gd name="T4" fmla="*/ 2147483646 w 627"/>
                      <a:gd name="T5" fmla="*/ 2147483646 h 65"/>
                      <a:gd name="T6" fmla="*/ 2147483646 w 627"/>
                      <a:gd name="T7" fmla="*/ 2147483646 h 65"/>
                      <a:gd name="T8" fmla="*/ 2147483646 w 627"/>
                      <a:gd name="T9" fmla="*/ 2147483646 h 65"/>
                      <a:gd name="T10" fmla="*/ 2147483646 w 627"/>
                      <a:gd name="T11" fmla="*/ 2147483646 h 65"/>
                      <a:gd name="T12" fmla="*/ 2147483646 w 627"/>
                      <a:gd name="T13" fmla="*/ 2147483646 h 65"/>
                      <a:gd name="T14" fmla="*/ 2147483646 w 627"/>
                      <a:gd name="T15" fmla="*/ 2147483646 h 65"/>
                      <a:gd name="T16" fmla="*/ 2147483646 w 627"/>
                      <a:gd name="T17" fmla="*/ 2147483646 h 65"/>
                      <a:gd name="T18" fmla="*/ 2147483646 w 627"/>
                      <a:gd name="T19" fmla="*/ 2147483646 h 65"/>
                      <a:gd name="T20" fmla="*/ 2147483646 w 627"/>
                      <a:gd name="T21" fmla="*/ 2147483646 h 65"/>
                      <a:gd name="T22" fmla="*/ 2147483646 w 627"/>
                      <a:gd name="T23" fmla="*/ 2147483646 h 65"/>
                      <a:gd name="T24" fmla="*/ 2147483646 w 627"/>
                      <a:gd name="T25" fmla="*/ 2147483646 h 65"/>
                      <a:gd name="T26" fmla="*/ 2147483646 w 627"/>
                      <a:gd name="T27" fmla="*/ 2147483646 h 65"/>
                      <a:gd name="T28" fmla="*/ 2147483646 w 627"/>
                      <a:gd name="T29" fmla="*/ 2147483646 h 65"/>
                      <a:gd name="T30" fmla="*/ 2147483646 w 627"/>
                      <a:gd name="T31" fmla="*/ 2147483646 h 65"/>
                      <a:gd name="T32" fmla="*/ 2147483646 w 627"/>
                      <a:gd name="T33" fmla="*/ 2147483646 h 65"/>
                      <a:gd name="T34" fmla="*/ 2147483646 w 627"/>
                      <a:gd name="T35" fmla="*/ 2147483646 h 65"/>
                      <a:gd name="T36" fmla="*/ 2147483646 w 627"/>
                      <a:gd name="T37" fmla="*/ 2147483646 h 65"/>
                      <a:gd name="T38" fmla="*/ 2147483646 w 627"/>
                      <a:gd name="T39" fmla="*/ 0 h 65"/>
                      <a:gd name="T40" fmla="*/ 2147483646 w 627"/>
                      <a:gd name="T41" fmla="*/ 0 h 65"/>
                      <a:gd name="T42" fmla="*/ 2147483646 w 627"/>
                      <a:gd name="T43" fmla="*/ 2147483646 h 65"/>
                      <a:gd name="T44" fmla="*/ 2147483646 w 627"/>
                      <a:gd name="T45" fmla="*/ 2147483646 h 65"/>
                      <a:gd name="T46" fmla="*/ 2147483646 w 627"/>
                      <a:gd name="T47" fmla="*/ 2147483646 h 65"/>
                      <a:gd name="T48" fmla="*/ 2147483646 w 627"/>
                      <a:gd name="T49" fmla="*/ 2147483646 h 65"/>
                      <a:gd name="T50" fmla="*/ 0 w 627"/>
                      <a:gd name="T51" fmla="*/ 2147483646 h 65"/>
                      <a:gd name="T52" fmla="*/ 2147483646 w 627"/>
                      <a:gd name="T53" fmla="*/ 2147483646 h 65"/>
                      <a:gd name="T54" fmla="*/ 2147483646 w 627"/>
                      <a:gd name="T55" fmla="*/ 2147483646 h 65"/>
                      <a:gd name="T56" fmla="*/ 2147483646 w 627"/>
                      <a:gd name="T57" fmla="*/ 2147483646 h 65"/>
                      <a:gd name="T58" fmla="*/ 2147483646 w 627"/>
                      <a:gd name="T59" fmla="*/ 2147483646 h 65"/>
                      <a:gd name="T60" fmla="*/ 2147483646 w 627"/>
                      <a:gd name="T61" fmla="*/ 2147483646 h 65"/>
                      <a:gd name="T62" fmla="*/ 2147483646 w 627"/>
                      <a:gd name="T63" fmla="*/ 2147483646 h 65"/>
                      <a:gd name="T64" fmla="*/ 2147483646 w 627"/>
                      <a:gd name="T65" fmla="*/ 2147483646 h 65"/>
                      <a:gd name="T66" fmla="*/ 2147483646 w 627"/>
                      <a:gd name="T67" fmla="*/ 2147483646 h 65"/>
                      <a:gd name="T68" fmla="*/ 2147483646 w 627"/>
                      <a:gd name="T69" fmla="*/ 2147483646 h 65"/>
                      <a:gd name="T70" fmla="*/ 2147483646 w 627"/>
                      <a:gd name="T71" fmla="*/ 2147483646 h 65"/>
                      <a:gd name="T72" fmla="*/ 2147483646 w 627"/>
                      <a:gd name="T73" fmla="*/ 2147483646 h 65"/>
                      <a:gd name="T74" fmla="*/ 2147483646 w 627"/>
                      <a:gd name="T75" fmla="*/ 2147483646 h 65"/>
                      <a:gd name="T76" fmla="*/ 2147483646 w 627"/>
                      <a:gd name="T77" fmla="*/ 2147483646 h 65"/>
                      <a:gd name="T78" fmla="*/ 2147483646 w 627"/>
                      <a:gd name="T79" fmla="*/ 2147483646 h 65"/>
                      <a:gd name="T80" fmla="*/ 2147483646 w 627"/>
                      <a:gd name="T81" fmla="*/ 2147483646 h 65"/>
                      <a:gd name="T82" fmla="*/ 2147483646 w 627"/>
                      <a:gd name="T83" fmla="*/ 2147483646 h 65"/>
                      <a:gd name="T84" fmla="*/ 2147483646 w 627"/>
                      <a:gd name="T85" fmla="*/ 2147483646 h 65"/>
                      <a:gd name="T86" fmla="*/ 2147483646 w 627"/>
                      <a:gd name="T87" fmla="*/ 2147483646 h 65"/>
                      <a:gd name="T88" fmla="*/ 2147483646 w 627"/>
                      <a:gd name="T89" fmla="*/ 2147483646 h 65"/>
                      <a:gd name="T90" fmla="*/ 2147483646 w 627"/>
                      <a:gd name="T91" fmla="*/ 2147483646 h 65"/>
                      <a:gd name="T92" fmla="*/ 2147483646 w 627"/>
                      <a:gd name="T93" fmla="*/ 2147483646 h 65"/>
                      <a:gd name="T94" fmla="*/ 2147483646 w 627"/>
                      <a:gd name="T95" fmla="*/ 2147483646 h 65"/>
                      <a:gd name="T96" fmla="*/ 2147483646 w 627"/>
                      <a:gd name="T97" fmla="*/ 2147483646 h 65"/>
                      <a:gd name="T98" fmla="*/ 2147483646 w 627"/>
                      <a:gd name="T99" fmla="*/ 2147483646 h 65"/>
                      <a:gd name="T100" fmla="*/ 2147483646 w 627"/>
                      <a:gd name="T101" fmla="*/ 2147483646 h 6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7"/>
                      <a:gd name="T154" fmla="*/ 0 h 65"/>
                      <a:gd name="T155" fmla="*/ 627 w 627"/>
                      <a:gd name="T156" fmla="*/ 65 h 6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7" h="65">
                        <a:moveTo>
                          <a:pt x="627" y="45"/>
                        </a:moveTo>
                        <a:lnTo>
                          <a:pt x="623" y="45"/>
                        </a:lnTo>
                        <a:lnTo>
                          <a:pt x="610" y="43"/>
                        </a:lnTo>
                        <a:lnTo>
                          <a:pt x="589" y="41"/>
                        </a:lnTo>
                        <a:lnTo>
                          <a:pt x="562" y="39"/>
                        </a:lnTo>
                        <a:lnTo>
                          <a:pt x="530" y="35"/>
                        </a:lnTo>
                        <a:lnTo>
                          <a:pt x="494" y="32"/>
                        </a:lnTo>
                        <a:lnTo>
                          <a:pt x="456" y="28"/>
                        </a:lnTo>
                        <a:lnTo>
                          <a:pt x="414" y="25"/>
                        </a:lnTo>
                        <a:lnTo>
                          <a:pt x="374" y="22"/>
                        </a:lnTo>
                        <a:lnTo>
                          <a:pt x="332" y="17"/>
                        </a:lnTo>
                        <a:lnTo>
                          <a:pt x="293" y="13"/>
                        </a:lnTo>
                        <a:lnTo>
                          <a:pt x="257" y="10"/>
                        </a:lnTo>
                        <a:lnTo>
                          <a:pt x="225" y="8"/>
                        </a:lnTo>
                        <a:lnTo>
                          <a:pt x="198" y="5"/>
                        </a:lnTo>
                        <a:lnTo>
                          <a:pt x="177" y="3"/>
                        </a:lnTo>
                        <a:lnTo>
                          <a:pt x="163" y="2"/>
                        </a:lnTo>
                        <a:lnTo>
                          <a:pt x="141" y="1"/>
                        </a:lnTo>
                        <a:lnTo>
                          <a:pt x="117" y="1"/>
                        </a:lnTo>
                        <a:lnTo>
                          <a:pt x="92" y="0"/>
                        </a:lnTo>
                        <a:lnTo>
                          <a:pt x="66" y="0"/>
                        </a:lnTo>
                        <a:lnTo>
                          <a:pt x="44" y="1"/>
                        </a:lnTo>
                        <a:lnTo>
                          <a:pt x="26" y="1"/>
                        </a:lnTo>
                        <a:lnTo>
                          <a:pt x="13" y="1"/>
                        </a:lnTo>
                        <a:lnTo>
                          <a:pt x="9" y="1"/>
                        </a:lnTo>
                        <a:lnTo>
                          <a:pt x="0" y="16"/>
                        </a:lnTo>
                        <a:lnTo>
                          <a:pt x="4" y="16"/>
                        </a:lnTo>
                        <a:lnTo>
                          <a:pt x="16" y="16"/>
                        </a:lnTo>
                        <a:lnTo>
                          <a:pt x="34" y="16"/>
                        </a:lnTo>
                        <a:lnTo>
                          <a:pt x="56" y="17"/>
                        </a:lnTo>
                        <a:lnTo>
                          <a:pt x="80" y="17"/>
                        </a:lnTo>
                        <a:lnTo>
                          <a:pt x="104" y="18"/>
                        </a:lnTo>
                        <a:lnTo>
                          <a:pt x="126" y="18"/>
                        </a:lnTo>
                        <a:lnTo>
                          <a:pt x="146" y="19"/>
                        </a:lnTo>
                        <a:lnTo>
                          <a:pt x="158" y="20"/>
                        </a:lnTo>
                        <a:lnTo>
                          <a:pt x="179" y="22"/>
                        </a:lnTo>
                        <a:lnTo>
                          <a:pt x="206" y="24"/>
                        </a:lnTo>
                        <a:lnTo>
                          <a:pt x="238" y="27"/>
                        </a:lnTo>
                        <a:lnTo>
                          <a:pt x="275" y="31"/>
                        </a:lnTo>
                        <a:lnTo>
                          <a:pt x="315" y="34"/>
                        </a:lnTo>
                        <a:lnTo>
                          <a:pt x="357" y="39"/>
                        </a:lnTo>
                        <a:lnTo>
                          <a:pt x="399" y="42"/>
                        </a:lnTo>
                        <a:lnTo>
                          <a:pt x="442" y="47"/>
                        </a:lnTo>
                        <a:lnTo>
                          <a:pt x="482" y="51"/>
                        </a:lnTo>
                        <a:lnTo>
                          <a:pt x="519" y="55"/>
                        </a:lnTo>
                        <a:lnTo>
                          <a:pt x="552" y="58"/>
                        </a:lnTo>
                        <a:lnTo>
                          <a:pt x="580" y="61"/>
                        </a:lnTo>
                        <a:lnTo>
                          <a:pt x="602" y="63"/>
                        </a:lnTo>
                        <a:lnTo>
                          <a:pt x="616" y="65"/>
                        </a:lnTo>
                        <a:lnTo>
                          <a:pt x="620" y="65"/>
                        </a:lnTo>
                        <a:lnTo>
                          <a:pt x="627"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11" name="Freeform 133">
                    <a:extLst>
                      <a:ext uri="{FF2B5EF4-FFF2-40B4-BE49-F238E27FC236}">
                        <a16:creationId xmlns:a16="http://schemas.microsoft.com/office/drawing/2014/main" id="{B73B0A19-AAAF-4208-9E6F-8F690622AEB5}"/>
                      </a:ext>
                    </a:extLst>
                  </p:cNvPr>
                  <p:cNvSpPr>
                    <a:spLocks/>
                  </p:cNvSpPr>
                  <p:nvPr/>
                </p:nvSpPr>
                <p:spPr bwMode="auto">
                  <a:xfrm>
                    <a:off x="7009149" y="1035525"/>
                    <a:ext cx="92064" cy="6616"/>
                  </a:xfrm>
                  <a:custGeom>
                    <a:avLst/>
                    <a:gdLst>
                      <a:gd name="T0" fmla="*/ 2147483646 w 627"/>
                      <a:gd name="T1" fmla="*/ 2147483646 h 65"/>
                      <a:gd name="T2" fmla="*/ 2147483646 w 627"/>
                      <a:gd name="T3" fmla="*/ 2147483646 h 65"/>
                      <a:gd name="T4" fmla="*/ 2147483646 w 627"/>
                      <a:gd name="T5" fmla="*/ 2147483646 h 65"/>
                      <a:gd name="T6" fmla="*/ 2147483646 w 627"/>
                      <a:gd name="T7" fmla="*/ 2147483646 h 65"/>
                      <a:gd name="T8" fmla="*/ 2147483646 w 627"/>
                      <a:gd name="T9" fmla="*/ 2147483646 h 65"/>
                      <a:gd name="T10" fmla="*/ 2147483646 w 627"/>
                      <a:gd name="T11" fmla="*/ 2147483646 h 65"/>
                      <a:gd name="T12" fmla="*/ 2147483646 w 627"/>
                      <a:gd name="T13" fmla="*/ 2147483646 h 65"/>
                      <a:gd name="T14" fmla="*/ 2147483646 w 627"/>
                      <a:gd name="T15" fmla="*/ 2147483646 h 65"/>
                      <a:gd name="T16" fmla="*/ 2147483646 w 627"/>
                      <a:gd name="T17" fmla="*/ 2147483646 h 65"/>
                      <a:gd name="T18" fmla="*/ 2147483646 w 627"/>
                      <a:gd name="T19" fmla="*/ 2147483646 h 65"/>
                      <a:gd name="T20" fmla="*/ 2147483646 w 627"/>
                      <a:gd name="T21" fmla="*/ 2147483646 h 65"/>
                      <a:gd name="T22" fmla="*/ 2147483646 w 627"/>
                      <a:gd name="T23" fmla="*/ 2147483646 h 65"/>
                      <a:gd name="T24" fmla="*/ 2147483646 w 627"/>
                      <a:gd name="T25" fmla="*/ 2147483646 h 65"/>
                      <a:gd name="T26" fmla="*/ 2147483646 w 627"/>
                      <a:gd name="T27" fmla="*/ 2147483646 h 65"/>
                      <a:gd name="T28" fmla="*/ 2147483646 w 627"/>
                      <a:gd name="T29" fmla="*/ 2147483646 h 65"/>
                      <a:gd name="T30" fmla="*/ 2147483646 w 627"/>
                      <a:gd name="T31" fmla="*/ 2147483646 h 65"/>
                      <a:gd name="T32" fmla="*/ 2147483646 w 627"/>
                      <a:gd name="T33" fmla="*/ 2147483646 h 65"/>
                      <a:gd name="T34" fmla="*/ 2147483646 w 627"/>
                      <a:gd name="T35" fmla="*/ 2147483646 h 65"/>
                      <a:gd name="T36" fmla="*/ 2147483646 w 627"/>
                      <a:gd name="T37" fmla="*/ 2147483646 h 65"/>
                      <a:gd name="T38" fmla="*/ 2147483646 w 627"/>
                      <a:gd name="T39" fmla="*/ 0 h 65"/>
                      <a:gd name="T40" fmla="*/ 2147483646 w 627"/>
                      <a:gd name="T41" fmla="*/ 0 h 65"/>
                      <a:gd name="T42" fmla="*/ 2147483646 w 627"/>
                      <a:gd name="T43" fmla="*/ 2147483646 h 65"/>
                      <a:gd name="T44" fmla="*/ 2147483646 w 627"/>
                      <a:gd name="T45" fmla="*/ 2147483646 h 65"/>
                      <a:gd name="T46" fmla="*/ 2147483646 w 627"/>
                      <a:gd name="T47" fmla="*/ 2147483646 h 65"/>
                      <a:gd name="T48" fmla="*/ 2147483646 w 627"/>
                      <a:gd name="T49" fmla="*/ 2147483646 h 65"/>
                      <a:gd name="T50" fmla="*/ 0 w 627"/>
                      <a:gd name="T51" fmla="*/ 2147483646 h 65"/>
                      <a:gd name="T52" fmla="*/ 2147483646 w 627"/>
                      <a:gd name="T53" fmla="*/ 2147483646 h 65"/>
                      <a:gd name="T54" fmla="*/ 2147483646 w 627"/>
                      <a:gd name="T55" fmla="*/ 2147483646 h 65"/>
                      <a:gd name="T56" fmla="*/ 2147483646 w 627"/>
                      <a:gd name="T57" fmla="*/ 2147483646 h 65"/>
                      <a:gd name="T58" fmla="*/ 2147483646 w 627"/>
                      <a:gd name="T59" fmla="*/ 2147483646 h 65"/>
                      <a:gd name="T60" fmla="*/ 2147483646 w 627"/>
                      <a:gd name="T61" fmla="*/ 2147483646 h 65"/>
                      <a:gd name="T62" fmla="*/ 2147483646 w 627"/>
                      <a:gd name="T63" fmla="*/ 2147483646 h 65"/>
                      <a:gd name="T64" fmla="*/ 2147483646 w 627"/>
                      <a:gd name="T65" fmla="*/ 2147483646 h 65"/>
                      <a:gd name="T66" fmla="*/ 2147483646 w 627"/>
                      <a:gd name="T67" fmla="*/ 2147483646 h 65"/>
                      <a:gd name="T68" fmla="*/ 2147483646 w 627"/>
                      <a:gd name="T69" fmla="*/ 2147483646 h 65"/>
                      <a:gd name="T70" fmla="*/ 2147483646 w 627"/>
                      <a:gd name="T71" fmla="*/ 2147483646 h 65"/>
                      <a:gd name="T72" fmla="*/ 2147483646 w 627"/>
                      <a:gd name="T73" fmla="*/ 2147483646 h 65"/>
                      <a:gd name="T74" fmla="*/ 2147483646 w 627"/>
                      <a:gd name="T75" fmla="*/ 2147483646 h 65"/>
                      <a:gd name="T76" fmla="*/ 2147483646 w 627"/>
                      <a:gd name="T77" fmla="*/ 2147483646 h 65"/>
                      <a:gd name="T78" fmla="*/ 2147483646 w 627"/>
                      <a:gd name="T79" fmla="*/ 2147483646 h 65"/>
                      <a:gd name="T80" fmla="*/ 2147483646 w 627"/>
                      <a:gd name="T81" fmla="*/ 2147483646 h 65"/>
                      <a:gd name="T82" fmla="*/ 2147483646 w 627"/>
                      <a:gd name="T83" fmla="*/ 2147483646 h 65"/>
                      <a:gd name="T84" fmla="*/ 2147483646 w 627"/>
                      <a:gd name="T85" fmla="*/ 2147483646 h 65"/>
                      <a:gd name="T86" fmla="*/ 2147483646 w 627"/>
                      <a:gd name="T87" fmla="*/ 2147483646 h 65"/>
                      <a:gd name="T88" fmla="*/ 2147483646 w 627"/>
                      <a:gd name="T89" fmla="*/ 2147483646 h 65"/>
                      <a:gd name="T90" fmla="*/ 2147483646 w 627"/>
                      <a:gd name="T91" fmla="*/ 2147483646 h 65"/>
                      <a:gd name="T92" fmla="*/ 2147483646 w 627"/>
                      <a:gd name="T93" fmla="*/ 2147483646 h 65"/>
                      <a:gd name="T94" fmla="*/ 2147483646 w 627"/>
                      <a:gd name="T95" fmla="*/ 2147483646 h 65"/>
                      <a:gd name="T96" fmla="*/ 2147483646 w 627"/>
                      <a:gd name="T97" fmla="*/ 2147483646 h 65"/>
                      <a:gd name="T98" fmla="*/ 2147483646 w 627"/>
                      <a:gd name="T99" fmla="*/ 2147483646 h 65"/>
                      <a:gd name="T100" fmla="*/ 2147483646 w 627"/>
                      <a:gd name="T101" fmla="*/ 2147483646 h 6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7"/>
                      <a:gd name="T154" fmla="*/ 0 h 65"/>
                      <a:gd name="T155" fmla="*/ 627 w 627"/>
                      <a:gd name="T156" fmla="*/ 65 h 6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7" h="65">
                        <a:moveTo>
                          <a:pt x="627" y="44"/>
                        </a:moveTo>
                        <a:lnTo>
                          <a:pt x="622" y="44"/>
                        </a:lnTo>
                        <a:lnTo>
                          <a:pt x="609" y="43"/>
                        </a:lnTo>
                        <a:lnTo>
                          <a:pt x="589" y="41"/>
                        </a:lnTo>
                        <a:lnTo>
                          <a:pt x="562" y="39"/>
                        </a:lnTo>
                        <a:lnTo>
                          <a:pt x="530" y="35"/>
                        </a:lnTo>
                        <a:lnTo>
                          <a:pt x="494" y="32"/>
                        </a:lnTo>
                        <a:lnTo>
                          <a:pt x="455" y="28"/>
                        </a:lnTo>
                        <a:lnTo>
                          <a:pt x="415" y="25"/>
                        </a:lnTo>
                        <a:lnTo>
                          <a:pt x="373" y="21"/>
                        </a:lnTo>
                        <a:lnTo>
                          <a:pt x="333" y="17"/>
                        </a:lnTo>
                        <a:lnTo>
                          <a:pt x="294" y="13"/>
                        </a:lnTo>
                        <a:lnTo>
                          <a:pt x="258" y="10"/>
                        </a:lnTo>
                        <a:lnTo>
                          <a:pt x="226" y="8"/>
                        </a:lnTo>
                        <a:lnTo>
                          <a:pt x="198" y="5"/>
                        </a:lnTo>
                        <a:lnTo>
                          <a:pt x="177" y="3"/>
                        </a:lnTo>
                        <a:lnTo>
                          <a:pt x="164" y="2"/>
                        </a:lnTo>
                        <a:lnTo>
                          <a:pt x="142" y="1"/>
                        </a:lnTo>
                        <a:lnTo>
                          <a:pt x="118" y="1"/>
                        </a:lnTo>
                        <a:lnTo>
                          <a:pt x="92" y="0"/>
                        </a:lnTo>
                        <a:lnTo>
                          <a:pt x="67" y="0"/>
                        </a:lnTo>
                        <a:lnTo>
                          <a:pt x="45" y="1"/>
                        </a:lnTo>
                        <a:lnTo>
                          <a:pt x="27" y="1"/>
                        </a:lnTo>
                        <a:lnTo>
                          <a:pt x="14" y="1"/>
                        </a:lnTo>
                        <a:lnTo>
                          <a:pt x="9" y="1"/>
                        </a:lnTo>
                        <a:lnTo>
                          <a:pt x="0" y="16"/>
                        </a:lnTo>
                        <a:lnTo>
                          <a:pt x="5" y="16"/>
                        </a:lnTo>
                        <a:lnTo>
                          <a:pt x="16" y="16"/>
                        </a:lnTo>
                        <a:lnTo>
                          <a:pt x="35" y="16"/>
                        </a:lnTo>
                        <a:lnTo>
                          <a:pt x="55" y="17"/>
                        </a:lnTo>
                        <a:lnTo>
                          <a:pt x="80" y="17"/>
                        </a:lnTo>
                        <a:lnTo>
                          <a:pt x="104" y="18"/>
                        </a:lnTo>
                        <a:lnTo>
                          <a:pt x="126" y="18"/>
                        </a:lnTo>
                        <a:lnTo>
                          <a:pt x="145" y="19"/>
                        </a:lnTo>
                        <a:lnTo>
                          <a:pt x="158" y="20"/>
                        </a:lnTo>
                        <a:lnTo>
                          <a:pt x="179" y="21"/>
                        </a:lnTo>
                        <a:lnTo>
                          <a:pt x="206" y="24"/>
                        </a:lnTo>
                        <a:lnTo>
                          <a:pt x="238" y="27"/>
                        </a:lnTo>
                        <a:lnTo>
                          <a:pt x="275" y="31"/>
                        </a:lnTo>
                        <a:lnTo>
                          <a:pt x="316" y="34"/>
                        </a:lnTo>
                        <a:lnTo>
                          <a:pt x="357" y="39"/>
                        </a:lnTo>
                        <a:lnTo>
                          <a:pt x="400" y="42"/>
                        </a:lnTo>
                        <a:lnTo>
                          <a:pt x="442" y="47"/>
                        </a:lnTo>
                        <a:lnTo>
                          <a:pt x="483" y="51"/>
                        </a:lnTo>
                        <a:lnTo>
                          <a:pt x="519" y="55"/>
                        </a:lnTo>
                        <a:lnTo>
                          <a:pt x="553" y="58"/>
                        </a:lnTo>
                        <a:lnTo>
                          <a:pt x="580" y="61"/>
                        </a:lnTo>
                        <a:lnTo>
                          <a:pt x="602" y="63"/>
                        </a:lnTo>
                        <a:lnTo>
                          <a:pt x="616" y="65"/>
                        </a:lnTo>
                        <a:lnTo>
                          <a:pt x="621" y="65"/>
                        </a:lnTo>
                        <a:lnTo>
                          <a:pt x="627"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12" name="Freeform 134">
                    <a:extLst>
                      <a:ext uri="{FF2B5EF4-FFF2-40B4-BE49-F238E27FC236}">
                        <a16:creationId xmlns:a16="http://schemas.microsoft.com/office/drawing/2014/main" id="{AD215FE4-4A6E-4BAA-81FA-60132D9BC4CC}"/>
                      </a:ext>
                    </a:extLst>
                  </p:cNvPr>
                  <p:cNvSpPr>
                    <a:spLocks/>
                  </p:cNvSpPr>
                  <p:nvPr/>
                </p:nvSpPr>
                <p:spPr bwMode="auto">
                  <a:xfrm>
                    <a:off x="7005914" y="1044546"/>
                    <a:ext cx="92064" cy="6415"/>
                  </a:xfrm>
                  <a:custGeom>
                    <a:avLst/>
                    <a:gdLst>
                      <a:gd name="T0" fmla="*/ 2147483646 w 627"/>
                      <a:gd name="T1" fmla="*/ 2147483646 h 65"/>
                      <a:gd name="T2" fmla="*/ 2147483646 w 627"/>
                      <a:gd name="T3" fmla="*/ 2147483646 h 65"/>
                      <a:gd name="T4" fmla="*/ 2147483646 w 627"/>
                      <a:gd name="T5" fmla="*/ 2147483646 h 65"/>
                      <a:gd name="T6" fmla="*/ 2147483646 w 627"/>
                      <a:gd name="T7" fmla="*/ 2147483646 h 65"/>
                      <a:gd name="T8" fmla="*/ 2147483646 w 627"/>
                      <a:gd name="T9" fmla="*/ 2147483646 h 65"/>
                      <a:gd name="T10" fmla="*/ 2147483646 w 627"/>
                      <a:gd name="T11" fmla="*/ 2147483646 h 65"/>
                      <a:gd name="T12" fmla="*/ 2147483646 w 627"/>
                      <a:gd name="T13" fmla="*/ 2147483646 h 65"/>
                      <a:gd name="T14" fmla="*/ 2147483646 w 627"/>
                      <a:gd name="T15" fmla="*/ 2147483646 h 65"/>
                      <a:gd name="T16" fmla="*/ 2147483646 w 627"/>
                      <a:gd name="T17" fmla="*/ 2147483646 h 65"/>
                      <a:gd name="T18" fmla="*/ 2147483646 w 627"/>
                      <a:gd name="T19" fmla="*/ 2147483646 h 65"/>
                      <a:gd name="T20" fmla="*/ 2147483646 w 627"/>
                      <a:gd name="T21" fmla="*/ 2147483646 h 65"/>
                      <a:gd name="T22" fmla="*/ 2147483646 w 627"/>
                      <a:gd name="T23" fmla="*/ 2147483646 h 65"/>
                      <a:gd name="T24" fmla="*/ 2147483646 w 627"/>
                      <a:gd name="T25" fmla="*/ 2147483646 h 65"/>
                      <a:gd name="T26" fmla="*/ 2147483646 w 627"/>
                      <a:gd name="T27" fmla="*/ 2147483646 h 65"/>
                      <a:gd name="T28" fmla="*/ 2147483646 w 627"/>
                      <a:gd name="T29" fmla="*/ 2147483646 h 65"/>
                      <a:gd name="T30" fmla="*/ 2147483646 w 627"/>
                      <a:gd name="T31" fmla="*/ 2147483646 h 65"/>
                      <a:gd name="T32" fmla="*/ 2147483646 w 627"/>
                      <a:gd name="T33" fmla="*/ 2147483646 h 65"/>
                      <a:gd name="T34" fmla="*/ 2147483646 w 627"/>
                      <a:gd name="T35" fmla="*/ 2147483646 h 65"/>
                      <a:gd name="T36" fmla="*/ 2147483646 w 627"/>
                      <a:gd name="T37" fmla="*/ 0 h 65"/>
                      <a:gd name="T38" fmla="*/ 2147483646 w 627"/>
                      <a:gd name="T39" fmla="*/ 0 h 65"/>
                      <a:gd name="T40" fmla="*/ 2147483646 w 627"/>
                      <a:gd name="T41" fmla="*/ 0 h 65"/>
                      <a:gd name="T42" fmla="*/ 2147483646 w 627"/>
                      <a:gd name="T43" fmla="*/ 0 h 65"/>
                      <a:gd name="T44" fmla="*/ 2147483646 w 627"/>
                      <a:gd name="T45" fmla="*/ 0 h 65"/>
                      <a:gd name="T46" fmla="*/ 2147483646 w 627"/>
                      <a:gd name="T47" fmla="*/ 0 h 65"/>
                      <a:gd name="T48" fmla="*/ 2147483646 w 627"/>
                      <a:gd name="T49" fmla="*/ 0 h 65"/>
                      <a:gd name="T50" fmla="*/ 0 w 627"/>
                      <a:gd name="T51" fmla="*/ 2147483646 h 65"/>
                      <a:gd name="T52" fmla="*/ 2147483646 w 627"/>
                      <a:gd name="T53" fmla="*/ 2147483646 h 65"/>
                      <a:gd name="T54" fmla="*/ 2147483646 w 627"/>
                      <a:gd name="T55" fmla="*/ 2147483646 h 65"/>
                      <a:gd name="T56" fmla="*/ 2147483646 w 627"/>
                      <a:gd name="T57" fmla="*/ 2147483646 h 65"/>
                      <a:gd name="T58" fmla="*/ 2147483646 w 627"/>
                      <a:gd name="T59" fmla="*/ 2147483646 h 65"/>
                      <a:gd name="T60" fmla="*/ 2147483646 w 627"/>
                      <a:gd name="T61" fmla="*/ 2147483646 h 65"/>
                      <a:gd name="T62" fmla="*/ 2147483646 w 627"/>
                      <a:gd name="T63" fmla="*/ 2147483646 h 65"/>
                      <a:gd name="T64" fmla="*/ 2147483646 w 627"/>
                      <a:gd name="T65" fmla="*/ 2147483646 h 65"/>
                      <a:gd name="T66" fmla="*/ 2147483646 w 627"/>
                      <a:gd name="T67" fmla="*/ 2147483646 h 65"/>
                      <a:gd name="T68" fmla="*/ 2147483646 w 627"/>
                      <a:gd name="T69" fmla="*/ 2147483646 h 65"/>
                      <a:gd name="T70" fmla="*/ 2147483646 w 627"/>
                      <a:gd name="T71" fmla="*/ 2147483646 h 65"/>
                      <a:gd name="T72" fmla="*/ 2147483646 w 627"/>
                      <a:gd name="T73" fmla="*/ 2147483646 h 65"/>
                      <a:gd name="T74" fmla="*/ 2147483646 w 627"/>
                      <a:gd name="T75" fmla="*/ 2147483646 h 65"/>
                      <a:gd name="T76" fmla="*/ 2147483646 w 627"/>
                      <a:gd name="T77" fmla="*/ 2147483646 h 65"/>
                      <a:gd name="T78" fmla="*/ 2147483646 w 627"/>
                      <a:gd name="T79" fmla="*/ 2147483646 h 65"/>
                      <a:gd name="T80" fmla="*/ 2147483646 w 627"/>
                      <a:gd name="T81" fmla="*/ 2147483646 h 65"/>
                      <a:gd name="T82" fmla="*/ 2147483646 w 627"/>
                      <a:gd name="T83" fmla="*/ 2147483646 h 65"/>
                      <a:gd name="T84" fmla="*/ 2147483646 w 627"/>
                      <a:gd name="T85" fmla="*/ 2147483646 h 65"/>
                      <a:gd name="T86" fmla="*/ 2147483646 w 627"/>
                      <a:gd name="T87" fmla="*/ 2147483646 h 65"/>
                      <a:gd name="T88" fmla="*/ 2147483646 w 627"/>
                      <a:gd name="T89" fmla="*/ 2147483646 h 65"/>
                      <a:gd name="T90" fmla="*/ 2147483646 w 627"/>
                      <a:gd name="T91" fmla="*/ 2147483646 h 65"/>
                      <a:gd name="T92" fmla="*/ 2147483646 w 627"/>
                      <a:gd name="T93" fmla="*/ 2147483646 h 65"/>
                      <a:gd name="T94" fmla="*/ 2147483646 w 627"/>
                      <a:gd name="T95" fmla="*/ 2147483646 h 65"/>
                      <a:gd name="T96" fmla="*/ 2147483646 w 627"/>
                      <a:gd name="T97" fmla="*/ 2147483646 h 65"/>
                      <a:gd name="T98" fmla="*/ 2147483646 w 627"/>
                      <a:gd name="T99" fmla="*/ 2147483646 h 65"/>
                      <a:gd name="T100" fmla="*/ 2147483646 w 627"/>
                      <a:gd name="T101" fmla="*/ 2147483646 h 6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7"/>
                      <a:gd name="T154" fmla="*/ 0 h 65"/>
                      <a:gd name="T155" fmla="*/ 627 w 627"/>
                      <a:gd name="T156" fmla="*/ 65 h 6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7" h="65">
                        <a:moveTo>
                          <a:pt x="627" y="45"/>
                        </a:moveTo>
                        <a:lnTo>
                          <a:pt x="622" y="45"/>
                        </a:lnTo>
                        <a:lnTo>
                          <a:pt x="609" y="44"/>
                        </a:lnTo>
                        <a:lnTo>
                          <a:pt x="589" y="42"/>
                        </a:lnTo>
                        <a:lnTo>
                          <a:pt x="561" y="40"/>
                        </a:lnTo>
                        <a:lnTo>
                          <a:pt x="530" y="36"/>
                        </a:lnTo>
                        <a:lnTo>
                          <a:pt x="493" y="33"/>
                        </a:lnTo>
                        <a:lnTo>
                          <a:pt x="455" y="29"/>
                        </a:lnTo>
                        <a:lnTo>
                          <a:pt x="415" y="26"/>
                        </a:lnTo>
                        <a:lnTo>
                          <a:pt x="373" y="21"/>
                        </a:lnTo>
                        <a:lnTo>
                          <a:pt x="333" y="18"/>
                        </a:lnTo>
                        <a:lnTo>
                          <a:pt x="294" y="14"/>
                        </a:lnTo>
                        <a:lnTo>
                          <a:pt x="257" y="11"/>
                        </a:lnTo>
                        <a:lnTo>
                          <a:pt x="225" y="8"/>
                        </a:lnTo>
                        <a:lnTo>
                          <a:pt x="198" y="5"/>
                        </a:lnTo>
                        <a:lnTo>
                          <a:pt x="178" y="4"/>
                        </a:lnTo>
                        <a:lnTo>
                          <a:pt x="164" y="3"/>
                        </a:lnTo>
                        <a:lnTo>
                          <a:pt x="142" y="2"/>
                        </a:lnTo>
                        <a:lnTo>
                          <a:pt x="118" y="0"/>
                        </a:lnTo>
                        <a:lnTo>
                          <a:pt x="92" y="0"/>
                        </a:lnTo>
                        <a:lnTo>
                          <a:pt x="67" y="0"/>
                        </a:lnTo>
                        <a:lnTo>
                          <a:pt x="44" y="0"/>
                        </a:lnTo>
                        <a:lnTo>
                          <a:pt x="25" y="0"/>
                        </a:lnTo>
                        <a:lnTo>
                          <a:pt x="13" y="0"/>
                        </a:lnTo>
                        <a:lnTo>
                          <a:pt x="8" y="0"/>
                        </a:lnTo>
                        <a:lnTo>
                          <a:pt x="0" y="15"/>
                        </a:lnTo>
                        <a:lnTo>
                          <a:pt x="5" y="15"/>
                        </a:lnTo>
                        <a:lnTo>
                          <a:pt x="16" y="15"/>
                        </a:lnTo>
                        <a:lnTo>
                          <a:pt x="35" y="17"/>
                        </a:lnTo>
                        <a:lnTo>
                          <a:pt x="55" y="17"/>
                        </a:lnTo>
                        <a:lnTo>
                          <a:pt x="80" y="18"/>
                        </a:lnTo>
                        <a:lnTo>
                          <a:pt x="104" y="18"/>
                        </a:lnTo>
                        <a:lnTo>
                          <a:pt x="126" y="19"/>
                        </a:lnTo>
                        <a:lnTo>
                          <a:pt x="145" y="19"/>
                        </a:lnTo>
                        <a:lnTo>
                          <a:pt x="158" y="20"/>
                        </a:lnTo>
                        <a:lnTo>
                          <a:pt x="179" y="21"/>
                        </a:lnTo>
                        <a:lnTo>
                          <a:pt x="206" y="23"/>
                        </a:lnTo>
                        <a:lnTo>
                          <a:pt x="239" y="27"/>
                        </a:lnTo>
                        <a:lnTo>
                          <a:pt x="275" y="30"/>
                        </a:lnTo>
                        <a:lnTo>
                          <a:pt x="315" y="35"/>
                        </a:lnTo>
                        <a:lnTo>
                          <a:pt x="357" y="38"/>
                        </a:lnTo>
                        <a:lnTo>
                          <a:pt x="400" y="43"/>
                        </a:lnTo>
                        <a:lnTo>
                          <a:pt x="441" y="46"/>
                        </a:lnTo>
                        <a:lnTo>
                          <a:pt x="482" y="51"/>
                        </a:lnTo>
                        <a:lnTo>
                          <a:pt x="518" y="55"/>
                        </a:lnTo>
                        <a:lnTo>
                          <a:pt x="552" y="58"/>
                        </a:lnTo>
                        <a:lnTo>
                          <a:pt x="579" y="60"/>
                        </a:lnTo>
                        <a:lnTo>
                          <a:pt x="601" y="63"/>
                        </a:lnTo>
                        <a:lnTo>
                          <a:pt x="615" y="65"/>
                        </a:lnTo>
                        <a:lnTo>
                          <a:pt x="620" y="65"/>
                        </a:lnTo>
                        <a:lnTo>
                          <a:pt x="627"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13" name="Freeform 135">
                    <a:extLst>
                      <a:ext uri="{FF2B5EF4-FFF2-40B4-BE49-F238E27FC236}">
                        <a16:creationId xmlns:a16="http://schemas.microsoft.com/office/drawing/2014/main" id="{08CE5CAF-B1DE-4A4A-9731-FFF530644E23}"/>
                      </a:ext>
                    </a:extLst>
                  </p:cNvPr>
                  <p:cNvSpPr>
                    <a:spLocks/>
                  </p:cNvSpPr>
                  <p:nvPr/>
                </p:nvSpPr>
                <p:spPr bwMode="auto">
                  <a:xfrm>
                    <a:off x="7026503" y="962751"/>
                    <a:ext cx="104123" cy="14835"/>
                  </a:xfrm>
                  <a:custGeom>
                    <a:avLst/>
                    <a:gdLst>
                      <a:gd name="T0" fmla="*/ 2147483646 w 708"/>
                      <a:gd name="T1" fmla="*/ 2147483646 h 147"/>
                      <a:gd name="T2" fmla="*/ 2147483646 w 708"/>
                      <a:gd name="T3" fmla="*/ 2147483646 h 147"/>
                      <a:gd name="T4" fmla="*/ 2147483646 w 708"/>
                      <a:gd name="T5" fmla="*/ 2147483646 h 147"/>
                      <a:gd name="T6" fmla="*/ 2147483646 w 708"/>
                      <a:gd name="T7" fmla="*/ 2147483646 h 147"/>
                      <a:gd name="T8" fmla="*/ 2147483646 w 708"/>
                      <a:gd name="T9" fmla="*/ 2147483646 h 147"/>
                      <a:gd name="T10" fmla="*/ 2147483646 w 708"/>
                      <a:gd name="T11" fmla="*/ 2147483646 h 147"/>
                      <a:gd name="T12" fmla="*/ 2147483646 w 708"/>
                      <a:gd name="T13" fmla="*/ 2147483646 h 147"/>
                      <a:gd name="T14" fmla="*/ 2147483646 w 708"/>
                      <a:gd name="T15" fmla="*/ 2147483646 h 147"/>
                      <a:gd name="T16" fmla="*/ 2147483646 w 708"/>
                      <a:gd name="T17" fmla="*/ 2147483646 h 147"/>
                      <a:gd name="T18" fmla="*/ 2147483646 w 708"/>
                      <a:gd name="T19" fmla="*/ 2147483646 h 147"/>
                      <a:gd name="T20" fmla="*/ 2147483646 w 708"/>
                      <a:gd name="T21" fmla="*/ 2147483646 h 147"/>
                      <a:gd name="T22" fmla="*/ 2147483646 w 708"/>
                      <a:gd name="T23" fmla="*/ 2147483646 h 147"/>
                      <a:gd name="T24" fmla="*/ 2147483646 w 708"/>
                      <a:gd name="T25" fmla="*/ 2147483646 h 147"/>
                      <a:gd name="T26" fmla="*/ 2147483646 w 708"/>
                      <a:gd name="T27" fmla="*/ 2147483646 h 147"/>
                      <a:gd name="T28" fmla="*/ 2147483646 w 708"/>
                      <a:gd name="T29" fmla="*/ 2147483646 h 147"/>
                      <a:gd name="T30" fmla="*/ 2147483646 w 708"/>
                      <a:gd name="T31" fmla="*/ 2147483646 h 147"/>
                      <a:gd name="T32" fmla="*/ 2147483646 w 708"/>
                      <a:gd name="T33" fmla="*/ 2147483646 h 147"/>
                      <a:gd name="T34" fmla="*/ 2147483646 w 708"/>
                      <a:gd name="T35" fmla="*/ 2147483646 h 147"/>
                      <a:gd name="T36" fmla="*/ 2147483646 w 708"/>
                      <a:gd name="T37" fmla="*/ 2147483646 h 147"/>
                      <a:gd name="T38" fmla="*/ 2147483646 w 708"/>
                      <a:gd name="T39" fmla="*/ 2147483646 h 147"/>
                      <a:gd name="T40" fmla="*/ 2147483646 w 708"/>
                      <a:gd name="T41" fmla="*/ 2147483646 h 147"/>
                      <a:gd name="T42" fmla="*/ 2147483646 w 708"/>
                      <a:gd name="T43" fmla="*/ 2147483646 h 147"/>
                      <a:gd name="T44" fmla="*/ 2147483646 w 708"/>
                      <a:gd name="T45" fmla="*/ 2147483646 h 147"/>
                      <a:gd name="T46" fmla="*/ 2147483646 w 708"/>
                      <a:gd name="T47" fmla="*/ 2147483646 h 147"/>
                      <a:gd name="T48" fmla="*/ 2147483646 w 708"/>
                      <a:gd name="T49" fmla="*/ 0 h 147"/>
                      <a:gd name="T50" fmla="*/ 0 w 708"/>
                      <a:gd name="T51" fmla="*/ 2147483646 h 147"/>
                      <a:gd name="T52" fmla="*/ 2147483646 w 708"/>
                      <a:gd name="T53" fmla="*/ 2147483646 h 147"/>
                      <a:gd name="T54" fmla="*/ 2147483646 w 708"/>
                      <a:gd name="T55" fmla="*/ 2147483646 h 147"/>
                      <a:gd name="T56" fmla="*/ 2147483646 w 708"/>
                      <a:gd name="T57" fmla="*/ 2147483646 h 147"/>
                      <a:gd name="T58" fmla="*/ 2147483646 w 708"/>
                      <a:gd name="T59" fmla="*/ 2147483646 h 147"/>
                      <a:gd name="T60" fmla="*/ 2147483646 w 708"/>
                      <a:gd name="T61" fmla="*/ 2147483646 h 147"/>
                      <a:gd name="T62" fmla="*/ 2147483646 w 708"/>
                      <a:gd name="T63" fmla="*/ 2147483646 h 147"/>
                      <a:gd name="T64" fmla="*/ 2147483646 w 708"/>
                      <a:gd name="T65" fmla="*/ 2147483646 h 147"/>
                      <a:gd name="T66" fmla="*/ 2147483646 w 708"/>
                      <a:gd name="T67" fmla="*/ 2147483646 h 147"/>
                      <a:gd name="T68" fmla="*/ 2147483646 w 708"/>
                      <a:gd name="T69" fmla="*/ 2147483646 h 147"/>
                      <a:gd name="T70" fmla="*/ 2147483646 w 708"/>
                      <a:gd name="T71" fmla="*/ 2147483646 h 147"/>
                      <a:gd name="T72" fmla="*/ 2147483646 w 708"/>
                      <a:gd name="T73" fmla="*/ 2147483646 h 147"/>
                      <a:gd name="T74" fmla="*/ 2147483646 w 708"/>
                      <a:gd name="T75" fmla="*/ 2147483646 h 147"/>
                      <a:gd name="T76" fmla="*/ 2147483646 w 708"/>
                      <a:gd name="T77" fmla="*/ 2147483646 h 147"/>
                      <a:gd name="T78" fmla="*/ 2147483646 w 708"/>
                      <a:gd name="T79" fmla="*/ 2147483646 h 147"/>
                      <a:gd name="T80" fmla="*/ 2147483646 w 708"/>
                      <a:gd name="T81" fmla="*/ 2147483646 h 147"/>
                      <a:gd name="T82" fmla="*/ 2147483646 w 708"/>
                      <a:gd name="T83" fmla="*/ 2147483646 h 147"/>
                      <a:gd name="T84" fmla="*/ 2147483646 w 708"/>
                      <a:gd name="T85" fmla="*/ 2147483646 h 147"/>
                      <a:gd name="T86" fmla="*/ 2147483646 w 708"/>
                      <a:gd name="T87" fmla="*/ 2147483646 h 147"/>
                      <a:gd name="T88" fmla="*/ 2147483646 w 708"/>
                      <a:gd name="T89" fmla="*/ 2147483646 h 147"/>
                      <a:gd name="T90" fmla="*/ 2147483646 w 708"/>
                      <a:gd name="T91" fmla="*/ 2147483646 h 147"/>
                      <a:gd name="T92" fmla="*/ 2147483646 w 708"/>
                      <a:gd name="T93" fmla="*/ 2147483646 h 147"/>
                      <a:gd name="T94" fmla="*/ 2147483646 w 708"/>
                      <a:gd name="T95" fmla="*/ 2147483646 h 147"/>
                      <a:gd name="T96" fmla="*/ 2147483646 w 708"/>
                      <a:gd name="T97" fmla="*/ 2147483646 h 147"/>
                      <a:gd name="T98" fmla="*/ 2147483646 w 708"/>
                      <a:gd name="T99" fmla="*/ 2147483646 h 147"/>
                      <a:gd name="T100" fmla="*/ 2147483646 w 708"/>
                      <a:gd name="T101" fmla="*/ 2147483646 h 14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08"/>
                      <a:gd name="T154" fmla="*/ 0 h 147"/>
                      <a:gd name="T155" fmla="*/ 708 w 708"/>
                      <a:gd name="T156" fmla="*/ 147 h 14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08" h="147">
                        <a:moveTo>
                          <a:pt x="708" y="68"/>
                        </a:moveTo>
                        <a:lnTo>
                          <a:pt x="703" y="68"/>
                        </a:lnTo>
                        <a:lnTo>
                          <a:pt x="689" y="67"/>
                        </a:lnTo>
                        <a:lnTo>
                          <a:pt x="668" y="64"/>
                        </a:lnTo>
                        <a:lnTo>
                          <a:pt x="640" y="62"/>
                        </a:lnTo>
                        <a:lnTo>
                          <a:pt x="605" y="59"/>
                        </a:lnTo>
                        <a:lnTo>
                          <a:pt x="567" y="55"/>
                        </a:lnTo>
                        <a:lnTo>
                          <a:pt x="526" y="52"/>
                        </a:lnTo>
                        <a:lnTo>
                          <a:pt x="483" y="48"/>
                        </a:lnTo>
                        <a:lnTo>
                          <a:pt x="438" y="45"/>
                        </a:lnTo>
                        <a:lnTo>
                          <a:pt x="395" y="40"/>
                        </a:lnTo>
                        <a:lnTo>
                          <a:pt x="351" y="37"/>
                        </a:lnTo>
                        <a:lnTo>
                          <a:pt x="311" y="33"/>
                        </a:lnTo>
                        <a:lnTo>
                          <a:pt x="274" y="31"/>
                        </a:lnTo>
                        <a:lnTo>
                          <a:pt x="240" y="29"/>
                        </a:lnTo>
                        <a:lnTo>
                          <a:pt x="214" y="26"/>
                        </a:lnTo>
                        <a:lnTo>
                          <a:pt x="194" y="25"/>
                        </a:lnTo>
                        <a:lnTo>
                          <a:pt x="162" y="23"/>
                        </a:lnTo>
                        <a:lnTo>
                          <a:pt x="131" y="19"/>
                        </a:lnTo>
                        <a:lnTo>
                          <a:pt x="102" y="16"/>
                        </a:lnTo>
                        <a:lnTo>
                          <a:pt x="75" y="11"/>
                        </a:lnTo>
                        <a:lnTo>
                          <a:pt x="51" y="7"/>
                        </a:lnTo>
                        <a:lnTo>
                          <a:pt x="34" y="3"/>
                        </a:lnTo>
                        <a:lnTo>
                          <a:pt x="23" y="1"/>
                        </a:lnTo>
                        <a:lnTo>
                          <a:pt x="18" y="0"/>
                        </a:lnTo>
                        <a:lnTo>
                          <a:pt x="0" y="90"/>
                        </a:lnTo>
                        <a:lnTo>
                          <a:pt x="5" y="90"/>
                        </a:lnTo>
                        <a:lnTo>
                          <a:pt x="20" y="91"/>
                        </a:lnTo>
                        <a:lnTo>
                          <a:pt x="45" y="93"/>
                        </a:lnTo>
                        <a:lnTo>
                          <a:pt x="77" y="94"/>
                        </a:lnTo>
                        <a:lnTo>
                          <a:pt x="114" y="98"/>
                        </a:lnTo>
                        <a:lnTo>
                          <a:pt x="156" y="100"/>
                        </a:lnTo>
                        <a:lnTo>
                          <a:pt x="202" y="103"/>
                        </a:lnTo>
                        <a:lnTo>
                          <a:pt x="251" y="107"/>
                        </a:lnTo>
                        <a:lnTo>
                          <a:pt x="300" y="110"/>
                        </a:lnTo>
                        <a:lnTo>
                          <a:pt x="350" y="114"/>
                        </a:lnTo>
                        <a:lnTo>
                          <a:pt x="397" y="117"/>
                        </a:lnTo>
                        <a:lnTo>
                          <a:pt x="441" y="121"/>
                        </a:lnTo>
                        <a:lnTo>
                          <a:pt x="481" y="123"/>
                        </a:lnTo>
                        <a:lnTo>
                          <a:pt x="517" y="127"/>
                        </a:lnTo>
                        <a:lnTo>
                          <a:pt x="544" y="129"/>
                        </a:lnTo>
                        <a:lnTo>
                          <a:pt x="564" y="131"/>
                        </a:lnTo>
                        <a:lnTo>
                          <a:pt x="588" y="135"/>
                        </a:lnTo>
                        <a:lnTo>
                          <a:pt x="611" y="137"/>
                        </a:lnTo>
                        <a:lnTo>
                          <a:pt x="634" y="140"/>
                        </a:lnTo>
                        <a:lnTo>
                          <a:pt x="654" y="143"/>
                        </a:lnTo>
                        <a:lnTo>
                          <a:pt x="671" y="144"/>
                        </a:lnTo>
                        <a:lnTo>
                          <a:pt x="685" y="146"/>
                        </a:lnTo>
                        <a:lnTo>
                          <a:pt x="693" y="147"/>
                        </a:lnTo>
                        <a:lnTo>
                          <a:pt x="696" y="147"/>
                        </a:lnTo>
                        <a:lnTo>
                          <a:pt x="708" y="68"/>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414" name="Freeform 136">
                    <a:extLst>
                      <a:ext uri="{FF2B5EF4-FFF2-40B4-BE49-F238E27FC236}">
                        <a16:creationId xmlns:a16="http://schemas.microsoft.com/office/drawing/2014/main" id="{410F8578-054E-4D43-8323-3C83AE4132E0}"/>
                      </a:ext>
                    </a:extLst>
                  </p:cNvPr>
                  <p:cNvSpPr>
                    <a:spLocks/>
                  </p:cNvSpPr>
                  <p:nvPr/>
                </p:nvSpPr>
                <p:spPr bwMode="auto">
                  <a:xfrm>
                    <a:off x="6996796" y="1054570"/>
                    <a:ext cx="40590" cy="21852"/>
                  </a:xfrm>
                  <a:custGeom>
                    <a:avLst/>
                    <a:gdLst>
                      <a:gd name="T0" fmla="*/ 2147483646 w 275"/>
                      <a:gd name="T1" fmla="*/ 2147483646 h 216"/>
                      <a:gd name="T2" fmla="*/ 2147483646 w 275"/>
                      <a:gd name="T3" fmla="*/ 2147483646 h 216"/>
                      <a:gd name="T4" fmla="*/ 2147483646 w 275"/>
                      <a:gd name="T5" fmla="*/ 2147483646 h 216"/>
                      <a:gd name="T6" fmla="*/ 2147483646 w 275"/>
                      <a:gd name="T7" fmla="*/ 2147483646 h 216"/>
                      <a:gd name="T8" fmla="*/ 2147483646 w 275"/>
                      <a:gd name="T9" fmla="*/ 2147483646 h 216"/>
                      <a:gd name="T10" fmla="*/ 2147483646 w 275"/>
                      <a:gd name="T11" fmla="*/ 2147483646 h 216"/>
                      <a:gd name="T12" fmla="*/ 2147483646 w 275"/>
                      <a:gd name="T13" fmla="*/ 2147483646 h 216"/>
                      <a:gd name="T14" fmla="*/ 2147483646 w 275"/>
                      <a:gd name="T15" fmla="*/ 2147483646 h 216"/>
                      <a:gd name="T16" fmla="*/ 0 w 275"/>
                      <a:gd name="T17" fmla="*/ 2147483646 h 216"/>
                      <a:gd name="T18" fmla="*/ 2147483646 w 275"/>
                      <a:gd name="T19" fmla="*/ 2147483646 h 216"/>
                      <a:gd name="T20" fmla="*/ 2147483646 w 275"/>
                      <a:gd name="T21" fmla="*/ 2147483646 h 216"/>
                      <a:gd name="T22" fmla="*/ 2147483646 w 275"/>
                      <a:gd name="T23" fmla="*/ 2147483646 h 216"/>
                      <a:gd name="T24" fmla="*/ 2147483646 w 275"/>
                      <a:gd name="T25" fmla="*/ 2147483646 h 216"/>
                      <a:gd name="T26" fmla="*/ 2147483646 w 275"/>
                      <a:gd name="T27" fmla="*/ 2147483646 h 216"/>
                      <a:gd name="T28" fmla="*/ 2147483646 w 275"/>
                      <a:gd name="T29" fmla="*/ 2147483646 h 216"/>
                      <a:gd name="T30" fmla="*/ 2147483646 w 275"/>
                      <a:gd name="T31" fmla="*/ 2147483646 h 216"/>
                      <a:gd name="T32" fmla="*/ 2147483646 w 275"/>
                      <a:gd name="T33" fmla="*/ 0 h 216"/>
                      <a:gd name="T34" fmla="*/ 2147483646 w 275"/>
                      <a:gd name="T35" fmla="*/ 2147483646 h 216"/>
                      <a:gd name="T36" fmla="*/ 2147483646 w 275"/>
                      <a:gd name="T37" fmla="*/ 2147483646 h 216"/>
                      <a:gd name="T38" fmla="*/ 2147483646 w 275"/>
                      <a:gd name="T39" fmla="*/ 2147483646 h 216"/>
                      <a:gd name="T40" fmla="*/ 2147483646 w 275"/>
                      <a:gd name="T41" fmla="*/ 2147483646 h 216"/>
                      <a:gd name="T42" fmla="*/ 2147483646 w 275"/>
                      <a:gd name="T43" fmla="*/ 2147483646 h 216"/>
                      <a:gd name="T44" fmla="*/ 2147483646 w 275"/>
                      <a:gd name="T45" fmla="*/ 2147483646 h 216"/>
                      <a:gd name="T46" fmla="*/ 2147483646 w 275"/>
                      <a:gd name="T47" fmla="*/ 2147483646 h 216"/>
                      <a:gd name="T48" fmla="*/ 2147483646 w 275"/>
                      <a:gd name="T49" fmla="*/ 2147483646 h 216"/>
                      <a:gd name="T50" fmla="*/ 2147483646 w 275"/>
                      <a:gd name="T51" fmla="*/ 2147483646 h 216"/>
                      <a:gd name="T52" fmla="*/ 2147483646 w 275"/>
                      <a:gd name="T53" fmla="*/ 2147483646 h 216"/>
                      <a:gd name="T54" fmla="*/ 2147483646 w 275"/>
                      <a:gd name="T55" fmla="*/ 2147483646 h 216"/>
                      <a:gd name="T56" fmla="*/ 2147483646 w 275"/>
                      <a:gd name="T57" fmla="*/ 2147483646 h 216"/>
                      <a:gd name="T58" fmla="*/ 2147483646 w 275"/>
                      <a:gd name="T59" fmla="*/ 2147483646 h 216"/>
                      <a:gd name="T60" fmla="*/ 2147483646 w 275"/>
                      <a:gd name="T61" fmla="*/ 2147483646 h 216"/>
                      <a:gd name="T62" fmla="*/ 2147483646 w 275"/>
                      <a:gd name="T63" fmla="*/ 2147483646 h 216"/>
                      <a:gd name="T64" fmla="*/ 2147483646 w 275"/>
                      <a:gd name="T65" fmla="*/ 2147483646 h 21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5"/>
                      <a:gd name="T100" fmla="*/ 0 h 216"/>
                      <a:gd name="T101" fmla="*/ 275 w 275"/>
                      <a:gd name="T102" fmla="*/ 216 h 21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5" h="216">
                        <a:moveTo>
                          <a:pt x="137" y="216"/>
                        </a:moveTo>
                        <a:lnTo>
                          <a:pt x="109" y="214"/>
                        </a:lnTo>
                        <a:lnTo>
                          <a:pt x="84" y="208"/>
                        </a:lnTo>
                        <a:lnTo>
                          <a:pt x="61" y="198"/>
                        </a:lnTo>
                        <a:lnTo>
                          <a:pt x="40" y="184"/>
                        </a:lnTo>
                        <a:lnTo>
                          <a:pt x="24" y="169"/>
                        </a:lnTo>
                        <a:lnTo>
                          <a:pt x="10" y="151"/>
                        </a:lnTo>
                        <a:lnTo>
                          <a:pt x="2" y="130"/>
                        </a:lnTo>
                        <a:lnTo>
                          <a:pt x="0" y="108"/>
                        </a:lnTo>
                        <a:lnTo>
                          <a:pt x="2" y="86"/>
                        </a:lnTo>
                        <a:lnTo>
                          <a:pt x="10" y="65"/>
                        </a:lnTo>
                        <a:lnTo>
                          <a:pt x="24" y="47"/>
                        </a:lnTo>
                        <a:lnTo>
                          <a:pt x="40" y="31"/>
                        </a:lnTo>
                        <a:lnTo>
                          <a:pt x="61" y="18"/>
                        </a:lnTo>
                        <a:lnTo>
                          <a:pt x="84" y="8"/>
                        </a:lnTo>
                        <a:lnTo>
                          <a:pt x="109" y="2"/>
                        </a:lnTo>
                        <a:lnTo>
                          <a:pt x="137" y="0"/>
                        </a:lnTo>
                        <a:lnTo>
                          <a:pt x="165" y="2"/>
                        </a:lnTo>
                        <a:lnTo>
                          <a:pt x="191" y="8"/>
                        </a:lnTo>
                        <a:lnTo>
                          <a:pt x="214" y="18"/>
                        </a:lnTo>
                        <a:lnTo>
                          <a:pt x="235" y="31"/>
                        </a:lnTo>
                        <a:lnTo>
                          <a:pt x="251" y="47"/>
                        </a:lnTo>
                        <a:lnTo>
                          <a:pt x="265" y="65"/>
                        </a:lnTo>
                        <a:lnTo>
                          <a:pt x="273" y="86"/>
                        </a:lnTo>
                        <a:lnTo>
                          <a:pt x="275" y="108"/>
                        </a:lnTo>
                        <a:lnTo>
                          <a:pt x="273" y="130"/>
                        </a:lnTo>
                        <a:lnTo>
                          <a:pt x="265" y="151"/>
                        </a:lnTo>
                        <a:lnTo>
                          <a:pt x="251" y="169"/>
                        </a:lnTo>
                        <a:lnTo>
                          <a:pt x="235" y="184"/>
                        </a:lnTo>
                        <a:lnTo>
                          <a:pt x="214" y="198"/>
                        </a:lnTo>
                        <a:lnTo>
                          <a:pt x="191" y="208"/>
                        </a:lnTo>
                        <a:lnTo>
                          <a:pt x="165" y="214"/>
                        </a:lnTo>
                        <a:lnTo>
                          <a:pt x="137" y="216"/>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87382" name="그룹 971">
                  <a:extLst>
                    <a:ext uri="{FF2B5EF4-FFF2-40B4-BE49-F238E27FC236}">
                      <a16:creationId xmlns:a16="http://schemas.microsoft.com/office/drawing/2014/main" id="{CC152E6A-ECDD-44F7-829A-D474DCA21304}"/>
                    </a:ext>
                  </a:extLst>
                </p:cNvPr>
                <p:cNvGrpSpPr>
                  <a:grpSpLocks/>
                </p:cNvGrpSpPr>
                <p:nvPr/>
              </p:nvGrpSpPr>
              <p:grpSpPr bwMode="auto">
                <a:xfrm>
                  <a:off x="7186761" y="1383976"/>
                  <a:ext cx="295275" cy="269875"/>
                  <a:chOff x="8104188" y="436563"/>
                  <a:chExt cx="295275" cy="269875"/>
                </a:xfrm>
              </p:grpSpPr>
              <p:sp>
                <p:nvSpPr>
                  <p:cNvPr id="87383" name="Freeform 26">
                    <a:extLst>
                      <a:ext uri="{FF2B5EF4-FFF2-40B4-BE49-F238E27FC236}">
                        <a16:creationId xmlns:a16="http://schemas.microsoft.com/office/drawing/2014/main" id="{B2F77F9B-B84B-4EC5-932B-67D83C064A29}"/>
                      </a:ext>
                    </a:extLst>
                  </p:cNvPr>
                  <p:cNvSpPr>
                    <a:spLocks/>
                  </p:cNvSpPr>
                  <p:nvPr/>
                </p:nvSpPr>
                <p:spPr bwMode="auto">
                  <a:xfrm>
                    <a:off x="8104188" y="436563"/>
                    <a:ext cx="295275" cy="269875"/>
                  </a:xfrm>
                  <a:custGeom>
                    <a:avLst/>
                    <a:gdLst>
                      <a:gd name="T0" fmla="*/ 2147483646 w 560"/>
                      <a:gd name="T1" fmla="*/ 2147483646 h 512"/>
                      <a:gd name="T2" fmla="*/ 2147483646 w 560"/>
                      <a:gd name="T3" fmla="*/ 2147483646 h 512"/>
                      <a:gd name="T4" fmla="*/ 2147483646 w 560"/>
                      <a:gd name="T5" fmla="*/ 2147483646 h 512"/>
                      <a:gd name="T6" fmla="*/ 2147483646 w 560"/>
                      <a:gd name="T7" fmla="*/ 2147483646 h 512"/>
                      <a:gd name="T8" fmla="*/ 2147483646 w 560"/>
                      <a:gd name="T9" fmla="*/ 2147483646 h 512"/>
                      <a:gd name="T10" fmla="*/ 2147483646 w 560"/>
                      <a:gd name="T11" fmla="*/ 2147483646 h 512"/>
                      <a:gd name="T12" fmla="*/ 2147483646 w 560"/>
                      <a:gd name="T13" fmla="*/ 2147483646 h 512"/>
                      <a:gd name="T14" fmla="*/ 2147483646 w 560"/>
                      <a:gd name="T15" fmla="*/ 2147483646 h 512"/>
                      <a:gd name="T16" fmla="*/ 2147483646 w 560"/>
                      <a:gd name="T17" fmla="*/ 2147483646 h 512"/>
                      <a:gd name="T18" fmla="*/ 2147483646 w 560"/>
                      <a:gd name="T19" fmla="*/ 2147483646 h 512"/>
                      <a:gd name="T20" fmla="*/ 2147483646 w 560"/>
                      <a:gd name="T21" fmla="*/ 2147483646 h 512"/>
                      <a:gd name="T22" fmla="*/ 2147483646 w 560"/>
                      <a:gd name="T23" fmla="*/ 2147483646 h 512"/>
                      <a:gd name="T24" fmla="*/ 2147483646 w 560"/>
                      <a:gd name="T25" fmla="*/ 2147483646 h 512"/>
                      <a:gd name="T26" fmla="*/ 2147483646 w 560"/>
                      <a:gd name="T27" fmla="*/ 2147483646 h 512"/>
                      <a:gd name="T28" fmla="*/ 2147483646 w 560"/>
                      <a:gd name="T29" fmla="*/ 2147483646 h 512"/>
                      <a:gd name="T30" fmla="*/ 2147483646 w 560"/>
                      <a:gd name="T31" fmla="*/ 2147483646 h 512"/>
                      <a:gd name="T32" fmla="*/ 2147483646 w 560"/>
                      <a:gd name="T33" fmla="*/ 2147483646 h 512"/>
                      <a:gd name="T34" fmla="*/ 2147483646 w 560"/>
                      <a:gd name="T35" fmla="*/ 2147483646 h 512"/>
                      <a:gd name="T36" fmla="*/ 2147483646 w 560"/>
                      <a:gd name="T37" fmla="*/ 0 h 512"/>
                      <a:gd name="T38" fmla="*/ 2147483646 w 560"/>
                      <a:gd name="T39" fmla="*/ 2147483646 h 512"/>
                      <a:gd name="T40" fmla="*/ 2147483646 w 560"/>
                      <a:gd name="T41" fmla="*/ 2147483646 h 512"/>
                      <a:gd name="T42" fmla="*/ 2147483646 w 560"/>
                      <a:gd name="T43" fmla="*/ 2147483646 h 512"/>
                      <a:gd name="T44" fmla="*/ 2147483646 w 560"/>
                      <a:gd name="T45" fmla="*/ 2147483646 h 512"/>
                      <a:gd name="T46" fmla="*/ 2147483646 w 560"/>
                      <a:gd name="T47" fmla="*/ 2147483646 h 512"/>
                      <a:gd name="T48" fmla="*/ 2147483646 w 560"/>
                      <a:gd name="T49" fmla="*/ 2147483646 h 512"/>
                      <a:gd name="T50" fmla="*/ 0 w 560"/>
                      <a:gd name="T51" fmla="*/ 2147483646 h 512"/>
                      <a:gd name="T52" fmla="*/ 0 w 560"/>
                      <a:gd name="T53" fmla="*/ 2147483646 h 512"/>
                      <a:gd name="T54" fmla="*/ 2147483646 w 560"/>
                      <a:gd name="T55" fmla="*/ 2147483646 h 512"/>
                      <a:gd name="T56" fmla="*/ 2147483646 w 560"/>
                      <a:gd name="T57" fmla="*/ 2147483646 h 512"/>
                      <a:gd name="T58" fmla="*/ 2147483646 w 560"/>
                      <a:gd name="T59" fmla="*/ 2147483646 h 512"/>
                      <a:gd name="T60" fmla="*/ 2147483646 w 560"/>
                      <a:gd name="T61" fmla="*/ 2147483646 h 512"/>
                      <a:gd name="T62" fmla="*/ 2147483646 w 560"/>
                      <a:gd name="T63" fmla="*/ 2147483646 h 512"/>
                      <a:gd name="T64" fmla="*/ 2147483646 w 560"/>
                      <a:gd name="T65" fmla="*/ 2147483646 h 512"/>
                      <a:gd name="T66" fmla="*/ 2147483646 w 560"/>
                      <a:gd name="T67" fmla="*/ 2147483646 h 512"/>
                      <a:gd name="T68" fmla="*/ 2147483646 w 560"/>
                      <a:gd name="T69" fmla="*/ 2147483646 h 512"/>
                      <a:gd name="T70" fmla="*/ 2147483646 w 560"/>
                      <a:gd name="T71" fmla="*/ 2147483646 h 512"/>
                      <a:gd name="T72" fmla="*/ 2147483646 w 560"/>
                      <a:gd name="T73" fmla="*/ 2147483646 h 512"/>
                      <a:gd name="T74" fmla="*/ 2147483646 w 560"/>
                      <a:gd name="T75" fmla="*/ 2147483646 h 512"/>
                      <a:gd name="T76" fmla="*/ 2147483646 w 560"/>
                      <a:gd name="T77" fmla="*/ 2147483646 h 5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60"/>
                      <a:gd name="T118" fmla="*/ 0 h 512"/>
                      <a:gd name="T119" fmla="*/ 560 w 560"/>
                      <a:gd name="T120" fmla="*/ 512 h 51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60" h="512">
                        <a:moveTo>
                          <a:pt x="556" y="110"/>
                        </a:moveTo>
                        <a:lnTo>
                          <a:pt x="556" y="110"/>
                        </a:lnTo>
                        <a:lnTo>
                          <a:pt x="554" y="108"/>
                        </a:lnTo>
                        <a:lnTo>
                          <a:pt x="551" y="107"/>
                        </a:lnTo>
                        <a:lnTo>
                          <a:pt x="549" y="107"/>
                        </a:lnTo>
                        <a:lnTo>
                          <a:pt x="546" y="107"/>
                        </a:lnTo>
                        <a:lnTo>
                          <a:pt x="517" y="115"/>
                        </a:lnTo>
                        <a:lnTo>
                          <a:pt x="518" y="76"/>
                        </a:lnTo>
                        <a:lnTo>
                          <a:pt x="517" y="72"/>
                        </a:lnTo>
                        <a:lnTo>
                          <a:pt x="514" y="68"/>
                        </a:lnTo>
                        <a:lnTo>
                          <a:pt x="510" y="66"/>
                        </a:lnTo>
                        <a:lnTo>
                          <a:pt x="505" y="66"/>
                        </a:lnTo>
                        <a:lnTo>
                          <a:pt x="497" y="68"/>
                        </a:lnTo>
                        <a:lnTo>
                          <a:pt x="497" y="59"/>
                        </a:lnTo>
                        <a:lnTo>
                          <a:pt x="496" y="54"/>
                        </a:lnTo>
                        <a:lnTo>
                          <a:pt x="493" y="51"/>
                        </a:lnTo>
                        <a:lnTo>
                          <a:pt x="489" y="49"/>
                        </a:lnTo>
                        <a:lnTo>
                          <a:pt x="484" y="49"/>
                        </a:lnTo>
                        <a:lnTo>
                          <a:pt x="469" y="53"/>
                        </a:lnTo>
                        <a:lnTo>
                          <a:pt x="466" y="21"/>
                        </a:lnTo>
                        <a:lnTo>
                          <a:pt x="464" y="17"/>
                        </a:lnTo>
                        <a:lnTo>
                          <a:pt x="461" y="14"/>
                        </a:lnTo>
                        <a:lnTo>
                          <a:pt x="444" y="3"/>
                        </a:lnTo>
                        <a:lnTo>
                          <a:pt x="439" y="0"/>
                        </a:lnTo>
                        <a:lnTo>
                          <a:pt x="435" y="0"/>
                        </a:lnTo>
                        <a:lnTo>
                          <a:pt x="318" y="33"/>
                        </a:lnTo>
                        <a:lnTo>
                          <a:pt x="314" y="36"/>
                        </a:lnTo>
                        <a:lnTo>
                          <a:pt x="312" y="40"/>
                        </a:lnTo>
                        <a:lnTo>
                          <a:pt x="296" y="77"/>
                        </a:lnTo>
                        <a:lnTo>
                          <a:pt x="8" y="156"/>
                        </a:lnTo>
                        <a:lnTo>
                          <a:pt x="5" y="158"/>
                        </a:lnTo>
                        <a:lnTo>
                          <a:pt x="3" y="160"/>
                        </a:lnTo>
                        <a:lnTo>
                          <a:pt x="2" y="164"/>
                        </a:lnTo>
                        <a:lnTo>
                          <a:pt x="0" y="167"/>
                        </a:lnTo>
                        <a:lnTo>
                          <a:pt x="0" y="168"/>
                        </a:lnTo>
                        <a:lnTo>
                          <a:pt x="38" y="490"/>
                        </a:lnTo>
                        <a:lnTo>
                          <a:pt x="41" y="496"/>
                        </a:lnTo>
                        <a:lnTo>
                          <a:pt x="53" y="508"/>
                        </a:lnTo>
                        <a:lnTo>
                          <a:pt x="55" y="511"/>
                        </a:lnTo>
                        <a:lnTo>
                          <a:pt x="58" y="512"/>
                        </a:lnTo>
                        <a:lnTo>
                          <a:pt x="61" y="512"/>
                        </a:lnTo>
                        <a:lnTo>
                          <a:pt x="64" y="512"/>
                        </a:lnTo>
                        <a:lnTo>
                          <a:pt x="511" y="388"/>
                        </a:lnTo>
                        <a:lnTo>
                          <a:pt x="513" y="386"/>
                        </a:lnTo>
                        <a:lnTo>
                          <a:pt x="515" y="385"/>
                        </a:lnTo>
                        <a:lnTo>
                          <a:pt x="517" y="381"/>
                        </a:lnTo>
                        <a:lnTo>
                          <a:pt x="518" y="379"/>
                        </a:lnTo>
                        <a:lnTo>
                          <a:pt x="560" y="119"/>
                        </a:lnTo>
                        <a:lnTo>
                          <a:pt x="560" y="116"/>
                        </a:lnTo>
                        <a:lnTo>
                          <a:pt x="558" y="114"/>
                        </a:lnTo>
                        <a:lnTo>
                          <a:pt x="557" y="111"/>
                        </a:lnTo>
                        <a:lnTo>
                          <a:pt x="556" y="1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84" name="Freeform 27">
                    <a:extLst>
                      <a:ext uri="{FF2B5EF4-FFF2-40B4-BE49-F238E27FC236}">
                        <a16:creationId xmlns:a16="http://schemas.microsoft.com/office/drawing/2014/main" id="{6902779C-4054-489B-BEB0-DA0D8A0A3BD7}"/>
                      </a:ext>
                    </a:extLst>
                  </p:cNvPr>
                  <p:cNvSpPr>
                    <a:spLocks/>
                  </p:cNvSpPr>
                  <p:nvPr/>
                </p:nvSpPr>
                <p:spPr bwMode="auto">
                  <a:xfrm>
                    <a:off x="8108950" y="441325"/>
                    <a:ext cx="257175" cy="254000"/>
                  </a:xfrm>
                  <a:custGeom>
                    <a:avLst/>
                    <a:gdLst>
                      <a:gd name="T0" fmla="*/ 2147483646 w 484"/>
                      <a:gd name="T1" fmla="*/ 2147483646 h 478"/>
                      <a:gd name="T2" fmla="*/ 2147483646 w 484"/>
                      <a:gd name="T3" fmla="*/ 2147483646 h 478"/>
                      <a:gd name="T4" fmla="*/ 2147483646 w 484"/>
                      <a:gd name="T5" fmla="*/ 2147483646 h 478"/>
                      <a:gd name="T6" fmla="*/ 0 w 484"/>
                      <a:gd name="T7" fmla="*/ 2147483646 h 478"/>
                      <a:gd name="T8" fmla="*/ 2147483646 w 484"/>
                      <a:gd name="T9" fmla="*/ 2147483646 h 478"/>
                      <a:gd name="T10" fmla="*/ 2147483646 w 484"/>
                      <a:gd name="T11" fmla="*/ 2147483646 h 478"/>
                      <a:gd name="T12" fmla="*/ 2147483646 w 484"/>
                      <a:gd name="T13" fmla="*/ 0 h 478"/>
                      <a:gd name="T14" fmla="*/ 2147483646 w 484"/>
                      <a:gd name="T15" fmla="*/ 2147483646 h 478"/>
                      <a:gd name="T16" fmla="*/ 0 60000 65536"/>
                      <a:gd name="T17" fmla="*/ 0 60000 65536"/>
                      <a:gd name="T18" fmla="*/ 0 60000 65536"/>
                      <a:gd name="T19" fmla="*/ 0 60000 65536"/>
                      <a:gd name="T20" fmla="*/ 0 60000 65536"/>
                      <a:gd name="T21" fmla="*/ 0 60000 65536"/>
                      <a:gd name="T22" fmla="*/ 0 60000 65536"/>
                      <a:gd name="T23" fmla="*/ 0 60000 65536"/>
                      <a:gd name="T24" fmla="*/ 0 w 484"/>
                      <a:gd name="T25" fmla="*/ 0 h 478"/>
                      <a:gd name="T26" fmla="*/ 484 w 484"/>
                      <a:gd name="T27" fmla="*/ 478 h 47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4" h="478">
                        <a:moveTo>
                          <a:pt x="445" y="11"/>
                        </a:moveTo>
                        <a:lnTo>
                          <a:pt x="484" y="354"/>
                        </a:lnTo>
                        <a:lnTo>
                          <a:pt x="37" y="478"/>
                        </a:lnTo>
                        <a:lnTo>
                          <a:pt x="0" y="156"/>
                        </a:lnTo>
                        <a:lnTo>
                          <a:pt x="292" y="75"/>
                        </a:lnTo>
                        <a:lnTo>
                          <a:pt x="310" y="33"/>
                        </a:lnTo>
                        <a:lnTo>
                          <a:pt x="427" y="0"/>
                        </a:lnTo>
                        <a:lnTo>
                          <a:pt x="445" y="11"/>
                        </a:lnTo>
                        <a:close/>
                      </a:path>
                    </a:pathLst>
                  </a:custGeom>
                  <a:solidFill>
                    <a:srgbClr val="CEC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85" name="Freeform 28">
                    <a:extLst>
                      <a:ext uri="{FF2B5EF4-FFF2-40B4-BE49-F238E27FC236}">
                        <a16:creationId xmlns:a16="http://schemas.microsoft.com/office/drawing/2014/main" id="{7BEDD984-D691-4683-8279-C4947F54488D}"/>
                      </a:ext>
                    </a:extLst>
                  </p:cNvPr>
                  <p:cNvSpPr>
                    <a:spLocks/>
                  </p:cNvSpPr>
                  <p:nvPr/>
                </p:nvSpPr>
                <p:spPr bwMode="auto">
                  <a:xfrm>
                    <a:off x="8120063" y="465138"/>
                    <a:ext cx="239713" cy="230188"/>
                  </a:xfrm>
                  <a:custGeom>
                    <a:avLst/>
                    <a:gdLst>
                      <a:gd name="T0" fmla="*/ 0 w 452"/>
                      <a:gd name="T1" fmla="*/ 2147483646 h 434"/>
                      <a:gd name="T2" fmla="*/ 2147483646 w 452"/>
                      <a:gd name="T3" fmla="*/ 2147483646 h 434"/>
                      <a:gd name="T4" fmla="*/ 2147483646 w 452"/>
                      <a:gd name="T5" fmla="*/ 2147483646 h 434"/>
                      <a:gd name="T6" fmla="*/ 2147483646 w 452"/>
                      <a:gd name="T7" fmla="*/ 0 h 434"/>
                      <a:gd name="T8" fmla="*/ 0 w 452"/>
                      <a:gd name="T9" fmla="*/ 2147483646 h 434"/>
                      <a:gd name="T10" fmla="*/ 0 60000 65536"/>
                      <a:gd name="T11" fmla="*/ 0 60000 65536"/>
                      <a:gd name="T12" fmla="*/ 0 60000 65536"/>
                      <a:gd name="T13" fmla="*/ 0 60000 65536"/>
                      <a:gd name="T14" fmla="*/ 0 60000 65536"/>
                      <a:gd name="T15" fmla="*/ 0 w 452"/>
                      <a:gd name="T16" fmla="*/ 0 h 434"/>
                      <a:gd name="T17" fmla="*/ 452 w 452"/>
                      <a:gd name="T18" fmla="*/ 434 h 434"/>
                    </a:gdLst>
                    <a:ahLst/>
                    <a:cxnLst>
                      <a:cxn ang="T10">
                        <a:pos x="T0" y="T1"/>
                      </a:cxn>
                      <a:cxn ang="T11">
                        <a:pos x="T2" y="T3"/>
                      </a:cxn>
                      <a:cxn ang="T12">
                        <a:pos x="T4" y="T5"/>
                      </a:cxn>
                      <a:cxn ang="T13">
                        <a:pos x="T6" y="T7"/>
                      </a:cxn>
                      <a:cxn ang="T14">
                        <a:pos x="T8" y="T9"/>
                      </a:cxn>
                    </a:cxnLst>
                    <a:rect l="T15" t="T16" r="T17" b="T18"/>
                    <a:pathLst>
                      <a:path w="452" h="434">
                        <a:moveTo>
                          <a:pt x="0" y="120"/>
                        </a:moveTo>
                        <a:lnTo>
                          <a:pt x="24" y="434"/>
                        </a:lnTo>
                        <a:lnTo>
                          <a:pt x="452" y="314"/>
                        </a:lnTo>
                        <a:lnTo>
                          <a:pt x="427" y="0"/>
                        </a:lnTo>
                        <a:lnTo>
                          <a:pt x="0" y="120"/>
                        </a:lnTo>
                        <a:close/>
                      </a:path>
                    </a:pathLst>
                  </a:custGeom>
                  <a:solidFill>
                    <a:srgbClr val="ADA68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86" name="Freeform 29">
                    <a:extLst>
                      <a:ext uri="{FF2B5EF4-FFF2-40B4-BE49-F238E27FC236}">
                        <a16:creationId xmlns:a16="http://schemas.microsoft.com/office/drawing/2014/main" id="{6547D3AC-3BCF-4241-B9A6-9730D765C197}"/>
                      </a:ext>
                    </a:extLst>
                  </p:cNvPr>
                  <p:cNvSpPr>
                    <a:spLocks/>
                  </p:cNvSpPr>
                  <p:nvPr/>
                </p:nvSpPr>
                <p:spPr bwMode="auto">
                  <a:xfrm>
                    <a:off x="8126413" y="466725"/>
                    <a:ext cx="241300" cy="228600"/>
                  </a:xfrm>
                  <a:custGeom>
                    <a:avLst/>
                    <a:gdLst>
                      <a:gd name="T0" fmla="*/ 0 w 455"/>
                      <a:gd name="T1" fmla="*/ 2147483646 h 430"/>
                      <a:gd name="T2" fmla="*/ 2147483646 w 455"/>
                      <a:gd name="T3" fmla="*/ 2147483646 h 430"/>
                      <a:gd name="T4" fmla="*/ 2147483646 w 455"/>
                      <a:gd name="T5" fmla="*/ 2147483646 h 430"/>
                      <a:gd name="T6" fmla="*/ 2147483646 w 455"/>
                      <a:gd name="T7" fmla="*/ 0 h 430"/>
                      <a:gd name="T8" fmla="*/ 0 w 455"/>
                      <a:gd name="T9" fmla="*/ 2147483646 h 430"/>
                      <a:gd name="T10" fmla="*/ 0 60000 65536"/>
                      <a:gd name="T11" fmla="*/ 0 60000 65536"/>
                      <a:gd name="T12" fmla="*/ 0 60000 65536"/>
                      <a:gd name="T13" fmla="*/ 0 60000 65536"/>
                      <a:gd name="T14" fmla="*/ 0 60000 65536"/>
                      <a:gd name="T15" fmla="*/ 0 w 455"/>
                      <a:gd name="T16" fmla="*/ 0 h 430"/>
                      <a:gd name="T17" fmla="*/ 455 w 455"/>
                      <a:gd name="T18" fmla="*/ 430 h 430"/>
                    </a:gdLst>
                    <a:ahLst/>
                    <a:cxnLst>
                      <a:cxn ang="T10">
                        <a:pos x="T0" y="T1"/>
                      </a:cxn>
                      <a:cxn ang="T11">
                        <a:pos x="T2" y="T3"/>
                      </a:cxn>
                      <a:cxn ang="T12">
                        <a:pos x="T4" y="T5"/>
                      </a:cxn>
                      <a:cxn ang="T13">
                        <a:pos x="T6" y="T7"/>
                      </a:cxn>
                      <a:cxn ang="T14">
                        <a:pos x="T8" y="T9"/>
                      </a:cxn>
                    </a:cxnLst>
                    <a:rect l="T15" t="T16" r="T17" b="T18"/>
                    <a:pathLst>
                      <a:path w="455" h="430">
                        <a:moveTo>
                          <a:pt x="0" y="124"/>
                        </a:moveTo>
                        <a:lnTo>
                          <a:pt x="12" y="430"/>
                        </a:lnTo>
                        <a:lnTo>
                          <a:pt x="455" y="306"/>
                        </a:lnTo>
                        <a:lnTo>
                          <a:pt x="443" y="0"/>
                        </a:lnTo>
                        <a:lnTo>
                          <a:pt x="0"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87" name="Freeform 30">
                    <a:extLst>
                      <a:ext uri="{FF2B5EF4-FFF2-40B4-BE49-F238E27FC236}">
                        <a16:creationId xmlns:a16="http://schemas.microsoft.com/office/drawing/2014/main" id="{2F0CBFC4-5424-40CC-BB6E-B315BF18307D}"/>
                      </a:ext>
                    </a:extLst>
                  </p:cNvPr>
                  <p:cNvSpPr>
                    <a:spLocks/>
                  </p:cNvSpPr>
                  <p:nvPr/>
                </p:nvSpPr>
                <p:spPr bwMode="auto">
                  <a:xfrm>
                    <a:off x="8132763" y="473075"/>
                    <a:ext cx="228600" cy="222250"/>
                  </a:xfrm>
                  <a:custGeom>
                    <a:avLst/>
                    <a:gdLst>
                      <a:gd name="T0" fmla="*/ 0 w 431"/>
                      <a:gd name="T1" fmla="*/ 2147483646 h 418"/>
                      <a:gd name="T2" fmla="*/ 0 w 431"/>
                      <a:gd name="T3" fmla="*/ 2147483646 h 418"/>
                      <a:gd name="T4" fmla="*/ 2147483646 w 431"/>
                      <a:gd name="T5" fmla="*/ 2147483646 h 418"/>
                      <a:gd name="T6" fmla="*/ 2147483646 w 431"/>
                      <a:gd name="T7" fmla="*/ 0 h 418"/>
                      <a:gd name="T8" fmla="*/ 0 w 431"/>
                      <a:gd name="T9" fmla="*/ 2147483646 h 418"/>
                      <a:gd name="T10" fmla="*/ 0 60000 65536"/>
                      <a:gd name="T11" fmla="*/ 0 60000 65536"/>
                      <a:gd name="T12" fmla="*/ 0 60000 65536"/>
                      <a:gd name="T13" fmla="*/ 0 60000 65536"/>
                      <a:gd name="T14" fmla="*/ 0 60000 65536"/>
                      <a:gd name="T15" fmla="*/ 0 w 431"/>
                      <a:gd name="T16" fmla="*/ 0 h 418"/>
                      <a:gd name="T17" fmla="*/ 431 w 431"/>
                      <a:gd name="T18" fmla="*/ 418 h 418"/>
                    </a:gdLst>
                    <a:ahLst/>
                    <a:cxnLst>
                      <a:cxn ang="T10">
                        <a:pos x="T0" y="T1"/>
                      </a:cxn>
                      <a:cxn ang="T11">
                        <a:pos x="T2" y="T3"/>
                      </a:cxn>
                      <a:cxn ang="T12">
                        <a:pos x="T4" y="T5"/>
                      </a:cxn>
                      <a:cxn ang="T13">
                        <a:pos x="T6" y="T7"/>
                      </a:cxn>
                      <a:cxn ang="T14">
                        <a:pos x="T8" y="T9"/>
                      </a:cxn>
                    </a:cxnLst>
                    <a:rect l="T15" t="T16" r="T17" b="T18"/>
                    <a:pathLst>
                      <a:path w="431" h="418">
                        <a:moveTo>
                          <a:pt x="0" y="120"/>
                        </a:moveTo>
                        <a:lnTo>
                          <a:pt x="0" y="418"/>
                        </a:lnTo>
                        <a:lnTo>
                          <a:pt x="431" y="297"/>
                        </a:lnTo>
                        <a:lnTo>
                          <a:pt x="431" y="0"/>
                        </a:lnTo>
                        <a:lnTo>
                          <a:pt x="0" y="12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88" name="Freeform 31">
                    <a:extLst>
                      <a:ext uri="{FF2B5EF4-FFF2-40B4-BE49-F238E27FC236}">
                        <a16:creationId xmlns:a16="http://schemas.microsoft.com/office/drawing/2014/main" id="{4FEEB898-513B-46F4-9495-37DEF8BE6B2B}"/>
                      </a:ext>
                    </a:extLst>
                  </p:cNvPr>
                  <p:cNvSpPr>
                    <a:spLocks/>
                  </p:cNvSpPr>
                  <p:nvPr/>
                </p:nvSpPr>
                <p:spPr bwMode="auto">
                  <a:xfrm>
                    <a:off x="8132763" y="476250"/>
                    <a:ext cx="239713" cy="219075"/>
                  </a:xfrm>
                  <a:custGeom>
                    <a:avLst/>
                    <a:gdLst>
                      <a:gd name="T0" fmla="*/ 2147483646 w 452"/>
                      <a:gd name="T1" fmla="*/ 2147483646 h 413"/>
                      <a:gd name="T2" fmla="*/ 0 w 452"/>
                      <a:gd name="T3" fmla="*/ 2147483646 h 413"/>
                      <a:gd name="T4" fmla="*/ 2147483646 w 452"/>
                      <a:gd name="T5" fmla="*/ 2147483646 h 413"/>
                      <a:gd name="T6" fmla="*/ 2147483646 w 452"/>
                      <a:gd name="T7" fmla="*/ 0 h 413"/>
                      <a:gd name="T8" fmla="*/ 2147483646 w 452"/>
                      <a:gd name="T9" fmla="*/ 2147483646 h 413"/>
                      <a:gd name="T10" fmla="*/ 0 60000 65536"/>
                      <a:gd name="T11" fmla="*/ 0 60000 65536"/>
                      <a:gd name="T12" fmla="*/ 0 60000 65536"/>
                      <a:gd name="T13" fmla="*/ 0 60000 65536"/>
                      <a:gd name="T14" fmla="*/ 0 60000 65536"/>
                      <a:gd name="T15" fmla="*/ 0 w 452"/>
                      <a:gd name="T16" fmla="*/ 0 h 413"/>
                      <a:gd name="T17" fmla="*/ 452 w 452"/>
                      <a:gd name="T18" fmla="*/ 413 h 413"/>
                    </a:gdLst>
                    <a:ahLst/>
                    <a:cxnLst>
                      <a:cxn ang="T10">
                        <a:pos x="T0" y="T1"/>
                      </a:cxn>
                      <a:cxn ang="T11">
                        <a:pos x="T2" y="T3"/>
                      </a:cxn>
                      <a:cxn ang="T12">
                        <a:pos x="T4" y="T5"/>
                      </a:cxn>
                      <a:cxn ang="T13">
                        <a:pos x="T6" y="T7"/>
                      </a:cxn>
                      <a:cxn ang="T14">
                        <a:pos x="T8" y="T9"/>
                      </a:cxn>
                    </a:cxnLst>
                    <a:rect l="T15" t="T16" r="T17" b="T18"/>
                    <a:pathLst>
                      <a:path w="452" h="413">
                        <a:moveTo>
                          <a:pt x="9" y="124"/>
                        </a:moveTo>
                        <a:lnTo>
                          <a:pt x="0" y="413"/>
                        </a:lnTo>
                        <a:lnTo>
                          <a:pt x="443" y="289"/>
                        </a:lnTo>
                        <a:lnTo>
                          <a:pt x="452" y="0"/>
                        </a:lnTo>
                        <a:lnTo>
                          <a:pt x="9" y="124"/>
                        </a:lnTo>
                        <a:close/>
                      </a:path>
                    </a:pathLst>
                  </a:custGeom>
                  <a:solidFill>
                    <a:srgbClr val="CCECF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89" name="Freeform 32">
                    <a:extLst>
                      <a:ext uri="{FF2B5EF4-FFF2-40B4-BE49-F238E27FC236}">
                        <a16:creationId xmlns:a16="http://schemas.microsoft.com/office/drawing/2014/main" id="{18D431E3-4DBC-433D-849D-DB5FFBD710D4}"/>
                      </a:ext>
                    </a:extLst>
                  </p:cNvPr>
                  <p:cNvSpPr>
                    <a:spLocks/>
                  </p:cNvSpPr>
                  <p:nvPr/>
                </p:nvSpPr>
                <p:spPr bwMode="auto">
                  <a:xfrm>
                    <a:off x="8129588" y="695325"/>
                    <a:ext cx="6350" cy="6350"/>
                  </a:xfrm>
                  <a:custGeom>
                    <a:avLst/>
                    <a:gdLst>
                      <a:gd name="T0" fmla="*/ 0 w 13"/>
                      <a:gd name="T1" fmla="*/ 0 h 12"/>
                      <a:gd name="T2" fmla="*/ 2147483646 w 13"/>
                      <a:gd name="T3" fmla="*/ 2147483646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0" y="0"/>
                        </a:moveTo>
                        <a:lnTo>
                          <a:pt x="13" y="1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90" name="Line 33">
                    <a:extLst>
                      <a:ext uri="{FF2B5EF4-FFF2-40B4-BE49-F238E27FC236}">
                        <a16:creationId xmlns:a16="http://schemas.microsoft.com/office/drawing/2014/main" id="{9A8E40F2-4897-43DA-A78E-83743B719A53}"/>
                      </a:ext>
                    </a:extLst>
                  </p:cNvPr>
                  <p:cNvSpPr>
                    <a:spLocks noChangeShapeType="1"/>
                  </p:cNvSpPr>
                  <p:nvPr/>
                </p:nvSpPr>
                <p:spPr bwMode="auto">
                  <a:xfrm>
                    <a:off x="8129588" y="695325"/>
                    <a:ext cx="6350" cy="635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91" name="Freeform 34">
                    <a:extLst>
                      <a:ext uri="{FF2B5EF4-FFF2-40B4-BE49-F238E27FC236}">
                        <a16:creationId xmlns:a16="http://schemas.microsoft.com/office/drawing/2014/main" id="{DFD50EC6-1DF5-4C26-BE2C-E45DD7ED3E58}"/>
                      </a:ext>
                    </a:extLst>
                  </p:cNvPr>
                  <p:cNvSpPr>
                    <a:spLocks/>
                  </p:cNvSpPr>
                  <p:nvPr/>
                </p:nvSpPr>
                <p:spPr bwMode="auto">
                  <a:xfrm>
                    <a:off x="8135938" y="498475"/>
                    <a:ext cx="258763" cy="203200"/>
                  </a:xfrm>
                  <a:custGeom>
                    <a:avLst/>
                    <a:gdLst>
                      <a:gd name="T0" fmla="*/ 2147483646 w 488"/>
                      <a:gd name="T1" fmla="*/ 2147483646 h 384"/>
                      <a:gd name="T2" fmla="*/ 2147483646 w 488"/>
                      <a:gd name="T3" fmla="*/ 0 h 384"/>
                      <a:gd name="T4" fmla="*/ 2147483646 w 488"/>
                      <a:gd name="T5" fmla="*/ 2147483646 h 384"/>
                      <a:gd name="T6" fmla="*/ 0 w 488"/>
                      <a:gd name="T7" fmla="*/ 2147483646 h 384"/>
                      <a:gd name="T8" fmla="*/ 2147483646 w 488"/>
                      <a:gd name="T9" fmla="*/ 2147483646 h 384"/>
                      <a:gd name="T10" fmla="*/ 2147483646 w 488"/>
                      <a:gd name="T11" fmla="*/ 2147483646 h 384"/>
                      <a:gd name="T12" fmla="*/ 2147483646 w 488"/>
                      <a:gd name="T13" fmla="*/ 2147483646 h 384"/>
                      <a:gd name="T14" fmla="*/ 2147483646 w 488"/>
                      <a:gd name="T15" fmla="*/ 2147483646 h 384"/>
                      <a:gd name="T16" fmla="*/ 2147483646 w 488"/>
                      <a:gd name="T17" fmla="*/ 2147483646 h 3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8"/>
                      <a:gd name="T28" fmla="*/ 0 h 384"/>
                      <a:gd name="T29" fmla="*/ 488 w 488"/>
                      <a:gd name="T30" fmla="*/ 384 h 38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8" h="384">
                        <a:moveTo>
                          <a:pt x="338" y="41"/>
                        </a:moveTo>
                        <a:lnTo>
                          <a:pt x="488" y="0"/>
                        </a:lnTo>
                        <a:lnTo>
                          <a:pt x="447" y="260"/>
                        </a:lnTo>
                        <a:lnTo>
                          <a:pt x="0" y="384"/>
                        </a:lnTo>
                        <a:lnTo>
                          <a:pt x="44" y="104"/>
                        </a:lnTo>
                        <a:lnTo>
                          <a:pt x="55" y="91"/>
                        </a:lnTo>
                        <a:lnTo>
                          <a:pt x="308" y="21"/>
                        </a:lnTo>
                        <a:lnTo>
                          <a:pt x="338" y="41"/>
                        </a:lnTo>
                        <a:close/>
                      </a:path>
                    </a:pathLst>
                  </a:custGeom>
                  <a:solidFill>
                    <a:srgbClr val="CEC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92" name="Freeform 35">
                    <a:extLst>
                      <a:ext uri="{FF2B5EF4-FFF2-40B4-BE49-F238E27FC236}">
                        <a16:creationId xmlns:a16="http://schemas.microsoft.com/office/drawing/2014/main" id="{B9A77863-CC02-4CA3-A1BF-A1A9FACEECC0}"/>
                      </a:ext>
                    </a:extLst>
                  </p:cNvPr>
                  <p:cNvSpPr>
                    <a:spLocks/>
                  </p:cNvSpPr>
                  <p:nvPr/>
                </p:nvSpPr>
                <p:spPr bwMode="auto">
                  <a:xfrm>
                    <a:off x="8135938" y="539750"/>
                    <a:ext cx="241300" cy="161925"/>
                  </a:xfrm>
                  <a:custGeom>
                    <a:avLst/>
                    <a:gdLst>
                      <a:gd name="T0" fmla="*/ 2147483646 w 456"/>
                      <a:gd name="T1" fmla="*/ 2147483646 h 305"/>
                      <a:gd name="T2" fmla="*/ 2147483646 w 456"/>
                      <a:gd name="T3" fmla="*/ 2147483646 h 305"/>
                      <a:gd name="T4" fmla="*/ 2147483646 w 456"/>
                      <a:gd name="T5" fmla="*/ 2147483646 h 305"/>
                      <a:gd name="T6" fmla="*/ 2147483646 w 456"/>
                      <a:gd name="T7" fmla="*/ 2147483646 h 305"/>
                      <a:gd name="T8" fmla="*/ 0 w 456"/>
                      <a:gd name="T9" fmla="*/ 2147483646 h 305"/>
                      <a:gd name="T10" fmla="*/ 2147483646 w 456"/>
                      <a:gd name="T11" fmla="*/ 2147483646 h 305"/>
                      <a:gd name="T12" fmla="*/ 2147483646 w 456"/>
                      <a:gd name="T13" fmla="*/ 2147483646 h 305"/>
                      <a:gd name="T14" fmla="*/ 2147483646 w 456"/>
                      <a:gd name="T15" fmla="*/ 2147483646 h 305"/>
                      <a:gd name="T16" fmla="*/ 2147483646 w 456"/>
                      <a:gd name="T17" fmla="*/ 2147483646 h 305"/>
                      <a:gd name="T18" fmla="*/ 2147483646 w 456"/>
                      <a:gd name="T19" fmla="*/ 2147483646 h 305"/>
                      <a:gd name="T20" fmla="*/ 2147483646 w 456"/>
                      <a:gd name="T21" fmla="*/ 2147483646 h 305"/>
                      <a:gd name="T22" fmla="*/ 2147483646 w 456"/>
                      <a:gd name="T23" fmla="*/ 2147483646 h 305"/>
                      <a:gd name="T24" fmla="*/ 2147483646 w 456"/>
                      <a:gd name="T25" fmla="*/ 2147483646 h 305"/>
                      <a:gd name="T26" fmla="*/ 2147483646 w 456"/>
                      <a:gd name="T27" fmla="*/ 2147483646 h 305"/>
                      <a:gd name="T28" fmla="*/ 2147483646 w 456"/>
                      <a:gd name="T29" fmla="*/ 2147483646 h 305"/>
                      <a:gd name="T30" fmla="*/ 2147483646 w 456"/>
                      <a:gd name="T31" fmla="*/ 2147483646 h 305"/>
                      <a:gd name="T32" fmla="*/ 2147483646 w 456"/>
                      <a:gd name="T33" fmla="*/ 2147483646 h 305"/>
                      <a:gd name="T34" fmla="*/ 2147483646 w 456"/>
                      <a:gd name="T35" fmla="*/ 2147483646 h 305"/>
                      <a:gd name="T36" fmla="*/ 2147483646 w 456"/>
                      <a:gd name="T37" fmla="*/ 2147483646 h 305"/>
                      <a:gd name="T38" fmla="*/ 2147483646 w 456"/>
                      <a:gd name="T39" fmla="*/ 2147483646 h 305"/>
                      <a:gd name="T40" fmla="*/ 2147483646 w 456"/>
                      <a:gd name="T41" fmla="*/ 2147483646 h 305"/>
                      <a:gd name="T42" fmla="*/ 2147483646 w 456"/>
                      <a:gd name="T43" fmla="*/ 2147483646 h 305"/>
                      <a:gd name="T44" fmla="*/ 2147483646 w 456"/>
                      <a:gd name="T45" fmla="*/ 2147483646 h 305"/>
                      <a:gd name="T46" fmla="*/ 2147483646 w 456"/>
                      <a:gd name="T47" fmla="*/ 2147483646 h 305"/>
                      <a:gd name="T48" fmla="*/ 2147483646 w 456"/>
                      <a:gd name="T49" fmla="*/ 2147483646 h 305"/>
                      <a:gd name="T50" fmla="*/ 2147483646 w 456"/>
                      <a:gd name="T51" fmla="*/ 2147483646 h 305"/>
                      <a:gd name="T52" fmla="*/ 2147483646 w 456"/>
                      <a:gd name="T53" fmla="*/ 2147483646 h 305"/>
                      <a:gd name="T54" fmla="*/ 2147483646 w 456"/>
                      <a:gd name="T55" fmla="*/ 2147483646 h 305"/>
                      <a:gd name="T56" fmla="*/ 2147483646 w 456"/>
                      <a:gd name="T57" fmla="*/ 2147483646 h 305"/>
                      <a:gd name="T58" fmla="*/ 2147483646 w 456"/>
                      <a:gd name="T59" fmla="*/ 2147483646 h 305"/>
                      <a:gd name="T60" fmla="*/ 2147483646 w 456"/>
                      <a:gd name="T61" fmla="*/ 0 h 305"/>
                      <a:gd name="T62" fmla="*/ 2147483646 w 456"/>
                      <a:gd name="T63" fmla="*/ 0 h 305"/>
                      <a:gd name="T64" fmla="*/ 2147483646 w 456"/>
                      <a:gd name="T65" fmla="*/ 2147483646 h 305"/>
                      <a:gd name="T66" fmla="*/ 2147483646 w 456"/>
                      <a:gd name="T67" fmla="*/ 2147483646 h 30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56"/>
                      <a:gd name="T103" fmla="*/ 0 h 305"/>
                      <a:gd name="T104" fmla="*/ 456 w 456"/>
                      <a:gd name="T105" fmla="*/ 305 h 30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56" h="305">
                        <a:moveTo>
                          <a:pt x="95" y="1"/>
                        </a:moveTo>
                        <a:lnTo>
                          <a:pt x="95" y="1"/>
                        </a:lnTo>
                        <a:lnTo>
                          <a:pt x="55" y="12"/>
                        </a:lnTo>
                        <a:lnTo>
                          <a:pt x="44" y="25"/>
                        </a:lnTo>
                        <a:lnTo>
                          <a:pt x="0" y="305"/>
                        </a:lnTo>
                        <a:lnTo>
                          <a:pt x="447" y="181"/>
                        </a:lnTo>
                        <a:lnTo>
                          <a:pt x="456" y="125"/>
                        </a:lnTo>
                        <a:lnTo>
                          <a:pt x="435" y="128"/>
                        </a:lnTo>
                        <a:lnTo>
                          <a:pt x="416" y="130"/>
                        </a:lnTo>
                        <a:lnTo>
                          <a:pt x="397" y="131"/>
                        </a:lnTo>
                        <a:lnTo>
                          <a:pt x="379" y="130"/>
                        </a:lnTo>
                        <a:lnTo>
                          <a:pt x="363" y="129"/>
                        </a:lnTo>
                        <a:lnTo>
                          <a:pt x="347" y="127"/>
                        </a:lnTo>
                        <a:lnTo>
                          <a:pt x="333" y="123"/>
                        </a:lnTo>
                        <a:lnTo>
                          <a:pt x="319" y="120"/>
                        </a:lnTo>
                        <a:lnTo>
                          <a:pt x="307" y="115"/>
                        </a:lnTo>
                        <a:lnTo>
                          <a:pt x="295" y="110"/>
                        </a:lnTo>
                        <a:lnTo>
                          <a:pt x="283" y="105"/>
                        </a:lnTo>
                        <a:lnTo>
                          <a:pt x="273" y="99"/>
                        </a:lnTo>
                        <a:lnTo>
                          <a:pt x="253" y="85"/>
                        </a:lnTo>
                        <a:lnTo>
                          <a:pt x="235" y="71"/>
                        </a:lnTo>
                        <a:lnTo>
                          <a:pt x="202" y="43"/>
                        </a:lnTo>
                        <a:lnTo>
                          <a:pt x="186" y="30"/>
                        </a:lnTo>
                        <a:lnTo>
                          <a:pt x="170" y="18"/>
                        </a:lnTo>
                        <a:lnTo>
                          <a:pt x="162" y="13"/>
                        </a:lnTo>
                        <a:lnTo>
                          <a:pt x="154" y="9"/>
                        </a:lnTo>
                        <a:lnTo>
                          <a:pt x="146" y="6"/>
                        </a:lnTo>
                        <a:lnTo>
                          <a:pt x="136" y="3"/>
                        </a:lnTo>
                        <a:lnTo>
                          <a:pt x="127" y="1"/>
                        </a:lnTo>
                        <a:lnTo>
                          <a:pt x="117" y="0"/>
                        </a:lnTo>
                        <a:lnTo>
                          <a:pt x="106" y="0"/>
                        </a:lnTo>
                        <a:lnTo>
                          <a:pt x="95" y="1"/>
                        </a:lnTo>
                        <a:close/>
                      </a:path>
                    </a:pathLst>
                  </a:custGeom>
                  <a:solidFill>
                    <a:srgbClr val="C2BC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93" name="Freeform 36">
                    <a:extLst>
                      <a:ext uri="{FF2B5EF4-FFF2-40B4-BE49-F238E27FC236}">
                        <a16:creationId xmlns:a16="http://schemas.microsoft.com/office/drawing/2014/main" id="{66505F4E-DC9F-4206-AEDA-C091D8086EEE}"/>
                      </a:ext>
                    </a:extLst>
                  </p:cNvPr>
                  <p:cNvSpPr>
                    <a:spLocks/>
                  </p:cNvSpPr>
                  <p:nvPr/>
                </p:nvSpPr>
                <p:spPr bwMode="auto">
                  <a:xfrm>
                    <a:off x="8135938" y="547688"/>
                    <a:ext cx="26988" cy="153988"/>
                  </a:xfrm>
                  <a:custGeom>
                    <a:avLst/>
                    <a:gdLst>
                      <a:gd name="T0" fmla="*/ 2147483646 w 52"/>
                      <a:gd name="T1" fmla="*/ 0 h 290"/>
                      <a:gd name="T2" fmla="*/ 2147483646 w 52"/>
                      <a:gd name="T3" fmla="*/ 0 h 290"/>
                      <a:gd name="T4" fmla="*/ 2147483646 w 52"/>
                      <a:gd name="T5" fmla="*/ 2147483646 h 290"/>
                      <a:gd name="T6" fmla="*/ 2147483646 w 52"/>
                      <a:gd name="T7" fmla="*/ 2147483646 h 290"/>
                      <a:gd name="T8" fmla="*/ 0 w 52"/>
                      <a:gd name="T9" fmla="*/ 2147483646 h 290"/>
                      <a:gd name="T10" fmla="*/ 2147483646 w 52"/>
                      <a:gd name="T11" fmla="*/ 2147483646 h 290"/>
                      <a:gd name="T12" fmla="*/ 2147483646 w 52"/>
                      <a:gd name="T13" fmla="*/ 0 h 290"/>
                      <a:gd name="T14" fmla="*/ 0 60000 65536"/>
                      <a:gd name="T15" fmla="*/ 0 60000 65536"/>
                      <a:gd name="T16" fmla="*/ 0 60000 65536"/>
                      <a:gd name="T17" fmla="*/ 0 60000 65536"/>
                      <a:gd name="T18" fmla="*/ 0 60000 65536"/>
                      <a:gd name="T19" fmla="*/ 0 60000 65536"/>
                      <a:gd name="T20" fmla="*/ 0 60000 65536"/>
                      <a:gd name="T21" fmla="*/ 0 w 52"/>
                      <a:gd name="T22" fmla="*/ 0 h 290"/>
                      <a:gd name="T23" fmla="*/ 52 w 52"/>
                      <a:gd name="T24" fmla="*/ 290 h 2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290">
                        <a:moveTo>
                          <a:pt x="52" y="0"/>
                        </a:moveTo>
                        <a:lnTo>
                          <a:pt x="52" y="0"/>
                        </a:lnTo>
                        <a:lnTo>
                          <a:pt x="35" y="5"/>
                        </a:lnTo>
                        <a:lnTo>
                          <a:pt x="23" y="19"/>
                        </a:lnTo>
                        <a:lnTo>
                          <a:pt x="0" y="290"/>
                        </a:lnTo>
                        <a:lnTo>
                          <a:pt x="44" y="10"/>
                        </a:lnTo>
                        <a:lnTo>
                          <a:pt x="52" y="0"/>
                        </a:lnTo>
                        <a:close/>
                      </a:path>
                    </a:pathLst>
                  </a:custGeom>
                  <a:solidFill>
                    <a:srgbClr val="99D9E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94" name="Freeform 37">
                    <a:extLst>
                      <a:ext uri="{FF2B5EF4-FFF2-40B4-BE49-F238E27FC236}">
                        <a16:creationId xmlns:a16="http://schemas.microsoft.com/office/drawing/2014/main" id="{52DD2B47-0470-4B87-83EF-CF192E5A2A74}"/>
                      </a:ext>
                    </a:extLst>
                  </p:cNvPr>
                  <p:cNvSpPr>
                    <a:spLocks/>
                  </p:cNvSpPr>
                  <p:nvPr/>
                </p:nvSpPr>
                <p:spPr bwMode="auto">
                  <a:xfrm>
                    <a:off x="8135938" y="630238"/>
                    <a:ext cx="87313" cy="71438"/>
                  </a:xfrm>
                  <a:custGeom>
                    <a:avLst/>
                    <a:gdLst>
                      <a:gd name="T0" fmla="*/ 2147483646 w 165"/>
                      <a:gd name="T1" fmla="*/ 2147483646 h 134"/>
                      <a:gd name="T2" fmla="*/ 0 w 165"/>
                      <a:gd name="T3" fmla="*/ 2147483646 h 134"/>
                      <a:gd name="T4" fmla="*/ 2147483646 w 165"/>
                      <a:gd name="T5" fmla="*/ 0 h 134"/>
                      <a:gd name="T6" fmla="*/ 2147483646 w 165"/>
                      <a:gd name="T7" fmla="*/ 0 h 134"/>
                      <a:gd name="T8" fmla="*/ 2147483646 w 165"/>
                      <a:gd name="T9" fmla="*/ 2147483646 h 134"/>
                      <a:gd name="T10" fmla="*/ 2147483646 w 165"/>
                      <a:gd name="T11" fmla="*/ 2147483646 h 134"/>
                      <a:gd name="T12" fmla="*/ 2147483646 w 165"/>
                      <a:gd name="T13" fmla="*/ 2147483646 h 134"/>
                      <a:gd name="T14" fmla="*/ 2147483646 w 165"/>
                      <a:gd name="T15" fmla="*/ 2147483646 h 134"/>
                      <a:gd name="T16" fmla="*/ 2147483646 w 165"/>
                      <a:gd name="T17" fmla="*/ 2147483646 h 134"/>
                      <a:gd name="T18" fmla="*/ 2147483646 w 165"/>
                      <a:gd name="T19" fmla="*/ 2147483646 h 134"/>
                      <a:gd name="T20" fmla="*/ 2147483646 w 165"/>
                      <a:gd name="T21" fmla="*/ 2147483646 h 134"/>
                      <a:gd name="T22" fmla="*/ 2147483646 w 165"/>
                      <a:gd name="T23" fmla="*/ 2147483646 h 134"/>
                      <a:gd name="T24" fmla="*/ 2147483646 w 165"/>
                      <a:gd name="T25" fmla="*/ 2147483646 h 134"/>
                      <a:gd name="T26" fmla="*/ 2147483646 w 165"/>
                      <a:gd name="T27" fmla="*/ 2147483646 h 134"/>
                      <a:gd name="T28" fmla="*/ 2147483646 w 165"/>
                      <a:gd name="T29" fmla="*/ 2147483646 h 134"/>
                      <a:gd name="T30" fmla="*/ 2147483646 w 165"/>
                      <a:gd name="T31" fmla="*/ 2147483646 h 134"/>
                      <a:gd name="T32" fmla="*/ 2147483646 w 165"/>
                      <a:gd name="T33" fmla="*/ 2147483646 h 134"/>
                      <a:gd name="T34" fmla="*/ 2147483646 w 165"/>
                      <a:gd name="T35" fmla="*/ 2147483646 h 1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5"/>
                      <a:gd name="T55" fmla="*/ 0 h 134"/>
                      <a:gd name="T56" fmla="*/ 165 w 165"/>
                      <a:gd name="T57" fmla="*/ 134 h 1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5" h="134">
                        <a:moveTo>
                          <a:pt x="165" y="88"/>
                        </a:moveTo>
                        <a:lnTo>
                          <a:pt x="0" y="134"/>
                        </a:lnTo>
                        <a:lnTo>
                          <a:pt x="20" y="0"/>
                        </a:lnTo>
                        <a:lnTo>
                          <a:pt x="31" y="3"/>
                        </a:lnTo>
                        <a:lnTo>
                          <a:pt x="40" y="7"/>
                        </a:lnTo>
                        <a:lnTo>
                          <a:pt x="48" y="13"/>
                        </a:lnTo>
                        <a:lnTo>
                          <a:pt x="56" y="20"/>
                        </a:lnTo>
                        <a:lnTo>
                          <a:pt x="72" y="34"/>
                        </a:lnTo>
                        <a:lnTo>
                          <a:pt x="88" y="51"/>
                        </a:lnTo>
                        <a:lnTo>
                          <a:pt x="103" y="66"/>
                        </a:lnTo>
                        <a:lnTo>
                          <a:pt x="111" y="72"/>
                        </a:lnTo>
                        <a:lnTo>
                          <a:pt x="121" y="78"/>
                        </a:lnTo>
                        <a:lnTo>
                          <a:pt x="131" y="84"/>
                        </a:lnTo>
                        <a:lnTo>
                          <a:pt x="141" y="87"/>
                        </a:lnTo>
                        <a:lnTo>
                          <a:pt x="153" y="89"/>
                        </a:lnTo>
                        <a:lnTo>
                          <a:pt x="165" y="88"/>
                        </a:lnTo>
                        <a:close/>
                      </a:path>
                    </a:pathLst>
                  </a:custGeom>
                  <a:solidFill>
                    <a:srgbClr val="B6B09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95" name="Freeform 38">
                    <a:extLst>
                      <a:ext uri="{FF2B5EF4-FFF2-40B4-BE49-F238E27FC236}">
                        <a16:creationId xmlns:a16="http://schemas.microsoft.com/office/drawing/2014/main" id="{CFC5CBC3-F473-4FF3-8352-C5B3290B5F12}"/>
                      </a:ext>
                    </a:extLst>
                  </p:cNvPr>
                  <p:cNvSpPr>
                    <a:spLocks noEditPoints="1"/>
                  </p:cNvSpPr>
                  <p:nvPr/>
                </p:nvSpPr>
                <p:spPr bwMode="auto">
                  <a:xfrm>
                    <a:off x="8107363" y="439738"/>
                    <a:ext cx="288925" cy="263525"/>
                  </a:xfrm>
                  <a:custGeom>
                    <a:avLst/>
                    <a:gdLst>
                      <a:gd name="T0" fmla="*/ 2147483646 w 546"/>
                      <a:gd name="T1" fmla="*/ 2147483646 h 498"/>
                      <a:gd name="T2" fmla="*/ 2147483646 w 546"/>
                      <a:gd name="T3" fmla="*/ 2147483646 h 498"/>
                      <a:gd name="T4" fmla="*/ 2147483646 w 546"/>
                      <a:gd name="T5" fmla="*/ 2147483646 h 498"/>
                      <a:gd name="T6" fmla="*/ 2147483646 w 546"/>
                      <a:gd name="T7" fmla="*/ 2147483646 h 498"/>
                      <a:gd name="T8" fmla="*/ 2147483646 w 546"/>
                      <a:gd name="T9" fmla="*/ 2147483646 h 498"/>
                      <a:gd name="T10" fmla="*/ 2147483646 w 546"/>
                      <a:gd name="T11" fmla="*/ 2147483646 h 498"/>
                      <a:gd name="T12" fmla="*/ 2147483646 w 546"/>
                      <a:gd name="T13" fmla="*/ 2147483646 h 498"/>
                      <a:gd name="T14" fmla="*/ 2147483646 w 546"/>
                      <a:gd name="T15" fmla="*/ 2147483646 h 498"/>
                      <a:gd name="T16" fmla="*/ 2147483646 w 546"/>
                      <a:gd name="T17" fmla="*/ 2147483646 h 498"/>
                      <a:gd name="T18" fmla="*/ 2147483646 w 546"/>
                      <a:gd name="T19" fmla="*/ 2147483646 h 498"/>
                      <a:gd name="T20" fmla="*/ 2147483646 w 546"/>
                      <a:gd name="T21" fmla="*/ 2147483646 h 498"/>
                      <a:gd name="T22" fmla="*/ 2147483646 w 546"/>
                      <a:gd name="T23" fmla="*/ 2147483646 h 498"/>
                      <a:gd name="T24" fmla="*/ 2147483646 w 546"/>
                      <a:gd name="T25" fmla="*/ 2147483646 h 498"/>
                      <a:gd name="T26" fmla="*/ 2147483646 w 546"/>
                      <a:gd name="T27" fmla="*/ 2147483646 h 498"/>
                      <a:gd name="T28" fmla="*/ 2147483646 w 546"/>
                      <a:gd name="T29" fmla="*/ 2147483646 h 498"/>
                      <a:gd name="T30" fmla="*/ 2147483646 w 546"/>
                      <a:gd name="T31" fmla="*/ 2147483646 h 498"/>
                      <a:gd name="T32" fmla="*/ 2147483646 w 546"/>
                      <a:gd name="T33" fmla="*/ 2147483646 h 498"/>
                      <a:gd name="T34" fmla="*/ 2147483646 w 546"/>
                      <a:gd name="T35" fmla="*/ 2147483646 h 498"/>
                      <a:gd name="T36" fmla="*/ 2147483646 w 546"/>
                      <a:gd name="T37" fmla="*/ 2147483646 h 498"/>
                      <a:gd name="T38" fmla="*/ 2147483646 w 546"/>
                      <a:gd name="T39" fmla="*/ 2147483646 h 498"/>
                      <a:gd name="T40" fmla="*/ 2147483646 w 546"/>
                      <a:gd name="T41" fmla="*/ 2147483646 h 498"/>
                      <a:gd name="T42" fmla="*/ 2147483646 w 546"/>
                      <a:gd name="T43" fmla="*/ 2147483646 h 498"/>
                      <a:gd name="T44" fmla="*/ 2147483646 w 546"/>
                      <a:gd name="T45" fmla="*/ 2147483646 h 498"/>
                      <a:gd name="T46" fmla="*/ 2147483646 w 546"/>
                      <a:gd name="T47" fmla="*/ 2147483646 h 498"/>
                      <a:gd name="T48" fmla="*/ 2147483646 w 546"/>
                      <a:gd name="T49" fmla="*/ 2147483646 h 498"/>
                      <a:gd name="T50" fmla="*/ 2147483646 w 546"/>
                      <a:gd name="T51" fmla="*/ 2147483646 h 498"/>
                      <a:gd name="T52" fmla="*/ 2147483646 w 546"/>
                      <a:gd name="T53" fmla="*/ 2147483646 h 498"/>
                      <a:gd name="T54" fmla="*/ 2147483646 w 546"/>
                      <a:gd name="T55" fmla="*/ 2147483646 h 498"/>
                      <a:gd name="T56" fmla="*/ 2147483646 w 546"/>
                      <a:gd name="T57" fmla="*/ 2147483646 h 498"/>
                      <a:gd name="T58" fmla="*/ 2147483646 w 546"/>
                      <a:gd name="T59" fmla="*/ 2147483646 h 498"/>
                      <a:gd name="T60" fmla="*/ 2147483646 w 546"/>
                      <a:gd name="T61" fmla="*/ 2147483646 h 498"/>
                      <a:gd name="T62" fmla="*/ 2147483646 w 546"/>
                      <a:gd name="T63" fmla="*/ 2147483646 h 498"/>
                      <a:gd name="T64" fmla="*/ 2147483646 w 546"/>
                      <a:gd name="T65" fmla="*/ 2147483646 h 498"/>
                      <a:gd name="T66" fmla="*/ 2147483646 w 546"/>
                      <a:gd name="T67" fmla="*/ 2147483646 h 498"/>
                      <a:gd name="T68" fmla="*/ 2147483646 w 546"/>
                      <a:gd name="T69" fmla="*/ 2147483646 h 498"/>
                      <a:gd name="T70" fmla="*/ 2147483646 w 546"/>
                      <a:gd name="T71" fmla="*/ 2147483646 h 498"/>
                      <a:gd name="T72" fmla="*/ 2147483646 w 546"/>
                      <a:gd name="T73" fmla="*/ 2147483646 h 498"/>
                      <a:gd name="T74" fmla="*/ 2147483646 w 546"/>
                      <a:gd name="T75" fmla="*/ 2147483646 h 498"/>
                      <a:gd name="T76" fmla="*/ 2147483646 w 546"/>
                      <a:gd name="T77" fmla="*/ 0 h 498"/>
                      <a:gd name="T78" fmla="*/ 2147483646 w 546"/>
                      <a:gd name="T79" fmla="*/ 2147483646 h 498"/>
                      <a:gd name="T80" fmla="*/ 2147483646 w 546"/>
                      <a:gd name="T81" fmla="*/ 2147483646 h 498"/>
                      <a:gd name="T82" fmla="*/ 2147483646 w 546"/>
                      <a:gd name="T83" fmla="*/ 2147483646 h 498"/>
                      <a:gd name="T84" fmla="*/ 0 w 546"/>
                      <a:gd name="T85" fmla="*/ 2147483646 h 498"/>
                      <a:gd name="T86" fmla="*/ 2147483646 w 546"/>
                      <a:gd name="T87" fmla="*/ 2147483646 h 498"/>
                      <a:gd name="T88" fmla="*/ 2147483646 w 546"/>
                      <a:gd name="T89" fmla="*/ 2147483646 h 498"/>
                      <a:gd name="T90" fmla="*/ 2147483646 w 546"/>
                      <a:gd name="T91" fmla="*/ 2147483646 h 498"/>
                      <a:gd name="T92" fmla="*/ 2147483646 w 546"/>
                      <a:gd name="T93" fmla="*/ 2147483646 h 498"/>
                      <a:gd name="T94" fmla="*/ 2147483646 w 546"/>
                      <a:gd name="T95" fmla="*/ 2147483646 h 498"/>
                      <a:gd name="T96" fmla="*/ 2147483646 w 546"/>
                      <a:gd name="T97" fmla="*/ 2147483646 h 498"/>
                      <a:gd name="T98" fmla="*/ 2147483646 w 546"/>
                      <a:gd name="T99" fmla="*/ 2147483646 h 49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6"/>
                      <a:gd name="T151" fmla="*/ 0 h 498"/>
                      <a:gd name="T152" fmla="*/ 546 w 546"/>
                      <a:gd name="T153" fmla="*/ 498 h 49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6" h="498">
                        <a:moveTo>
                          <a:pt x="497" y="367"/>
                        </a:moveTo>
                        <a:lnTo>
                          <a:pt x="497" y="367"/>
                        </a:lnTo>
                        <a:lnTo>
                          <a:pt x="59" y="488"/>
                        </a:lnTo>
                        <a:lnTo>
                          <a:pt x="101" y="216"/>
                        </a:lnTo>
                        <a:lnTo>
                          <a:pt x="112" y="204"/>
                        </a:lnTo>
                        <a:lnTo>
                          <a:pt x="121" y="202"/>
                        </a:lnTo>
                        <a:lnTo>
                          <a:pt x="361" y="136"/>
                        </a:lnTo>
                        <a:lnTo>
                          <a:pt x="389" y="156"/>
                        </a:lnTo>
                        <a:lnTo>
                          <a:pt x="391" y="156"/>
                        </a:lnTo>
                        <a:lnTo>
                          <a:pt x="393" y="156"/>
                        </a:lnTo>
                        <a:lnTo>
                          <a:pt x="537" y="116"/>
                        </a:lnTo>
                        <a:lnTo>
                          <a:pt x="497" y="367"/>
                        </a:lnTo>
                        <a:close/>
                        <a:moveTo>
                          <a:pt x="8" y="163"/>
                        </a:moveTo>
                        <a:lnTo>
                          <a:pt x="8" y="163"/>
                        </a:lnTo>
                        <a:lnTo>
                          <a:pt x="297" y="82"/>
                        </a:lnTo>
                        <a:lnTo>
                          <a:pt x="299" y="82"/>
                        </a:lnTo>
                        <a:lnTo>
                          <a:pt x="300" y="80"/>
                        </a:lnTo>
                        <a:lnTo>
                          <a:pt x="318" y="40"/>
                        </a:lnTo>
                        <a:lnTo>
                          <a:pt x="430" y="8"/>
                        </a:lnTo>
                        <a:lnTo>
                          <a:pt x="445" y="18"/>
                        </a:lnTo>
                        <a:lnTo>
                          <a:pt x="449" y="56"/>
                        </a:lnTo>
                        <a:lnTo>
                          <a:pt x="36" y="172"/>
                        </a:lnTo>
                        <a:lnTo>
                          <a:pt x="34" y="174"/>
                        </a:lnTo>
                        <a:lnTo>
                          <a:pt x="33" y="176"/>
                        </a:lnTo>
                        <a:lnTo>
                          <a:pt x="45" y="477"/>
                        </a:lnTo>
                        <a:lnTo>
                          <a:pt x="44" y="477"/>
                        </a:lnTo>
                        <a:lnTo>
                          <a:pt x="8" y="163"/>
                        </a:lnTo>
                        <a:close/>
                        <a:moveTo>
                          <a:pt x="477" y="71"/>
                        </a:moveTo>
                        <a:lnTo>
                          <a:pt x="57" y="189"/>
                        </a:lnTo>
                        <a:lnTo>
                          <a:pt x="55" y="191"/>
                        </a:lnTo>
                        <a:lnTo>
                          <a:pt x="54" y="193"/>
                        </a:lnTo>
                        <a:lnTo>
                          <a:pt x="48" y="362"/>
                        </a:lnTo>
                        <a:lnTo>
                          <a:pt x="41" y="179"/>
                        </a:lnTo>
                        <a:lnTo>
                          <a:pt x="476" y="57"/>
                        </a:lnTo>
                        <a:lnTo>
                          <a:pt x="477" y="71"/>
                        </a:lnTo>
                        <a:close/>
                        <a:moveTo>
                          <a:pt x="110" y="205"/>
                        </a:moveTo>
                        <a:lnTo>
                          <a:pt x="110" y="205"/>
                        </a:lnTo>
                        <a:lnTo>
                          <a:pt x="109" y="205"/>
                        </a:lnTo>
                        <a:lnTo>
                          <a:pt x="110" y="205"/>
                        </a:lnTo>
                        <a:close/>
                        <a:moveTo>
                          <a:pt x="496" y="118"/>
                        </a:moveTo>
                        <a:lnTo>
                          <a:pt x="496" y="118"/>
                        </a:lnTo>
                        <a:lnTo>
                          <a:pt x="392" y="147"/>
                        </a:lnTo>
                        <a:lnTo>
                          <a:pt x="364" y="128"/>
                        </a:lnTo>
                        <a:lnTo>
                          <a:pt x="363" y="127"/>
                        </a:lnTo>
                        <a:lnTo>
                          <a:pt x="361" y="127"/>
                        </a:lnTo>
                        <a:lnTo>
                          <a:pt x="108" y="197"/>
                        </a:lnTo>
                        <a:lnTo>
                          <a:pt x="106" y="198"/>
                        </a:lnTo>
                        <a:lnTo>
                          <a:pt x="95" y="212"/>
                        </a:lnTo>
                        <a:lnTo>
                          <a:pt x="94" y="214"/>
                        </a:lnTo>
                        <a:lnTo>
                          <a:pt x="54" y="464"/>
                        </a:lnTo>
                        <a:lnTo>
                          <a:pt x="62" y="196"/>
                        </a:lnTo>
                        <a:lnTo>
                          <a:pt x="497" y="74"/>
                        </a:lnTo>
                        <a:lnTo>
                          <a:pt x="496" y="118"/>
                        </a:lnTo>
                        <a:close/>
                        <a:moveTo>
                          <a:pt x="545" y="107"/>
                        </a:moveTo>
                        <a:lnTo>
                          <a:pt x="545" y="107"/>
                        </a:lnTo>
                        <a:lnTo>
                          <a:pt x="543" y="106"/>
                        </a:lnTo>
                        <a:lnTo>
                          <a:pt x="541" y="106"/>
                        </a:lnTo>
                        <a:lnTo>
                          <a:pt x="504" y="116"/>
                        </a:lnTo>
                        <a:lnTo>
                          <a:pt x="505" y="69"/>
                        </a:lnTo>
                        <a:lnTo>
                          <a:pt x="505" y="67"/>
                        </a:lnTo>
                        <a:lnTo>
                          <a:pt x="503" y="66"/>
                        </a:lnTo>
                        <a:lnTo>
                          <a:pt x="502" y="65"/>
                        </a:lnTo>
                        <a:lnTo>
                          <a:pt x="500" y="65"/>
                        </a:lnTo>
                        <a:lnTo>
                          <a:pt x="485" y="69"/>
                        </a:lnTo>
                        <a:lnTo>
                          <a:pt x="484" y="52"/>
                        </a:lnTo>
                        <a:lnTo>
                          <a:pt x="484" y="50"/>
                        </a:lnTo>
                        <a:lnTo>
                          <a:pt x="482" y="49"/>
                        </a:lnTo>
                        <a:lnTo>
                          <a:pt x="481" y="48"/>
                        </a:lnTo>
                        <a:lnTo>
                          <a:pt x="479" y="48"/>
                        </a:lnTo>
                        <a:lnTo>
                          <a:pt x="457" y="54"/>
                        </a:lnTo>
                        <a:lnTo>
                          <a:pt x="453" y="15"/>
                        </a:lnTo>
                        <a:lnTo>
                          <a:pt x="452" y="13"/>
                        </a:lnTo>
                        <a:lnTo>
                          <a:pt x="451" y="12"/>
                        </a:lnTo>
                        <a:lnTo>
                          <a:pt x="433" y="1"/>
                        </a:lnTo>
                        <a:lnTo>
                          <a:pt x="431" y="0"/>
                        </a:lnTo>
                        <a:lnTo>
                          <a:pt x="430" y="0"/>
                        </a:lnTo>
                        <a:lnTo>
                          <a:pt x="313" y="33"/>
                        </a:lnTo>
                        <a:lnTo>
                          <a:pt x="311" y="34"/>
                        </a:lnTo>
                        <a:lnTo>
                          <a:pt x="310" y="35"/>
                        </a:lnTo>
                        <a:lnTo>
                          <a:pt x="293" y="75"/>
                        </a:lnTo>
                        <a:lnTo>
                          <a:pt x="3" y="156"/>
                        </a:lnTo>
                        <a:lnTo>
                          <a:pt x="1" y="158"/>
                        </a:lnTo>
                        <a:lnTo>
                          <a:pt x="0" y="160"/>
                        </a:lnTo>
                        <a:lnTo>
                          <a:pt x="37" y="482"/>
                        </a:lnTo>
                        <a:lnTo>
                          <a:pt x="38" y="485"/>
                        </a:lnTo>
                        <a:lnTo>
                          <a:pt x="50" y="497"/>
                        </a:lnTo>
                        <a:lnTo>
                          <a:pt x="53" y="498"/>
                        </a:lnTo>
                        <a:lnTo>
                          <a:pt x="55" y="498"/>
                        </a:lnTo>
                        <a:lnTo>
                          <a:pt x="502" y="374"/>
                        </a:lnTo>
                        <a:lnTo>
                          <a:pt x="504" y="373"/>
                        </a:lnTo>
                        <a:lnTo>
                          <a:pt x="505" y="371"/>
                        </a:lnTo>
                        <a:lnTo>
                          <a:pt x="546" y="111"/>
                        </a:lnTo>
                        <a:lnTo>
                          <a:pt x="546" y="109"/>
                        </a:lnTo>
                        <a:lnTo>
                          <a:pt x="545" y="1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grpSp>
        <p:sp>
          <p:nvSpPr>
            <p:cNvPr id="87089" name="TextBox 1024">
              <a:extLst>
                <a:ext uri="{FF2B5EF4-FFF2-40B4-BE49-F238E27FC236}">
                  <a16:creationId xmlns:a16="http://schemas.microsoft.com/office/drawing/2014/main" id="{9D7CDB51-41C6-46DF-8592-1AB50617D9E9}"/>
                </a:ext>
              </a:extLst>
            </p:cNvPr>
            <p:cNvSpPr txBox="1">
              <a:spLocks noChangeArrowheads="1"/>
            </p:cNvSpPr>
            <p:nvPr/>
          </p:nvSpPr>
          <p:spPr bwMode="auto">
            <a:xfrm>
              <a:off x="5618163" y="5045061"/>
              <a:ext cx="871537"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algn="ctr" eaLnBrk="1" latinLnBrk="1" hangingPunct="1">
                <a:spcBef>
                  <a:spcPct val="0"/>
                </a:spcBef>
                <a:buClrTx/>
                <a:buSzTx/>
                <a:buFontTx/>
                <a:buNone/>
              </a:pPr>
              <a:r>
                <a:rPr kumimoji="1" lang="en-US" altLang="ko-KR" sz="900" b="1">
                  <a:solidFill>
                    <a:schemeClr val="tx1"/>
                  </a:solidFill>
                  <a:ea typeface="산돌고딕 M"/>
                  <a:cs typeface="Arial" panose="020B0604020202020204" pitchFamily="34" charset="0"/>
                </a:rPr>
                <a:t>Examination</a:t>
              </a:r>
              <a:endParaRPr kumimoji="1" lang="ko-KR" altLang="en-US" sz="900" b="1">
                <a:solidFill>
                  <a:schemeClr val="tx1"/>
                </a:solidFill>
                <a:ea typeface="산돌고딕 M"/>
                <a:cs typeface="Arial" panose="020B0604020202020204" pitchFamily="34" charset="0"/>
              </a:endParaRPr>
            </a:p>
          </p:txBody>
        </p:sp>
        <p:sp>
          <p:nvSpPr>
            <p:cNvPr id="87090" name="모서리가 둥근 직사각형 670">
              <a:extLst>
                <a:ext uri="{FF2B5EF4-FFF2-40B4-BE49-F238E27FC236}">
                  <a16:creationId xmlns:a16="http://schemas.microsoft.com/office/drawing/2014/main" id="{DBC48D85-572F-4522-9030-1CA1E87FE3D2}"/>
                </a:ext>
              </a:extLst>
            </p:cNvPr>
            <p:cNvSpPr>
              <a:spLocks noChangeArrowheads="1"/>
            </p:cNvSpPr>
            <p:nvPr/>
          </p:nvSpPr>
          <p:spPr bwMode="auto">
            <a:xfrm>
              <a:off x="6618288" y="5045061"/>
              <a:ext cx="923925" cy="1217613"/>
            </a:xfrm>
            <a:prstGeom prst="roundRect">
              <a:avLst>
                <a:gd name="adj" fmla="val 4838"/>
              </a:avLst>
            </a:prstGeom>
            <a:solidFill>
              <a:srgbClr val="9BBB59"/>
            </a:solidFill>
            <a:ln>
              <a:noFill/>
            </a:ln>
            <a:extLst>
              <a:ext uri="{91240B29-F687-4F45-9708-019B960494DF}">
                <a14:hiddenLine xmlns:a14="http://schemas.microsoft.com/office/drawing/2010/main" w="25400">
                  <a:solidFill>
                    <a:srgbClr val="000000"/>
                  </a:solidFill>
                  <a:round/>
                  <a:headEnd/>
                  <a:tailEnd/>
                </a14:hiddenLine>
              </a:ext>
            </a:extLst>
          </p:spPr>
          <p:txBody>
            <a:bodyPr anchor="ct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algn="ctr" eaLnBrk="1" latinLnBrk="1" hangingPunct="1">
                <a:spcBef>
                  <a:spcPct val="0"/>
                </a:spcBef>
                <a:buClrTx/>
                <a:buSzTx/>
                <a:buFontTx/>
                <a:buNone/>
              </a:pPr>
              <a:endParaRPr lang="ko-KR" altLang="en-US" sz="1800">
                <a:solidFill>
                  <a:srgbClr val="FFFFFF"/>
                </a:solidFill>
                <a:ea typeface="Gulim" panose="020B0600000101010101" pitchFamily="34" charset="-127"/>
              </a:endParaRPr>
            </a:p>
          </p:txBody>
        </p:sp>
        <p:sp>
          <p:nvSpPr>
            <p:cNvPr id="87091" name="모서리가 둥근 직사각형 671">
              <a:extLst>
                <a:ext uri="{FF2B5EF4-FFF2-40B4-BE49-F238E27FC236}">
                  <a16:creationId xmlns:a16="http://schemas.microsoft.com/office/drawing/2014/main" id="{AC96E5C3-60C1-4516-93F6-E2B15A0AA57B}"/>
                </a:ext>
              </a:extLst>
            </p:cNvPr>
            <p:cNvSpPr>
              <a:spLocks noChangeArrowheads="1"/>
            </p:cNvSpPr>
            <p:nvPr/>
          </p:nvSpPr>
          <p:spPr bwMode="auto">
            <a:xfrm>
              <a:off x="6605588" y="2338374"/>
              <a:ext cx="939800" cy="2567547"/>
            </a:xfrm>
            <a:prstGeom prst="roundRect">
              <a:avLst>
                <a:gd name="adj" fmla="val 4838"/>
              </a:avLst>
            </a:prstGeom>
            <a:solidFill>
              <a:srgbClr val="9BBB59"/>
            </a:solidFill>
            <a:ln>
              <a:noFill/>
            </a:ln>
            <a:extLst>
              <a:ext uri="{91240B29-F687-4F45-9708-019B960494DF}">
                <a14:hiddenLine xmlns:a14="http://schemas.microsoft.com/office/drawing/2010/main" w="25400">
                  <a:solidFill>
                    <a:srgbClr val="000000"/>
                  </a:solidFill>
                  <a:round/>
                  <a:headEnd/>
                  <a:tailEnd/>
                </a14:hiddenLine>
              </a:ext>
            </a:extLst>
          </p:spPr>
          <p:txBody>
            <a:bodyPr anchor="ct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algn="ctr" eaLnBrk="1" latinLnBrk="1" hangingPunct="1">
                <a:spcBef>
                  <a:spcPct val="0"/>
                </a:spcBef>
                <a:buClrTx/>
                <a:buSzTx/>
                <a:buFontTx/>
                <a:buNone/>
              </a:pPr>
              <a:endParaRPr lang="ko-KR" altLang="en-US" sz="1800">
                <a:solidFill>
                  <a:srgbClr val="FFFFFF"/>
                </a:solidFill>
                <a:ea typeface="Gulim" panose="020B0600000101010101" pitchFamily="34" charset="-127"/>
              </a:endParaRPr>
            </a:p>
          </p:txBody>
        </p:sp>
        <p:sp>
          <p:nvSpPr>
            <p:cNvPr id="87092" name="TextBox 1028">
              <a:extLst>
                <a:ext uri="{FF2B5EF4-FFF2-40B4-BE49-F238E27FC236}">
                  <a16:creationId xmlns:a16="http://schemas.microsoft.com/office/drawing/2014/main" id="{A8270674-205A-4F05-88DE-E4E526A7E244}"/>
                </a:ext>
              </a:extLst>
            </p:cNvPr>
            <p:cNvSpPr txBox="1">
              <a:spLocks noChangeArrowheads="1"/>
            </p:cNvSpPr>
            <p:nvPr/>
          </p:nvSpPr>
          <p:spPr bwMode="auto">
            <a:xfrm>
              <a:off x="6754813" y="2867011"/>
              <a:ext cx="755650"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lnSpc>
                  <a:spcPts val="1000"/>
                </a:lnSpc>
                <a:spcBef>
                  <a:spcPct val="0"/>
                </a:spcBef>
                <a:buClrTx/>
                <a:buSzTx/>
                <a:buFontTx/>
                <a:buNone/>
              </a:pPr>
              <a:r>
                <a:rPr kumimoji="1" lang="en-US" altLang="ko-KR" sz="900">
                  <a:solidFill>
                    <a:srgbClr val="10253F"/>
                  </a:solidFill>
                  <a:ea typeface="Malgun Gothic" panose="020B0503020000020004" pitchFamily="34" charset="-127"/>
                  <a:cs typeface="Arial" panose="020B0604020202020204" pitchFamily="34" charset="0"/>
                </a:rPr>
                <a:t>Document</a:t>
              </a:r>
              <a:r>
                <a:rPr kumimoji="1" lang="en-US" altLang="ko-KR" sz="900">
                  <a:solidFill>
                    <a:schemeClr val="tx1"/>
                  </a:solidFill>
                  <a:ea typeface="산돌고딕 M"/>
                  <a:cs typeface="Arial" panose="020B0604020202020204" pitchFamily="34" charset="0"/>
                </a:rPr>
                <a:t> </a:t>
              </a:r>
            </a:p>
            <a:p>
              <a:pPr eaLnBrk="1" latinLnBrk="1" hangingPunct="1">
                <a:lnSpc>
                  <a:spcPts val="1000"/>
                </a:lnSpc>
                <a:spcBef>
                  <a:spcPct val="0"/>
                </a:spcBef>
                <a:buClrTx/>
                <a:buSzTx/>
                <a:buFontTx/>
                <a:buNone/>
              </a:pPr>
              <a:r>
                <a:rPr kumimoji="1" lang="en-US" altLang="ko-KR" sz="900">
                  <a:solidFill>
                    <a:srgbClr val="10253F"/>
                  </a:solidFill>
                  <a:ea typeface="Malgun Gothic" panose="020B0503020000020004" pitchFamily="34" charset="-127"/>
                  <a:cs typeface="Arial" panose="020B0604020202020204" pitchFamily="34" charset="0"/>
                </a:rPr>
                <a:t>Processing</a:t>
              </a:r>
              <a:endParaRPr kumimoji="1" lang="ko-KR" altLang="en-US" sz="900">
                <a:solidFill>
                  <a:srgbClr val="10253F"/>
                </a:solidFill>
                <a:ea typeface="Malgun Gothic" panose="020B0503020000020004" pitchFamily="34" charset="-127"/>
              </a:endParaRPr>
            </a:p>
          </p:txBody>
        </p:sp>
        <p:pic>
          <p:nvPicPr>
            <p:cNvPr id="87093" name="Picture 2" descr="C:\Documents and Settings\MADMAX\Local Settings\Temporary Internet Files\Content.IE5\LTL65TRA\MCj04339530000[1].png">
              <a:extLst>
                <a:ext uri="{FF2B5EF4-FFF2-40B4-BE49-F238E27FC236}">
                  <a16:creationId xmlns:a16="http://schemas.microsoft.com/office/drawing/2014/main" id="{7DBC9B5F-2686-4ECF-8638-BB1A96EA909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89888" y="3252774"/>
              <a:ext cx="482600"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094" name="Picture 442">
              <a:extLst>
                <a:ext uri="{FF2B5EF4-FFF2-40B4-BE49-F238E27FC236}">
                  <a16:creationId xmlns:a16="http://schemas.microsoft.com/office/drawing/2014/main" id="{D615313B-F61C-459F-BBDD-E0C6C9FBBFE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54813" y="2420924"/>
              <a:ext cx="644525" cy="447675"/>
            </a:xfrm>
            <a:prstGeom prst="rect">
              <a:avLst/>
            </a:prstGeom>
            <a:noFill/>
            <a:ln w="3175">
              <a:solidFill>
                <a:srgbClr val="17375E"/>
              </a:solidFill>
              <a:miter lim="800000"/>
              <a:headEnd/>
              <a:tailEnd/>
            </a:ln>
            <a:extLst>
              <a:ext uri="{909E8E84-426E-40DD-AFC4-6F175D3DCCD1}">
                <a14:hiddenFill xmlns:a14="http://schemas.microsoft.com/office/drawing/2010/main">
                  <a:solidFill>
                    <a:srgbClr val="FFFFFF"/>
                  </a:solidFill>
                </a14:hiddenFill>
              </a:ext>
            </a:extLst>
          </p:spPr>
        </p:pic>
        <p:pic>
          <p:nvPicPr>
            <p:cNvPr id="87095" name="Picture 443">
              <a:extLst>
                <a:ext uri="{FF2B5EF4-FFF2-40B4-BE49-F238E27FC236}">
                  <a16:creationId xmlns:a16="http://schemas.microsoft.com/office/drawing/2014/main" id="{A0EE0333-08B7-445E-A065-B24391E23C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54813" y="3252774"/>
              <a:ext cx="647700" cy="449262"/>
            </a:xfrm>
            <a:prstGeom prst="rect">
              <a:avLst/>
            </a:prstGeom>
            <a:noFill/>
            <a:ln w="3175">
              <a:solidFill>
                <a:srgbClr val="17375E"/>
              </a:solidFill>
              <a:miter lim="800000"/>
              <a:headEnd/>
              <a:tailEnd/>
            </a:ln>
            <a:extLst>
              <a:ext uri="{909E8E84-426E-40DD-AFC4-6F175D3DCCD1}">
                <a14:hiddenFill xmlns:a14="http://schemas.microsoft.com/office/drawing/2010/main">
                  <a:solidFill>
                    <a:srgbClr val="FFFFFF"/>
                  </a:solidFill>
                </a14:hiddenFill>
              </a:ext>
            </a:extLst>
          </p:spPr>
        </p:pic>
        <p:pic>
          <p:nvPicPr>
            <p:cNvPr id="87096" name="Picture 444">
              <a:extLst>
                <a:ext uri="{FF2B5EF4-FFF2-40B4-BE49-F238E27FC236}">
                  <a16:creationId xmlns:a16="http://schemas.microsoft.com/office/drawing/2014/main" id="{2C98614C-C13E-4792-AB29-9876A039390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754813" y="4037030"/>
              <a:ext cx="647700" cy="449262"/>
            </a:xfrm>
            <a:prstGeom prst="rect">
              <a:avLst/>
            </a:prstGeom>
            <a:noFill/>
            <a:ln w="3175">
              <a:solidFill>
                <a:srgbClr val="17375E"/>
              </a:solidFill>
              <a:miter lim="800000"/>
              <a:headEnd/>
              <a:tailEnd/>
            </a:ln>
            <a:extLst>
              <a:ext uri="{909E8E84-426E-40DD-AFC4-6F175D3DCCD1}">
                <a14:hiddenFill xmlns:a14="http://schemas.microsoft.com/office/drawing/2010/main">
                  <a:solidFill>
                    <a:srgbClr val="FFFFFF"/>
                  </a:solidFill>
                </a14:hiddenFill>
              </a:ext>
            </a:extLst>
          </p:spPr>
        </p:pic>
        <p:sp>
          <p:nvSpPr>
            <p:cNvPr id="87097" name="직사각형 677">
              <a:extLst>
                <a:ext uri="{FF2B5EF4-FFF2-40B4-BE49-F238E27FC236}">
                  <a16:creationId xmlns:a16="http://schemas.microsoft.com/office/drawing/2014/main" id="{DA6B307E-4F5E-4611-B7E7-9C8BA12765F0}"/>
                </a:ext>
              </a:extLst>
            </p:cNvPr>
            <p:cNvSpPr>
              <a:spLocks noChangeArrowheads="1"/>
            </p:cNvSpPr>
            <p:nvPr/>
          </p:nvSpPr>
          <p:spPr bwMode="auto">
            <a:xfrm>
              <a:off x="6502023" y="1722087"/>
              <a:ext cx="11430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algn="ctr" eaLnBrk="1" latinLnBrk="1" hangingPunct="1">
                <a:spcBef>
                  <a:spcPct val="0"/>
                </a:spcBef>
                <a:buClrTx/>
                <a:buSzTx/>
                <a:buFontTx/>
                <a:buNone/>
              </a:pPr>
              <a:r>
                <a:rPr lang="en-US" altLang="ko-KR" sz="1100" b="1">
                  <a:solidFill>
                    <a:srgbClr val="FFFFFF"/>
                  </a:solidFill>
                  <a:ea typeface="Malgun Gothic" panose="020B0503020000020004" pitchFamily="34" charset="-127"/>
                  <a:cs typeface="Arial" panose="020B0604020202020204" pitchFamily="34" charset="0"/>
                </a:rPr>
                <a:t>IPO BackOffice</a:t>
              </a:r>
              <a:endParaRPr lang="ko-KR" altLang="en-US" sz="1100" b="1">
                <a:solidFill>
                  <a:srgbClr val="FFFFFF"/>
                </a:solidFill>
                <a:ea typeface="Malgun Gothic" panose="020B0503020000020004" pitchFamily="34" charset="-127"/>
                <a:cs typeface="Arial" panose="020B0604020202020204" pitchFamily="34" charset="0"/>
              </a:endParaRPr>
            </a:p>
          </p:txBody>
        </p:sp>
        <p:sp>
          <p:nvSpPr>
            <p:cNvPr id="87098" name="TextBox 1028">
              <a:extLst>
                <a:ext uri="{FF2B5EF4-FFF2-40B4-BE49-F238E27FC236}">
                  <a16:creationId xmlns:a16="http://schemas.microsoft.com/office/drawing/2014/main" id="{1EF77BB7-44D9-427C-82C4-995151FF8524}"/>
                </a:ext>
              </a:extLst>
            </p:cNvPr>
            <p:cNvSpPr txBox="1">
              <a:spLocks noChangeArrowheads="1"/>
            </p:cNvSpPr>
            <p:nvPr/>
          </p:nvSpPr>
          <p:spPr bwMode="auto">
            <a:xfrm>
              <a:off x="6697663" y="3702036"/>
              <a:ext cx="819150"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lnSpc>
                  <a:spcPts val="1000"/>
                </a:lnSpc>
                <a:spcBef>
                  <a:spcPct val="0"/>
                </a:spcBef>
                <a:buClrTx/>
                <a:buSzTx/>
                <a:buFontTx/>
                <a:buNone/>
              </a:pPr>
              <a:r>
                <a:rPr kumimoji="1" lang="en-US" altLang="ko-KR" sz="900">
                  <a:solidFill>
                    <a:srgbClr val="10253F"/>
                  </a:solidFill>
                  <a:ea typeface="Malgun Gothic" panose="020B0503020000020004" pitchFamily="34" charset="-127"/>
                  <a:cs typeface="Arial" panose="020B0604020202020204" pitchFamily="34" charset="0"/>
                </a:rPr>
                <a:t>Examination</a:t>
              </a:r>
              <a:endParaRPr kumimoji="1" lang="ko-KR" altLang="en-US" sz="900">
                <a:solidFill>
                  <a:srgbClr val="10253F"/>
                </a:solidFill>
                <a:ea typeface="Malgun Gothic" panose="020B0503020000020004" pitchFamily="34" charset="-127"/>
                <a:cs typeface="Arial" panose="020B0604020202020204" pitchFamily="34" charset="0"/>
              </a:endParaRPr>
            </a:p>
          </p:txBody>
        </p:sp>
        <p:sp>
          <p:nvSpPr>
            <p:cNvPr id="87099" name="TextBox 1028">
              <a:extLst>
                <a:ext uri="{FF2B5EF4-FFF2-40B4-BE49-F238E27FC236}">
                  <a16:creationId xmlns:a16="http://schemas.microsoft.com/office/drawing/2014/main" id="{7BA0A8A8-9A01-4D46-ACB1-272AAADB432D}"/>
                </a:ext>
              </a:extLst>
            </p:cNvPr>
            <p:cNvSpPr txBox="1">
              <a:spLocks noChangeArrowheads="1"/>
            </p:cNvSpPr>
            <p:nvPr/>
          </p:nvSpPr>
          <p:spPr bwMode="auto">
            <a:xfrm>
              <a:off x="6729413" y="4525971"/>
              <a:ext cx="646331" cy="220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lnSpc>
                  <a:spcPts val="1000"/>
                </a:lnSpc>
                <a:spcBef>
                  <a:spcPct val="0"/>
                </a:spcBef>
                <a:buClrTx/>
                <a:buSzTx/>
                <a:buFontTx/>
                <a:buNone/>
              </a:pPr>
              <a:r>
                <a:rPr kumimoji="1" lang="en-US" altLang="ko-KR" sz="900">
                  <a:solidFill>
                    <a:srgbClr val="10253F"/>
                  </a:solidFill>
                  <a:ea typeface="Malgun Gothic" panose="020B0503020000020004" pitchFamily="34" charset="-127"/>
                  <a:cs typeface="Arial" panose="020B0604020202020204" pitchFamily="34" charset="0"/>
                </a:rPr>
                <a:t>Analytics</a:t>
              </a:r>
              <a:endParaRPr kumimoji="1" lang="ko-KR" altLang="en-US" sz="900">
                <a:solidFill>
                  <a:srgbClr val="10253F"/>
                </a:solidFill>
                <a:ea typeface="Malgun Gothic" panose="020B0503020000020004" pitchFamily="34" charset="-127"/>
                <a:cs typeface="Arial" panose="020B0604020202020204" pitchFamily="34" charset="0"/>
              </a:endParaRPr>
            </a:p>
          </p:txBody>
        </p:sp>
        <p:pic>
          <p:nvPicPr>
            <p:cNvPr id="87100" name="Picture 2" descr="C:\Documents and Settings\MADMAX\Local Settings\Temporary Internet Files\Content.IE5\LTL65TRA\MCj04339530000[1].png">
              <a:extLst>
                <a:ext uri="{FF2B5EF4-FFF2-40B4-BE49-F238E27FC236}">
                  <a16:creationId xmlns:a16="http://schemas.microsoft.com/office/drawing/2014/main" id="{18C07FD8-50A8-4029-85BD-44C10236F7B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93063" y="4276711"/>
              <a:ext cx="482600"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101" name="Picture 2" descr="C:\Documents and Settings\MADMAX\Local Settings\Temporary Internet Files\Content.IE5\LTL65TRA\MCj04339530000[1].png">
              <a:extLst>
                <a:ext uri="{FF2B5EF4-FFF2-40B4-BE49-F238E27FC236}">
                  <a16:creationId xmlns:a16="http://schemas.microsoft.com/office/drawing/2014/main" id="{E9CECC50-1644-4654-A5D9-2A6B3F2B080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26413" y="3389299"/>
              <a:ext cx="482600"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102" name="직사각형 682">
              <a:extLst>
                <a:ext uri="{FF2B5EF4-FFF2-40B4-BE49-F238E27FC236}">
                  <a16:creationId xmlns:a16="http://schemas.microsoft.com/office/drawing/2014/main" id="{08533141-3599-4CA6-AEE1-CBFDFCE3F03E}"/>
                </a:ext>
              </a:extLst>
            </p:cNvPr>
            <p:cNvSpPr>
              <a:spLocks noChangeArrowheads="1"/>
            </p:cNvSpPr>
            <p:nvPr/>
          </p:nvSpPr>
          <p:spPr bwMode="auto">
            <a:xfrm>
              <a:off x="6584147" y="5846749"/>
              <a:ext cx="97654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algn="ctr" eaLnBrk="1" latinLnBrk="1" hangingPunct="1">
                <a:spcBef>
                  <a:spcPct val="0"/>
                </a:spcBef>
                <a:buClrTx/>
                <a:buSzTx/>
                <a:buFontTx/>
                <a:buNone/>
              </a:pPr>
              <a:r>
                <a:rPr lang="en-US" altLang="ko-KR" sz="1100" b="1">
                  <a:ea typeface="Malgun Gothic" panose="020B0503020000020004" pitchFamily="34" charset="-127"/>
                  <a:cs typeface="Arial" panose="020B0604020202020204" pitchFamily="34" charset="0"/>
                </a:rPr>
                <a:t>Data Center</a:t>
              </a:r>
              <a:endParaRPr lang="ko-KR" altLang="en-US" sz="1100" b="1">
                <a:ea typeface="Malgun Gothic" panose="020B0503020000020004" pitchFamily="34" charset="-127"/>
                <a:cs typeface="Arial" panose="020B0604020202020204" pitchFamily="34" charset="0"/>
              </a:endParaRPr>
            </a:p>
          </p:txBody>
        </p:sp>
        <p:pic>
          <p:nvPicPr>
            <p:cNvPr id="87103" name="Picture 4" descr="MCj04339410000[1]">
              <a:extLst>
                <a:ext uri="{FF2B5EF4-FFF2-40B4-BE49-F238E27FC236}">
                  <a16:creationId xmlns:a16="http://schemas.microsoft.com/office/drawing/2014/main" id="{E8731B23-BA50-4868-A698-FF2D8EF71D4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989888" y="5286361"/>
              <a:ext cx="5556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104" name="TextBox 1020">
              <a:extLst>
                <a:ext uri="{FF2B5EF4-FFF2-40B4-BE49-F238E27FC236}">
                  <a16:creationId xmlns:a16="http://schemas.microsoft.com/office/drawing/2014/main" id="{D6DD30D8-0A47-4902-B8C3-C752530A743C}"/>
                </a:ext>
              </a:extLst>
            </p:cNvPr>
            <p:cNvSpPr txBox="1">
              <a:spLocks noChangeArrowheads="1"/>
            </p:cNvSpPr>
            <p:nvPr/>
          </p:nvSpPr>
          <p:spPr bwMode="auto">
            <a:xfrm>
              <a:off x="7923213" y="2933686"/>
              <a:ext cx="754062"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spcBef>
                  <a:spcPct val="0"/>
                </a:spcBef>
                <a:buClrTx/>
                <a:buSzTx/>
                <a:buFontTx/>
                <a:buNone/>
              </a:pPr>
              <a:r>
                <a:rPr kumimoji="1" lang="en-US" altLang="ko-KR" sz="900">
                  <a:solidFill>
                    <a:schemeClr val="tx1"/>
                  </a:solidFill>
                  <a:ea typeface="산돌고딕 M"/>
                  <a:cs typeface="Arial" panose="020B0604020202020204" pitchFamily="34" charset="0"/>
                </a:rPr>
                <a:t>Office Staff</a:t>
              </a:r>
              <a:endParaRPr kumimoji="1" lang="ko-KR" altLang="en-US" sz="900">
                <a:solidFill>
                  <a:schemeClr val="tx1"/>
                </a:solidFill>
                <a:ea typeface="산돌고딕 M"/>
                <a:cs typeface="Arial" panose="020B0604020202020204" pitchFamily="34" charset="0"/>
              </a:endParaRPr>
            </a:p>
          </p:txBody>
        </p:sp>
        <p:sp>
          <p:nvSpPr>
            <p:cNvPr id="87105" name="TextBox 1020">
              <a:extLst>
                <a:ext uri="{FF2B5EF4-FFF2-40B4-BE49-F238E27FC236}">
                  <a16:creationId xmlns:a16="http://schemas.microsoft.com/office/drawing/2014/main" id="{1F58B614-DE5C-4F00-AC7F-A962ACE2CD97}"/>
                </a:ext>
              </a:extLst>
            </p:cNvPr>
            <p:cNvSpPr txBox="1">
              <a:spLocks noChangeArrowheads="1"/>
            </p:cNvSpPr>
            <p:nvPr/>
          </p:nvSpPr>
          <p:spPr bwMode="auto">
            <a:xfrm>
              <a:off x="7923213" y="3829036"/>
              <a:ext cx="671512"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spcBef>
                  <a:spcPct val="0"/>
                </a:spcBef>
                <a:buClrTx/>
                <a:buSzTx/>
                <a:buFontTx/>
                <a:buNone/>
              </a:pPr>
              <a:r>
                <a:rPr kumimoji="1" lang="en-US" altLang="ko-KR" sz="900">
                  <a:solidFill>
                    <a:schemeClr val="tx1"/>
                  </a:solidFill>
                  <a:ea typeface="산돌고딕 M"/>
                  <a:cs typeface="Arial" panose="020B0604020202020204" pitchFamily="34" charset="0"/>
                </a:rPr>
                <a:t>Examiner</a:t>
              </a:r>
              <a:endParaRPr kumimoji="1" lang="ko-KR" altLang="en-US" sz="900">
                <a:solidFill>
                  <a:schemeClr val="tx1"/>
                </a:solidFill>
                <a:ea typeface="산돌고딕 M"/>
                <a:cs typeface="Arial" panose="020B0604020202020204" pitchFamily="34" charset="0"/>
              </a:endParaRPr>
            </a:p>
          </p:txBody>
        </p:sp>
        <p:sp>
          <p:nvSpPr>
            <p:cNvPr id="87106" name="TextBox 1020">
              <a:extLst>
                <a:ext uri="{FF2B5EF4-FFF2-40B4-BE49-F238E27FC236}">
                  <a16:creationId xmlns:a16="http://schemas.microsoft.com/office/drawing/2014/main" id="{9C401FDF-6116-4D9F-9257-372FC31A50C8}"/>
                </a:ext>
              </a:extLst>
            </p:cNvPr>
            <p:cNvSpPr txBox="1">
              <a:spLocks noChangeArrowheads="1"/>
            </p:cNvSpPr>
            <p:nvPr/>
          </p:nvSpPr>
          <p:spPr bwMode="auto">
            <a:xfrm>
              <a:off x="7923213" y="4697399"/>
              <a:ext cx="639762"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spcBef>
                  <a:spcPct val="0"/>
                </a:spcBef>
                <a:buClrTx/>
                <a:buSzTx/>
                <a:buFontTx/>
                <a:buNone/>
              </a:pPr>
              <a:r>
                <a:rPr kumimoji="1" lang="en-US" altLang="ko-KR" sz="900">
                  <a:solidFill>
                    <a:schemeClr val="tx1"/>
                  </a:solidFill>
                  <a:ea typeface="산돌고딕 M"/>
                  <a:cs typeface="Arial" panose="020B0604020202020204" pitchFamily="34" charset="0"/>
                </a:rPr>
                <a:t>Manager</a:t>
              </a:r>
              <a:endParaRPr kumimoji="1" lang="ko-KR" altLang="en-US" sz="900">
                <a:solidFill>
                  <a:schemeClr val="tx1"/>
                </a:solidFill>
                <a:ea typeface="산돌고딕 M"/>
                <a:cs typeface="Arial" panose="020B0604020202020204" pitchFamily="34" charset="0"/>
              </a:endParaRPr>
            </a:p>
          </p:txBody>
        </p:sp>
        <p:sp>
          <p:nvSpPr>
            <p:cNvPr id="87107" name="TextBox 1020">
              <a:extLst>
                <a:ext uri="{FF2B5EF4-FFF2-40B4-BE49-F238E27FC236}">
                  <a16:creationId xmlns:a16="http://schemas.microsoft.com/office/drawing/2014/main" id="{9ABB01BB-D3EF-4D2B-93CE-8771C4950273}"/>
                </a:ext>
              </a:extLst>
            </p:cNvPr>
            <p:cNvSpPr txBox="1">
              <a:spLocks noChangeArrowheads="1"/>
            </p:cNvSpPr>
            <p:nvPr/>
          </p:nvSpPr>
          <p:spPr bwMode="auto">
            <a:xfrm>
              <a:off x="7923213" y="5862624"/>
              <a:ext cx="8382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spcBef>
                  <a:spcPct val="0"/>
                </a:spcBef>
                <a:buClrTx/>
                <a:buSzTx/>
                <a:buFontTx/>
                <a:buNone/>
              </a:pPr>
              <a:r>
                <a:rPr kumimoji="1" lang="en-US" altLang="ko-KR" sz="900">
                  <a:solidFill>
                    <a:schemeClr val="tx1"/>
                  </a:solidFill>
                  <a:ea typeface="산돌고딕 M"/>
                  <a:cs typeface="Arial" panose="020B0604020202020204" pitchFamily="34" charset="0"/>
                </a:rPr>
                <a:t>IT Personnel</a:t>
              </a:r>
              <a:endParaRPr kumimoji="1" lang="ko-KR" altLang="en-US" sz="900">
                <a:solidFill>
                  <a:schemeClr val="tx1"/>
                </a:solidFill>
                <a:ea typeface="산돌고딕 M"/>
                <a:cs typeface="Arial" panose="020B0604020202020204" pitchFamily="34" charset="0"/>
              </a:endParaRPr>
            </a:p>
          </p:txBody>
        </p:sp>
        <p:cxnSp>
          <p:nvCxnSpPr>
            <p:cNvPr id="689" name="직선 화살표 연결선 688">
              <a:extLst>
                <a:ext uri="{FF2B5EF4-FFF2-40B4-BE49-F238E27FC236}">
                  <a16:creationId xmlns:a16="http://schemas.microsoft.com/office/drawing/2014/main" id="{89B7773C-123B-4832-BE50-488639C2F174}"/>
                </a:ext>
              </a:extLst>
            </p:cNvPr>
            <p:cNvCxnSpPr>
              <a:cxnSpLocks noChangeShapeType="1"/>
            </p:cNvCxnSpPr>
            <p:nvPr/>
          </p:nvCxnSpPr>
          <p:spPr bwMode="auto">
            <a:xfrm flipH="1">
              <a:off x="7608888" y="2805099"/>
              <a:ext cx="323850" cy="1587"/>
            </a:xfrm>
            <a:prstGeom prst="straightConnector1">
              <a:avLst/>
            </a:prstGeom>
            <a:noFill/>
            <a:ln w="38100">
              <a:solidFill>
                <a:srgbClr val="F79646"/>
              </a:solidFill>
              <a:round/>
              <a:headEnd/>
              <a:tailEnd type="triangle" w="med" len="med"/>
            </a:ln>
            <a:effectLst>
              <a:outerShdw blurRad="63500" dist="23000" dir="5400000" rotWithShape="0">
                <a:srgbClr val="000000">
                  <a:alpha val="34998"/>
                </a:srgbClr>
              </a:outerShdw>
            </a:effectLst>
          </p:spPr>
        </p:cxnSp>
        <p:cxnSp>
          <p:nvCxnSpPr>
            <p:cNvPr id="690" name="직선 화살표 연결선 689">
              <a:extLst>
                <a:ext uri="{FF2B5EF4-FFF2-40B4-BE49-F238E27FC236}">
                  <a16:creationId xmlns:a16="http://schemas.microsoft.com/office/drawing/2014/main" id="{45448FC5-DCC8-4329-B59C-8D3416E8BDC3}"/>
                </a:ext>
              </a:extLst>
            </p:cNvPr>
            <p:cNvCxnSpPr>
              <a:cxnSpLocks noChangeShapeType="1"/>
            </p:cNvCxnSpPr>
            <p:nvPr/>
          </p:nvCxnSpPr>
          <p:spPr bwMode="auto">
            <a:xfrm flipH="1">
              <a:off x="7608888" y="3509949"/>
              <a:ext cx="323850" cy="0"/>
            </a:xfrm>
            <a:prstGeom prst="straightConnector1">
              <a:avLst/>
            </a:prstGeom>
            <a:noFill/>
            <a:ln w="38100">
              <a:solidFill>
                <a:srgbClr val="F79646"/>
              </a:solidFill>
              <a:round/>
              <a:headEnd/>
              <a:tailEnd type="triangle" w="med" len="med"/>
            </a:ln>
            <a:effectLst>
              <a:outerShdw blurRad="63500" dist="23000" dir="5400000" rotWithShape="0">
                <a:srgbClr val="000000">
                  <a:alpha val="34998"/>
                </a:srgbClr>
              </a:outerShdw>
            </a:effectLst>
          </p:spPr>
        </p:cxnSp>
        <p:cxnSp>
          <p:nvCxnSpPr>
            <p:cNvPr id="691" name="직선 화살표 연결선 690">
              <a:extLst>
                <a:ext uri="{FF2B5EF4-FFF2-40B4-BE49-F238E27FC236}">
                  <a16:creationId xmlns:a16="http://schemas.microsoft.com/office/drawing/2014/main" id="{B4612BB5-E45E-4169-AD7E-B5F1323821B4}"/>
                </a:ext>
              </a:extLst>
            </p:cNvPr>
            <p:cNvCxnSpPr>
              <a:cxnSpLocks noChangeShapeType="1"/>
            </p:cNvCxnSpPr>
            <p:nvPr/>
          </p:nvCxnSpPr>
          <p:spPr bwMode="auto">
            <a:xfrm flipH="1">
              <a:off x="7608888" y="4468799"/>
              <a:ext cx="323850" cy="1587"/>
            </a:xfrm>
            <a:prstGeom prst="straightConnector1">
              <a:avLst/>
            </a:prstGeom>
            <a:noFill/>
            <a:ln w="38100">
              <a:solidFill>
                <a:srgbClr val="F79646"/>
              </a:solidFill>
              <a:round/>
              <a:headEnd/>
              <a:tailEnd type="triangle" w="med" len="med"/>
            </a:ln>
            <a:effectLst>
              <a:outerShdw blurRad="63500" dist="23000" dir="5400000" rotWithShape="0">
                <a:srgbClr val="000000">
                  <a:alpha val="34998"/>
                </a:srgbClr>
              </a:outerShdw>
            </a:effectLst>
          </p:spPr>
        </p:cxnSp>
        <p:cxnSp>
          <p:nvCxnSpPr>
            <p:cNvPr id="692" name="직선 화살표 연결선 691">
              <a:extLst>
                <a:ext uri="{FF2B5EF4-FFF2-40B4-BE49-F238E27FC236}">
                  <a16:creationId xmlns:a16="http://schemas.microsoft.com/office/drawing/2014/main" id="{5CBEE6EA-F166-4E6F-A34B-6473B866D820}"/>
                </a:ext>
              </a:extLst>
            </p:cNvPr>
            <p:cNvCxnSpPr>
              <a:cxnSpLocks noChangeShapeType="1"/>
            </p:cNvCxnSpPr>
            <p:nvPr/>
          </p:nvCxnSpPr>
          <p:spPr bwMode="auto">
            <a:xfrm flipH="1">
              <a:off x="7608888" y="5494324"/>
              <a:ext cx="323850" cy="1587"/>
            </a:xfrm>
            <a:prstGeom prst="straightConnector1">
              <a:avLst/>
            </a:prstGeom>
            <a:noFill/>
            <a:ln w="38100">
              <a:solidFill>
                <a:srgbClr val="F79646"/>
              </a:solidFill>
              <a:round/>
              <a:headEnd/>
              <a:tailEnd type="triangle" w="med" len="med"/>
            </a:ln>
            <a:effectLst>
              <a:outerShdw blurRad="63500" dist="23000" dir="5400000" rotWithShape="0">
                <a:srgbClr val="000000">
                  <a:alpha val="34998"/>
                </a:srgbClr>
              </a:outerShdw>
            </a:effectLst>
          </p:spPr>
        </p:cxnSp>
        <p:pic>
          <p:nvPicPr>
            <p:cNvPr id="87112" name="Picture 12" descr="C:\Documents and Settings\강시영\Local Settings\Temporary Internet Files\Content.IE5\73N2UN0O\MCj04348450000[1].png">
              <a:extLst>
                <a:ext uri="{FF2B5EF4-FFF2-40B4-BE49-F238E27FC236}">
                  <a16:creationId xmlns:a16="http://schemas.microsoft.com/office/drawing/2014/main" id="{0935C494-3897-4D7D-9FA1-8AAAD43BB68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729413" y="5143486"/>
              <a:ext cx="76517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113" name="Picture 450" descr="C:\Documents and Settings\강시영\Local Settings\Temporary Internet Files\Content.IE5\H0QILFD4\MCj04241940000[1].wmf">
              <a:extLst>
                <a:ext uri="{FF2B5EF4-FFF2-40B4-BE49-F238E27FC236}">
                  <a16:creationId xmlns:a16="http://schemas.microsoft.com/office/drawing/2014/main" id="{8BBAD856-097F-4241-84F8-595DAEBCB22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177088" y="5500674"/>
              <a:ext cx="33972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114" name="Picture 54" descr="MCj04316460000[1]">
              <a:extLst>
                <a:ext uri="{FF2B5EF4-FFF2-40B4-BE49-F238E27FC236}">
                  <a16:creationId xmlns:a16="http://schemas.microsoft.com/office/drawing/2014/main" id="{92867DE0-AEF7-4860-949B-B53A0FBFFAF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929563" y="2165336"/>
              <a:ext cx="6159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115" name="Picture 449" descr="C:\Documents and Settings\강시영\Local Settings\Temporary Internet Files\Content.IE5\1OX0YNS2\MCj04339420000[1].png">
              <a:extLst>
                <a:ext uri="{FF2B5EF4-FFF2-40B4-BE49-F238E27FC236}">
                  <a16:creationId xmlns:a16="http://schemas.microsoft.com/office/drawing/2014/main" id="{4D128776-77C7-4616-932E-3E1F03ED232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20063" y="2357424"/>
              <a:ext cx="619125" cy="614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116" name="모서리가 둥근 직사각형 696">
              <a:extLst>
                <a:ext uri="{FF2B5EF4-FFF2-40B4-BE49-F238E27FC236}">
                  <a16:creationId xmlns:a16="http://schemas.microsoft.com/office/drawing/2014/main" id="{1EA09D80-4D19-4991-B161-7C4855A94182}"/>
                </a:ext>
              </a:extLst>
            </p:cNvPr>
            <p:cNvSpPr>
              <a:spLocks noChangeArrowheads="1"/>
            </p:cNvSpPr>
            <p:nvPr/>
          </p:nvSpPr>
          <p:spPr bwMode="auto">
            <a:xfrm>
              <a:off x="1290638" y="1652574"/>
              <a:ext cx="1069975" cy="3776662"/>
            </a:xfrm>
            <a:prstGeom prst="roundRect">
              <a:avLst>
                <a:gd name="adj" fmla="val 4838"/>
              </a:avLst>
            </a:prstGeom>
            <a:solidFill>
              <a:srgbClr val="9BBB59"/>
            </a:solidFill>
            <a:ln>
              <a:noFill/>
            </a:ln>
            <a:extLst>
              <a:ext uri="{91240B29-F687-4F45-9708-019B960494DF}">
                <a14:hiddenLine xmlns:a14="http://schemas.microsoft.com/office/drawing/2010/main" w="25400">
                  <a:solidFill>
                    <a:srgbClr val="000000"/>
                  </a:solidFill>
                  <a:round/>
                  <a:headEnd/>
                  <a:tailEnd/>
                </a14:hiddenLine>
              </a:ext>
            </a:extLst>
          </p:spPr>
          <p:txBody>
            <a:bodyPr anchor="ct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algn="ctr" eaLnBrk="1" latinLnBrk="1" hangingPunct="1">
                <a:spcBef>
                  <a:spcPct val="0"/>
                </a:spcBef>
                <a:buClrTx/>
                <a:buSzTx/>
                <a:buFontTx/>
                <a:buNone/>
              </a:pPr>
              <a:endParaRPr lang="ko-KR" altLang="en-US" sz="1800">
                <a:solidFill>
                  <a:srgbClr val="FFFFFF"/>
                </a:solidFill>
                <a:ea typeface="Gulim" panose="020B0600000101010101" pitchFamily="34" charset="-127"/>
              </a:endParaRPr>
            </a:p>
          </p:txBody>
        </p:sp>
        <p:sp>
          <p:nvSpPr>
            <p:cNvPr id="698" name="AutoShape 120">
              <a:extLst>
                <a:ext uri="{FF2B5EF4-FFF2-40B4-BE49-F238E27FC236}">
                  <a16:creationId xmlns:a16="http://schemas.microsoft.com/office/drawing/2014/main" id="{5FD3D701-8FD8-4F73-A6E5-7408DAD3FFD7}"/>
                </a:ext>
              </a:extLst>
            </p:cNvPr>
            <p:cNvSpPr>
              <a:spLocks noChangeArrowheads="1"/>
            </p:cNvSpPr>
            <p:nvPr/>
          </p:nvSpPr>
          <p:spPr bwMode="auto">
            <a:xfrm>
              <a:off x="1417638" y="3509949"/>
              <a:ext cx="835025" cy="511175"/>
            </a:xfrm>
            <a:prstGeom prst="roundRect">
              <a:avLst>
                <a:gd name="adj" fmla="val 11495"/>
              </a:avLst>
            </a:prstGeom>
            <a:gradFill rotWithShape="1">
              <a:gsLst>
                <a:gs pos="0">
                  <a:srgbClr val="DAFDA7"/>
                </a:gs>
                <a:gs pos="35001">
                  <a:srgbClr val="E4FDC2"/>
                </a:gs>
                <a:gs pos="100000">
                  <a:srgbClr val="F5FFE6"/>
                </a:gs>
              </a:gsLst>
              <a:lin ang="16200000" scaled="1"/>
            </a:gradFill>
            <a:ln w="9525">
              <a:solidFill>
                <a:srgbClr val="98B954"/>
              </a:solidFill>
              <a:round/>
              <a:headEnd/>
              <a:tailEnd/>
            </a:ln>
            <a:effectLst>
              <a:outerShdw blurRad="63500" dist="20000" dir="5400000" rotWithShape="0">
                <a:srgbClr val="000000">
                  <a:alpha val="37999"/>
                </a:srgbClr>
              </a:outerShdw>
            </a:effectLst>
          </p:spPr>
          <p:txBody>
            <a:bodyPr lIns="36000" rIns="36000" anchor="b" anchorCtr="1"/>
            <a:lstStyle>
              <a:lvl1pPr defTabSz="762000" eaLnBrk="0" hangingPunct="0">
                <a:defRPr sz="2400">
                  <a:solidFill>
                    <a:schemeClr val="tx1"/>
                  </a:solidFill>
                  <a:latin typeface="Arial" panose="020B0604020202020204" pitchFamily="34" charset="0"/>
                  <a:cs typeface="Arial" panose="020B0604020202020204" pitchFamily="34" charset="0"/>
                </a:defRPr>
              </a:lvl1pPr>
              <a:lvl2pPr marL="37931725" indent="-37474525" defTabSz="762000" eaLnBrk="0" hangingPunct="0">
                <a:defRPr sz="2400">
                  <a:solidFill>
                    <a:schemeClr val="tx1"/>
                  </a:solidFill>
                  <a:latin typeface="Arial" panose="020B0604020202020204" pitchFamily="34" charset="0"/>
                  <a:cs typeface="Arial" panose="020B0604020202020204" pitchFamily="34" charset="0"/>
                </a:defRPr>
              </a:lvl2pPr>
              <a:lvl3pPr eaLnBrk="0" hangingPunct="0">
                <a:defRPr sz="2400">
                  <a:solidFill>
                    <a:schemeClr val="tx1"/>
                  </a:solidFill>
                  <a:latin typeface="Arial" panose="020B0604020202020204" pitchFamily="34" charset="0"/>
                  <a:cs typeface="Arial" panose="020B0604020202020204" pitchFamily="34" charset="0"/>
                </a:defRPr>
              </a:lvl3pPr>
              <a:lvl4pPr eaLnBrk="0" hangingPunct="0">
                <a:defRPr sz="2400">
                  <a:solidFill>
                    <a:schemeClr val="tx1"/>
                  </a:solidFill>
                  <a:latin typeface="Arial" panose="020B0604020202020204" pitchFamily="34" charset="0"/>
                  <a:cs typeface="Arial" panose="020B0604020202020204" pitchFamily="34" charset="0"/>
                </a:defRPr>
              </a:lvl4pPr>
              <a:lvl5pPr eaLnBrk="0" hangingPunct="0">
                <a:defRPr sz="2400">
                  <a:solidFill>
                    <a:schemeClr val="tx1"/>
                  </a:solidFill>
                  <a:latin typeface="Arial" panose="020B0604020202020204" pitchFamily="34" charset="0"/>
                  <a:cs typeface="Arial" panose="020B0604020202020204" pitchFamily="34" charset="0"/>
                </a:defRPr>
              </a:lvl5pPr>
              <a:lvl6pPr marL="4572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6pPr>
              <a:lvl7pPr marL="9144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7pPr>
              <a:lvl8pPr marL="13716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8pPr>
              <a:lvl9pPr marL="18288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9pPr>
            </a:lstStyle>
            <a:p>
              <a:pPr algn="ctr" eaLnBrk="1" latinLnBrk="1" hangingPunct="1">
                <a:lnSpc>
                  <a:spcPts val="1100"/>
                </a:lnSpc>
                <a:defRPr/>
              </a:pPr>
              <a:endParaRPr kumimoji="1" lang="ko-KR" altLang="en-US" sz="1000">
                <a:solidFill>
                  <a:srgbClr val="10253F"/>
                </a:solidFill>
                <a:ea typeface="맑은 고딕" panose="020B0503020000020004" pitchFamily="34" charset="-127"/>
              </a:endParaRPr>
            </a:p>
          </p:txBody>
        </p:sp>
        <p:sp>
          <p:nvSpPr>
            <p:cNvPr id="699" name="AutoShape 120">
              <a:extLst>
                <a:ext uri="{FF2B5EF4-FFF2-40B4-BE49-F238E27FC236}">
                  <a16:creationId xmlns:a16="http://schemas.microsoft.com/office/drawing/2014/main" id="{45CC3234-EA12-4C0B-885F-464B42ED4E4A}"/>
                </a:ext>
              </a:extLst>
            </p:cNvPr>
            <p:cNvSpPr>
              <a:spLocks noChangeArrowheads="1"/>
            </p:cNvSpPr>
            <p:nvPr/>
          </p:nvSpPr>
          <p:spPr bwMode="auto">
            <a:xfrm>
              <a:off x="1417638" y="4149711"/>
              <a:ext cx="835025" cy="511175"/>
            </a:xfrm>
            <a:prstGeom prst="roundRect">
              <a:avLst>
                <a:gd name="adj" fmla="val 11495"/>
              </a:avLst>
            </a:prstGeom>
            <a:gradFill rotWithShape="1">
              <a:gsLst>
                <a:gs pos="0">
                  <a:srgbClr val="DAFDA7"/>
                </a:gs>
                <a:gs pos="35001">
                  <a:srgbClr val="E4FDC2"/>
                </a:gs>
                <a:gs pos="100000">
                  <a:srgbClr val="F5FFE6"/>
                </a:gs>
              </a:gsLst>
              <a:lin ang="16200000" scaled="1"/>
            </a:gradFill>
            <a:ln w="9525">
              <a:solidFill>
                <a:srgbClr val="98B954"/>
              </a:solidFill>
              <a:round/>
              <a:headEnd/>
              <a:tailEnd/>
            </a:ln>
            <a:effectLst>
              <a:outerShdw blurRad="63500" dist="20000" dir="5400000" rotWithShape="0">
                <a:srgbClr val="000000">
                  <a:alpha val="37999"/>
                </a:srgbClr>
              </a:outerShdw>
            </a:effectLst>
          </p:spPr>
          <p:txBody>
            <a:bodyPr lIns="36000" rIns="36000" anchor="b" anchorCtr="1"/>
            <a:lstStyle>
              <a:lvl1pPr defTabSz="762000" eaLnBrk="0" hangingPunct="0">
                <a:defRPr sz="2400">
                  <a:solidFill>
                    <a:schemeClr val="tx1"/>
                  </a:solidFill>
                  <a:latin typeface="Arial" panose="020B0604020202020204" pitchFamily="34" charset="0"/>
                  <a:cs typeface="Arial" panose="020B0604020202020204" pitchFamily="34" charset="0"/>
                </a:defRPr>
              </a:lvl1pPr>
              <a:lvl2pPr marL="37931725" indent="-37474525" defTabSz="762000" eaLnBrk="0" hangingPunct="0">
                <a:defRPr sz="2400">
                  <a:solidFill>
                    <a:schemeClr val="tx1"/>
                  </a:solidFill>
                  <a:latin typeface="Arial" panose="020B0604020202020204" pitchFamily="34" charset="0"/>
                  <a:cs typeface="Arial" panose="020B0604020202020204" pitchFamily="34" charset="0"/>
                </a:defRPr>
              </a:lvl2pPr>
              <a:lvl3pPr eaLnBrk="0" hangingPunct="0">
                <a:defRPr sz="2400">
                  <a:solidFill>
                    <a:schemeClr val="tx1"/>
                  </a:solidFill>
                  <a:latin typeface="Arial" panose="020B0604020202020204" pitchFamily="34" charset="0"/>
                  <a:cs typeface="Arial" panose="020B0604020202020204" pitchFamily="34" charset="0"/>
                </a:defRPr>
              </a:lvl3pPr>
              <a:lvl4pPr eaLnBrk="0" hangingPunct="0">
                <a:defRPr sz="2400">
                  <a:solidFill>
                    <a:schemeClr val="tx1"/>
                  </a:solidFill>
                  <a:latin typeface="Arial" panose="020B0604020202020204" pitchFamily="34" charset="0"/>
                  <a:cs typeface="Arial" panose="020B0604020202020204" pitchFamily="34" charset="0"/>
                </a:defRPr>
              </a:lvl4pPr>
              <a:lvl5pPr eaLnBrk="0" hangingPunct="0">
                <a:defRPr sz="2400">
                  <a:solidFill>
                    <a:schemeClr val="tx1"/>
                  </a:solidFill>
                  <a:latin typeface="Arial" panose="020B0604020202020204" pitchFamily="34" charset="0"/>
                  <a:cs typeface="Arial" panose="020B0604020202020204" pitchFamily="34" charset="0"/>
                </a:defRPr>
              </a:lvl5pPr>
              <a:lvl6pPr marL="4572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6pPr>
              <a:lvl7pPr marL="9144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7pPr>
              <a:lvl8pPr marL="13716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8pPr>
              <a:lvl9pPr marL="18288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9pPr>
            </a:lstStyle>
            <a:p>
              <a:pPr algn="ctr" eaLnBrk="1" latinLnBrk="1" hangingPunct="1">
                <a:lnSpc>
                  <a:spcPts val="1100"/>
                </a:lnSpc>
                <a:defRPr/>
              </a:pPr>
              <a:endParaRPr kumimoji="1" lang="ko-KR" altLang="en-US" sz="1000">
                <a:solidFill>
                  <a:srgbClr val="10253F"/>
                </a:solidFill>
                <a:ea typeface="맑은 고딕" panose="020B0503020000020004" pitchFamily="34" charset="-127"/>
              </a:endParaRPr>
            </a:p>
          </p:txBody>
        </p:sp>
        <p:sp>
          <p:nvSpPr>
            <p:cNvPr id="700" name="AutoShape 120">
              <a:extLst>
                <a:ext uri="{FF2B5EF4-FFF2-40B4-BE49-F238E27FC236}">
                  <a16:creationId xmlns:a16="http://schemas.microsoft.com/office/drawing/2014/main" id="{EF42C993-EA28-4A75-843D-192E06841475}"/>
                </a:ext>
              </a:extLst>
            </p:cNvPr>
            <p:cNvSpPr>
              <a:spLocks noChangeArrowheads="1"/>
            </p:cNvSpPr>
            <p:nvPr/>
          </p:nvSpPr>
          <p:spPr bwMode="auto">
            <a:xfrm>
              <a:off x="1417638" y="4789474"/>
              <a:ext cx="835025" cy="512762"/>
            </a:xfrm>
            <a:prstGeom prst="roundRect">
              <a:avLst>
                <a:gd name="adj" fmla="val 11495"/>
              </a:avLst>
            </a:prstGeom>
            <a:gradFill rotWithShape="1">
              <a:gsLst>
                <a:gs pos="0">
                  <a:srgbClr val="DAFDA7"/>
                </a:gs>
                <a:gs pos="35001">
                  <a:srgbClr val="E4FDC2"/>
                </a:gs>
                <a:gs pos="100000">
                  <a:srgbClr val="F5FFE6"/>
                </a:gs>
              </a:gsLst>
              <a:lin ang="16200000" scaled="1"/>
            </a:gradFill>
            <a:ln w="9525">
              <a:solidFill>
                <a:srgbClr val="98B954"/>
              </a:solidFill>
              <a:round/>
              <a:headEnd/>
              <a:tailEnd/>
            </a:ln>
            <a:effectLst>
              <a:outerShdw blurRad="63500" dist="20000" dir="5400000" rotWithShape="0">
                <a:srgbClr val="000000">
                  <a:alpha val="37999"/>
                </a:srgbClr>
              </a:outerShdw>
            </a:effectLst>
          </p:spPr>
          <p:txBody>
            <a:bodyPr lIns="36000" rIns="36000" anchor="b" anchorCtr="1"/>
            <a:lstStyle>
              <a:lvl1pPr defTabSz="762000" eaLnBrk="0" hangingPunct="0">
                <a:defRPr sz="2400">
                  <a:solidFill>
                    <a:schemeClr val="tx1"/>
                  </a:solidFill>
                  <a:latin typeface="Arial" panose="020B0604020202020204" pitchFamily="34" charset="0"/>
                  <a:cs typeface="Arial" panose="020B0604020202020204" pitchFamily="34" charset="0"/>
                </a:defRPr>
              </a:lvl1pPr>
              <a:lvl2pPr marL="37931725" indent="-37474525" defTabSz="762000" eaLnBrk="0" hangingPunct="0">
                <a:defRPr sz="2400">
                  <a:solidFill>
                    <a:schemeClr val="tx1"/>
                  </a:solidFill>
                  <a:latin typeface="Arial" panose="020B0604020202020204" pitchFamily="34" charset="0"/>
                  <a:cs typeface="Arial" panose="020B0604020202020204" pitchFamily="34" charset="0"/>
                </a:defRPr>
              </a:lvl2pPr>
              <a:lvl3pPr eaLnBrk="0" hangingPunct="0">
                <a:defRPr sz="2400">
                  <a:solidFill>
                    <a:schemeClr val="tx1"/>
                  </a:solidFill>
                  <a:latin typeface="Arial" panose="020B0604020202020204" pitchFamily="34" charset="0"/>
                  <a:cs typeface="Arial" panose="020B0604020202020204" pitchFamily="34" charset="0"/>
                </a:defRPr>
              </a:lvl3pPr>
              <a:lvl4pPr eaLnBrk="0" hangingPunct="0">
                <a:defRPr sz="2400">
                  <a:solidFill>
                    <a:schemeClr val="tx1"/>
                  </a:solidFill>
                  <a:latin typeface="Arial" panose="020B0604020202020204" pitchFamily="34" charset="0"/>
                  <a:cs typeface="Arial" panose="020B0604020202020204" pitchFamily="34" charset="0"/>
                </a:defRPr>
              </a:lvl4pPr>
              <a:lvl5pPr eaLnBrk="0" hangingPunct="0">
                <a:defRPr sz="2400">
                  <a:solidFill>
                    <a:schemeClr val="tx1"/>
                  </a:solidFill>
                  <a:latin typeface="Arial" panose="020B0604020202020204" pitchFamily="34" charset="0"/>
                  <a:cs typeface="Arial" panose="020B0604020202020204" pitchFamily="34" charset="0"/>
                </a:defRPr>
              </a:lvl5pPr>
              <a:lvl6pPr marL="4572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6pPr>
              <a:lvl7pPr marL="9144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7pPr>
              <a:lvl8pPr marL="13716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8pPr>
              <a:lvl9pPr marL="18288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9pPr>
            </a:lstStyle>
            <a:p>
              <a:pPr algn="ctr" eaLnBrk="1" latinLnBrk="1" hangingPunct="1">
                <a:lnSpc>
                  <a:spcPts val="1100"/>
                </a:lnSpc>
                <a:defRPr/>
              </a:pPr>
              <a:endParaRPr kumimoji="1" lang="ko-KR" altLang="en-US" sz="1000">
                <a:solidFill>
                  <a:srgbClr val="10253F"/>
                </a:solidFill>
                <a:ea typeface="맑은 고딕" panose="020B0503020000020004" pitchFamily="34" charset="-127"/>
              </a:endParaRPr>
            </a:p>
          </p:txBody>
        </p:sp>
        <p:sp>
          <p:nvSpPr>
            <p:cNvPr id="87120" name="TextBox 1020">
              <a:extLst>
                <a:ext uri="{FF2B5EF4-FFF2-40B4-BE49-F238E27FC236}">
                  <a16:creationId xmlns:a16="http://schemas.microsoft.com/office/drawing/2014/main" id="{66216CC1-FB93-4736-8289-E0D793DDF8A3}"/>
                </a:ext>
              </a:extLst>
            </p:cNvPr>
            <p:cNvSpPr txBox="1">
              <a:spLocks noChangeArrowheads="1"/>
            </p:cNvSpPr>
            <p:nvPr/>
          </p:nvSpPr>
          <p:spPr bwMode="auto">
            <a:xfrm>
              <a:off x="455613" y="3189274"/>
              <a:ext cx="658812"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spcBef>
                  <a:spcPct val="0"/>
                </a:spcBef>
                <a:buClrTx/>
                <a:buSzTx/>
                <a:buFontTx/>
                <a:buNone/>
              </a:pPr>
              <a:r>
                <a:rPr kumimoji="1" lang="en-US" altLang="ko-KR" sz="900">
                  <a:solidFill>
                    <a:schemeClr val="tx1"/>
                  </a:solidFill>
                  <a:ea typeface="산돌고딕 M"/>
                  <a:cs typeface="Arial" panose="020B0604020202020204" pitchFamily="34" charset="0"/>
                </a:rPr>
                <a:t>Applicant</a:t>
              </a:r>
              <a:endParaRPr kumimoji="1" lang="ko-KR" altLang="en-US" sz="900">
                <a:solidFill>
                  <a:schemeClr val="tx1"/>
                </a:solidFill>
                <a:ea typeface="산돌고딕 M"/>
                <a:cs typeface="Arial" panose="020B0604020202020204" pitchFamily="34" charset="0"/>
              </a:endParaRPr>
            </a:p>
          </p:txBody>
        </p:sp>
        <p:cxnSp>
          <p:nvCxnSpPr>
            <p:cNvPr id="702" name="직선 화살표 연결선 701">
              <a:extLst>
                <a:ext uri="{FF2B5EF4-FFF2-40B4-BE49-F238E27FC236}">
                  <a16:creationId xmlns:a16="http://schemas.microsoft.com/office/drawing/2014/main" id="{A9EB6DF5-49EE-4737-A1DE-0A64E16A3344}"/>
                </a:ext>
              </a:extLst>
            </p:cNvPr>
            <p:cNvCxnSpPr>
              <a:cxnSpLocks noChangeShapeType="1"/>
            </p:cNvCxnSpPr>
            <p:nvPr/>
          </p:nvCxnSpPr>
          <p:spPr bwMode="auto">
            <a:xfrm>
              <a:off x="1033463" y="2741599"/>
              <a:ext cx="257175" cy="0"/>
            </a:xfrm>
            <a:prstGeom prst="straightConnector1">
              <a:avLst/>
            </a:prstGeom>
            <a:noFill/>
            <a:ln w="38100">
              <a:solidFill>
                <a:srgbClr val="F79646"/>
              </a:solidFill>
              <a:round/>
              <a:headEnd/>
              <a:tailEnd type="triangle" w="med" len="med"/>
            </a:ln>
            <a:effectLst>
              <a:outerShdw blurRad="63500" dist="23000" dir="5400000" rotWithShape="0">
                <a:srgbClr val="000000">
                  <a:alpha val="34998"/>
                </a:srgbClr>
              </a:outerShdw>
            </a:effectLst>
          </p:spPr>
        </p:cxnSp>
        <p:pic>
          <p:nvPicPr>
            <p:cNvPr id="87122" name="Picture 4" descr="MCj04339410000[1]">
              <a:extLst>
                <a:ext uri="{FF2B5EF4-FFF2-40B4-BE49-F238E27FC236}">
                  <a16:creationId xmlns:a16="http://schemas.microsoft.com/office/drawing/2014/main" id="{943A2840-4877-4592-BB72-E6D657EF816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55613" y="2420924"/>
              <a:ext cx="555625"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4" name="AutoShape 120">
              <a:extLst>
                <a:ext uri="{FF2B5EF4-FFF2-40B4-BE49-F238E27FC236}">
                  <a16:creationId xmlns:a16="http://schemas.microsoft.com/office/drawing/2014/main" id="{E25F887F-5AB5-444F-B416-4FBB502CEDF9}"/>
                </a:ext>
              </a:extLst>
            </p:cNvPr>
            <p:cNvSpPr>
              <a:spLocks noChangeArrowheads="1"/>
            </p:cNvSpPr>
            <p:nvPr/>
          </p:nvSpPr>
          <p:spPr bwMode="auto">
            <a:xfrm>
              <a:off x="1417638" y="2868599"/>
              <a:ext cx="835025" cy="512762"/>
            </a:xfrm>
            <a:prstGeom prst="roundRect">
              <a:avLst>
                <a:gd name="adj" fmla="val 11495"/>
              </a:avLst>
            </a:prstGeom>
            <a:gradFill rotWithShape="1">
              <a:gsLst>
                <a:gs pos="0">
                  <a:srgbClr val="DAFDA7"/>
                </a:gs>
                <a:gs pos="35001">
                  <a:srgbClr val="E4FDC2"/>
                </a:gs>
                <a:gs pos="100000">
                  <a:srgbClr val="F5FFE6"/>
                </a:gs>
              </a:gsLst>
              <a:lin ang="16200000" scaled="1"/>
            </a:gradFill>
            <a:ln w="9525">
              <a:solidFill>
                <a:srgbClr val="98B954"/>
              </a:solidFill>
              <a:round/>
              <a:headEnd/>
              <a:tailEnd/>
            </a:ln>
            <a:effectLst>
              <a:outerShdw blurRad="63500" dist="20000" dir="5400000" rotWithShape="0">
                <a:srgbClr val="000000">
                  <a:alpha val="37999"/>
                </a:srgbClr>
              </a:outerShdw>
            </a:effectLst>
          </p:spPr>
          <p:txBody>
            <a:bodyPr lIns="36000" rIns="36000" anchor="b" anchorCtr="1"/>
            <a:lstStyle>
              <a:lvl1pPr defTabSz="762000" eaLnBrk="0" hangingPunct="0">
                <a:defRPr sz="2400">
                  <a:solidFill>
                    <a:schemeClr val="tx1"/>
                  </a:solidFill>
                  <a:latin typeface="Arial" panose="020B0604020202020204" pitchFamily="34" charset="0"/>
                  <a:cs typeface="Arial" panose="020B0604020202020204" pitchFamily="34" charset="0"/>
                </a:defRPr>
              </a:lvl1pPr>
              <a:lvl2pPr marL="37931725" indent="-37474525" defTabSz="762000" eaLnBrk="0" hangingPunct="0">
                <a:defRPr sz="2400">
                  <a:solidFill>
                    <a:schemeClr val="tx1"/>
                  </a:solidFill>
                  <a:latin typeface="Arial" panose="020B0604020202020204" pitchFamily="34" charset="0"/>
                  <a:cs typeface="Arial" panose="020B0604020202020204" pitchFamily="34" charset="0"/>
                </a:defRPr>
              </a:lvl2pPr>
              <a:lvl3pPr eaLnBrk="0" hangingPunct="0">
                <a:defRPr sz="2400">
                  <a:solidFill>
                    <a:schemeClr val="tx1"/>
                  </a:solidFill>
                  <a:latin typeface="Arial" panose="020B0604020202020204" pitchFamily="34" charset="0"/>
                  <a:cs typeface="Arial" panose="020B0604020202020204" pitchFamily="34" charset="0"/>
                </a:defRPr>
              </a:lvl3pPr>
              <a:lvl4pPr eaLnBrk="0" hangingPunct="0">
                <a:defRPr sz="2400">
                  <a:solidFill>
                    <a:schemeClr val="tx1"/>
                  </a:solidFill>
                  <a:latin typeface="Arial" panose="020B0604020202020204" pitchFamily="34" charset="0"/>
                  <a:cs typeface="Arial" panose="020B0604020202020204" pitchFamily="34" charset="0"/>
                </a:defRPr>
              </a:lvl4pPr>
              <a:lvl5pPr eaLnBrk="0" hangingPunct="0">
                <a:defRPr sz="2400">
                  <a:solidFill>
                    <a:schemeClr val="tx1"/>
                  </a:solidFill>
                  <a:latin typeface="Arial" panose="020B0604020202020204" pitchFamily="34" charset="0"/>
                  <a:cs typeface="Arial" panose="020B0604020202020204" pitchFamily="34" charset="0"/>
                </a:defRPr>
              </a:lvl5pPr>
              <a:lvl6pPr marL="4572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6pPr>
              <a:lvl7pPr marL="9144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7pPr>
              <a:lvl8pPr marL="13716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8pPr>
              <a:lvl9pPr marL="1828800" eaLnBrk="0" fontAlgn="base" hangingPunct="0">
                <a:spcBef>
                  <a:spcPct val="50000"/>
                </a:spcBef>
                <a:spcAft>
                  <a:spcPct val="0"/>
                </a:spcAft>
                <a:defRPr sz="2400">
                  <a:solidFill>
                    <a:schemeClr val="tx1"/>
                  </a:solidFill>
                  <a:latin typeface="Arial" panose="020B0604020202020204" pitchFamily="34" charset="0"/>
                  <a:cs typeface="Arial" panose="020B0604020202020204" pitchFamily="34" charset="0"/>
                </a:defRPr>
              </a:lvl9pPr>
            </a:lstStyle>
            <a:p>
              <a:pPr algn="ctr" eaLnBrk="1" latinLnBrk="1" hangingPunct="1">
                <a:lnSpc>
                  <a:spcPts val="1100"/>
                </a:lnSpc>
                <a:defRPr/>
              </a:pPr>
              <a:endParaRPr kumimoji="1" lang="ko-KR" altLang="en-US" sz="1000">
                <a:solidFill>
                  <a:srgbClr val="10253F"/>
                </a:solidFill>
                <a:ea typeface="맑은 고딕" panose="020B0503020000020004" pitchFamily="34" charset="-127"/>
              </a:endParaRPr>
            </a:p>
          </p:txBody>
        </p:sp>
        <p:pic>
          <p:nvPicPr>
            <p:cNvPr id="87124" name="Picture 440" descr="C:\Documents and Settings\강시영\Local Settings\Temporary Internet Files\Content.IE5\H0QILFD4\MCj04414660000[1].png">
              <a:extLst>
                <a:ext uri="{FF2B5EF4-FFF2-40B4-BE49-F238E27FC236}">
                  <a16:creationId xmlns:a16="http://schemas.microsoft.com/office/drawing/2014/main" id="{4C01B6E1-BEDB-4CC0-9B84-5B5A73CBF02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l="23441" t="20834" r="47910" b="51172"/>
            <a:stretch>
              <a:fillRect/>
            </a:stretch>
          </p:blipFill>
          <p:spPr bwMode="auto">
            <a:xfrm>
              <a:off x="1481138" y="2933686"/>
              <a:ext cx="228600"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7125" name="그룹 705">
              <a:extLst>
                <a:ext uri="{FF2B5EF4-FFF2-40B4-BE49-F238E27FC236}">
                  <a16:creationId xmlns:a16="http://schemas.microsoft.com/office/drawing/2014/main" id="{D31589AE-339D-4603-B66F-288EFB15F812}"/>
                </a:ext>
              </a:extLst>
            </p:cNvPr>
            <p:cNvGrpSpPr>
              <a:grpSpLocks/>
            </p:cNvGrpSpPr>
            <p:nvPr/>
          </p:nvGrpSpPr>
          <p:grpSpPr bwMode="auto">
            <a:xfrm>
              <a:off x="1481138" y="3573449"/>
              <a:ext cx="257175" cy="192087"/>
              <a:chOff x="6540748" y="1929932"/>
              <a:chExt cx="241304" cy="220340"/>
            </a:xfrm>
          </p:grpSpPr>
          <p:sp>
            <p:nvSpPr>
              <p:cNvPr id="87283" name="모서리가 둥근 직사각형 874">
                <a:extLst>
                  <a:ext uri="{FF2B5EF4-FFF2-40B4-BE49-F238E27FC236}">
                    <a16:creationId xmlns:a16="http://schemas.microsoft.com/office/drawing/2014/main" id="{114B4CCB-35A2-4DA1-B438-67CC9D26A694}"/>
                  </a:ext>
                </a:extLst>
              </p:cNvPr>
              <p:cNvSpPr>
                <a:spLocks noChangeArrowheads="1"/>
              </p:cNvSpPr>
              <p:nvPr/>
            </p:nvSpPr>
            <p:spPr bwMode="auto">
              <a:xfrm>
                <a:off x="6540748" y="1929932"/>
                <a:ext cx="241304" cy="220340"/>
              </a:xfrm>
              <a:prstGeom prst="roundRect">
                <a:avLst>
                  <a:gd name="adj" fmla="val 4222"/>
                </a:avLst>
              </a:pr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spcBef>
                    <a:spcPct val="0"/>
                  </a:spcBef>
                  <a:buClrTx/>
                  <a:buSzTx/>
                  <a:buFontTx/>
                  <a:buNone/>
                </a:pPr>
                <a:endParaRPr kumimoji="1" lang="ko-KR" altLang="en-US" sz="2000">
                  <a:ea typeface="Gulim" panose="020B0600000101010101" pitchFamily="34" charset="-127"/>
                </a:endParaRPr>
              </a:p>
            </p:txBody>
          </p:sp>
          <p:sp>
            <p:nvSpPr>
              <p:cNvPr id="87284" name="Rectangle 377">
                <a:extLst>
                  <a:ext uri="{FF2B5EF4-FFF2-40B4-BE49-F238E27FC236}">
                    <a16:creationId xmlns:a16="http://schemas.microsoft.com/office/drawing/2014/main" id="{FA5BA9B5-1991-4E96-9223-1D2FEE0AEC29}"/>
                  </a:ext>
                </a:extLst>
              </p:cNvPr>
              <p:cNvSpPr>
                <a:spLocks noChangeArrowheads="1"/>
              </p:cNvSpPr>
              <p:nvPr/>
            </p:nvSpPr>
            <p:spPr bwMode="auto">
              <a:xfrm>
                <a:off x="6548953" y="1939673"/>
                <a:ext cx="223197" cy="202611"/>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spcBef>
                    <a:spcPct val="0"/>
                  </a:spcBef>
                  <a:buClrTx/>
                  <a:buSzTx/>
                  <a:buFontTx/>
                  <a:buNone/>
                </a:pPr>
                <a:endParaRPr kumimoji="1" lang="ko-KR" altLang="en-US" sz="2000">
                  <a:ea typeface="Gulim" panose="020B0600000101010101" pitchFamily="34" charset="-127"/>
                </a:endParaRPr>
              </a:p>
            </p:txBody>
          </p:sp>
          <p:sp>
            <p:nvSpPr>
              <p:cNvPr id="87285" name="Freeform 378">
                <a:extLst>
                  <a:ext uri="{FF2B5EF4-FFF2-40B4-BE49-F238E27FC236}">
                    <a16:creationId xmlns:a16="http://schemas.microsoft.com/office/drawing/2014/main" id="{DB4C6735-1D34-4033-B8CB-E7A956DC7D47}"/>
                  </a:ext>
                </a:extLst>
              </p:cNvPr>
              <p:cNvSpPr>
                <a:spLocks/>
              </p:cNvSpPr>
              <p:nvPr/>
            </p:nvSpPr>
            <p:spPr bwMode="auto">
              <a:xfrm>
                <a:off x="6548953" y="1939673"/>
                <a:ext cx="223197" cy="7793"/>
              </a:xfrm>
              <a:custGeom>
                <a:avLst/>
                <a:gdLst>
                  <a:gd name="T0" fmla="*/ 2147483646 w 816"/>
                  <a:gd name="T1" fmla="*/ 2147483646 h 24"/>
                  <a:gd name="T2" fmla="*/ 0 w 816"/>
                  <a:gd name="T3" fmla="*/ 0 h 24"/>
                  <a:gd name="T4" fmla="*/ 2147483646 w 816"/>
                  <a:gd name="T5" fmla="*/ 0 h 24"/>
                  <a:gd name="T6" fmla="*/ 2147483646 w 816"/>
                  <a:gd name="T7" fmla="*/ 2147483646 h 24"/>
                  <a:gd name="T8" fmla="*/ 2147483646 w 816"/>
                  <a:gd name="T9" fmla="*/ 2147483646 h 24"/>
                  <a:gd name="T10" fmla="*/ 0 60000 65536"/>
                  <a:gd name="T11" fmla="*/ 0 60000 65536"/>
                  <a:gd name="T12" fmla="*/ 0 60000 65536"/>
                  <a:gd name="T13" fmla="*/ 0 60000 65536"/>
                  <a:gd name="T14" fmla="*/ 0 60000 65536"/>
                  <a:gd name="T15" fmla="*/ 0 w 816"/>
                  <a:gd name="T16" fmla="*/ 0 h 24"/>
                  <a:gd name="T17" fmla="*/ 816 w 816"/>
                  <a:gd name="T18" fmla="*/ 24 h 24"/>
                </a:gdLst>
                <a:ahLst/>
                <a:cxnLst>
                  <a:cxn ang="T10">
                    <a:pos x="T0" y="T1"/>
                  </a:cxn>
                  <a:cxn ang="T11">
                    <a:pos x="T2" y="T3"/>
                  </a:cxn>
                  <a:cxn ang="T12">
                    <a:pos x="T4" y="T5"/>
                  </a:cxn>
                  <a:cxn ang="T13">
                    <a:pos x="T6" y="T7"/>
                  </a:cxn>
                  <a:cxn ang="T14">
                    <a:pos x="T8" y="T9"/>
                  </a:cxn>
                </a:cxnLst>
                <a:rect l="T15" t="T16" r="T17" b="T18"/>
                <a:pathLst>
                  <a:path w="816" h="24">
                    <a:moveTo>
                      <a:pt x="24" y="24"/>
                    </a:moveTo>
                    <a:lnTo>
                      <a:pt x="0" y="0"/>
                    </a:lnTo>
                    <a:lnTo>
                      <a:pt x="816" y="0"/>
                    </a:lnTo>
                    <a:lnTo>
                      <a:pt x="792" y="24"/>
                    </a:lnTo>
                    <a:lnTo>
                      <a:pt x="24" y="24"/>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86" name="Freeform 379">
                <a:extLst>
                  <a:ext uri="{FF2B5EF4-FFF2-40B4-BE49-F238E27FC236}">
                    <a16:creationId xmlns:a16="http://schemas.microsoft.com/office/drawing/2014/main" id="{5974D3AC-6D73-4439-A04D-745056724B4E}"/>
                  </a:ext>
                </a:extLst>
              </p:cNvPr>
              <p:cNvSpPr>
                <a:spLocks/>
              </p:cNvSpPr>
              <p:nvPr/>
            </p:nvSpPr>
            <p:spPr bwMode="auto">
              <a:xfrm>
                <a:off x="6548953" y="2134492"/>
                <a:ext cx="223197" cy="7793"/>
              </a:xfrm>
              <a:custGeom>
                <a:avLst/>
                <a:gdLst>
                  <a:gd name="T0" fmla="*/ 2147483646 w 816"/>
                  <a:gd name="T1" fmla="*/ 0 h 24"/>
                  <a:gd name="T2" fmla="*/ 0 w 816"/>
                  <a:gd name="T3" fmla="*/ 2147483646 h 24"/>
                  <a:gd name="T4" fmla="*/ 2147483646 w 816"/>
                  <a:gd name="T5" fmla="*/ 2147483646 h 24"/>
                  <a:gd name="T6" fmla="*/ 2147483646 w 816"/>
                  <a:gd name="T7" fmla="*/ 0 h 24"/>
                  <a:gd name="T8" fmla="*/ 2147483646 w 816"/>
                  <a:gd name="T9" fmla="*/ 0 h 24"/>
                  <a:gd name="T10" fmla="*/ 0 60000 65536"/>
                  <a:gd name="T11" fmla="*/ 0 60000 65536"/>
                  <a:gd name="T12" fmla="*/ 0 60000 65536"/>
                  <a:gd name="T13" fmla="*/ 0 60000 65536"/>
                  <a:gd name="T14" fmla="*/ 0 60000 65536"/>
                  <a:gd name="T15" fmla="*/ 0 w 816"/>
                  <a:gd name="T16" fmla="*/ 0 h 24"/>
                  <a:gd name="T17" fmla="*/ 816 w 816"/>
                  <a:gd name="T18" fmla="*/ 24 h 24"/>
                </a:gdLst>
                <a:ahLst/>
                <a:cxnLst>
                  <a:cxn ang="T10">
                    <a:pos x="T0" y="T1"/>
                  </a:cxn>
                  <a:cxn ang="T11">
                    <a:pos x="T2" y="T3"/>
                  </a:cxn>
                  <a:cxn ang="T12">
                    <a:pos x="T4" y="T5"/>
                  </a:cxn>
                  <a:cxn ang="T13">
                    <a:pos x="T6" y="T7"/>
                  </a:cxn>
                  <a:cxn ang="T14">
                    <a:pos x="T8" y="T9"/>
                  </a:cxn>
                </a:cxnLst>
                <a:rect l="T15" t="T16" r="T17" b="T18"/>
                <a:pathLst>
                  <a:path w="816" h="24">
                    <a:moveTo>
                      <a:pt x="24" y="0"/>
                    </a:moveTo>
                    <a:lnTo>
                      <a:pt x="0" y="24"/>
                    </a:lnTo>
                    <a:lnTo>
                      <a:pt x="816" y="24"/>
                    </a:lnTo>
                    <a:lnTo>
                      <a:pt x="792" y="0"/>
                    </a:lnTo>
                    <a:lnTo>
                      <a:pt x="2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87" name="Rectangle 380">
                <a:extLst>
                  <a:ext uri="{FF2B5EF4-FFF2-40B4-BE49-F238E27FC236}">
                    <a16:creationId xmlns:a16="http://schemas.microsoft.com/office/drawing/2014/main" id="{CCC9031F-E569-41E9-B353-24499DBADB95}"/>
                  </a:ext>
                </a:extLst>
              </p:cNvPr>
              <p:cNvSpPr>
                <a:spLocks noChangeArrowheads="1"/>
              </p:cNvSpPr>
              <p:nvPr/>
            </p:nvSpPr>
            <p:spPr bwMode="auto">
              <a:xfrm>
                <a:off x="6555518" y="1947466"/>
                <a:ext cx="210068" cy="187026"/>
              </a:xfrm>
              <a:prstGeom prst="rect">
                <a:avLst/>
              </a:prstGeom>
              <a:solidFill>
                <a:srgbClr val="5AC1D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spcBef>
                    <a:spcPct val="0"/>
                  </a:spcBef>
                  <a:buClrTx/>
                  <a:buSzTx/>
                  <a:buFontTx/>
                  <a:buNone/>
                </a:pPr>
                <a:endParaRPr kumimoji="1" lang="ko-KR" altLang="en-US" sz="2000">
                  <a:ea typeface="Gulim" panose="020B0600000101010101" pitchFamily="34" charset="-127"/>
                </a:endParaRPr>
              </a:p>
            </p:txBody>
          </p:sp>
          <p:sp>
            <p:nvSpPr>
              <p:cNvPr id="87288" name="Freeform 381">
                <a:extLst>
                  <a:ext uri="{FF2B5EF4-FFF2-40B4-BE49-F238E27FC236}">
                    <a16:creationId xmlns:a16="http://schemas.microsoft.com/office/drawing/2014/main" id="{DCE9900F-D611-4BED-B267-619DFA198143}"/>
                  </a:ext>
                </a:extLst>
              </p:cNvPr>
              <p:cNvSpPr>
                <a:spLocks/>
              </p:cNvSpPr>
              <p:nvPr/>
            </p:nvSpPr>
            <p:spPr bwMode="auto">
              <a:xfrm>
                <a:off x="6589435" y="1953960"/>
                <a:ext cx="170680" cy="174038"/>
              </a:xfrm>
              <a:custGeom>
                <a:avLst/>
                <a:gdLst>
                  <a:gd name="T0" fmla="*/ 0 w 624"/>
                  <a:gd name="T1" fmla="*/ 0 h 536"/>
                  <a:gd name="T2" fmla="*/ 0 w 624"/>
                  <a:gd name="T3" fmla="*/ 0 h 536"/>
                  <a:gd name="T4" fmla="*/ 2147483646 w 624"/>
                  <a:gd name="T5" fmla="*/ 0 h 536"/>
                  <a:gd name="T6" fmla="*/ 2147483646 w 624"/>
                  <a:gd name="T7" fmla="*/ 0 h 536"/>
                  <a:gd name="T8" fmla="*/ 2147483646 w 624"/>
                  <a:gd name="T9" fmla="*/ 2147483646 h 536"/>
                  <a:gd name="T10" fmla="*/ 2147483646 w 624"/>
                  <a:gd name="T11" fmla="*/ 2147483646 h 536"/>
                  <a:gd name="T12" fmla="*/ 2147483646 w 624"/>
                  <a:gd name="T13" fmla="*/ 2147483646 h 536"/>
                  <a:gd name="T14" fmla="*/ 2147483646 w 624"/>
                  <a:gd name="T15" fmla="*/ 2147483646 h 536"/>
                  <a:gd name="T16" fmla="*/ 2147483646 w 624"/>
                  <a:gd name="T17" fmla="*/ 2147483646 h 536"/>
                  <a:gd name="T18" fmla="*/ 2147483646 w 624"/>
                  <a:gd name="T19" fmla="*/ 2147483646 h 536"/>
                  <a:gd name="T20" fmla="*/ 2147483646 w 624"/>
                  <a:gd name="T21" fmla="*/ 2147483646 h 536"/>
                  <a:gd name="T22" fmla="*/ 2147483646 w 624"/>
                  <a:gd name="T23" fmla="*/ 2147483646 h 536"/>
                  <a:gd name="T24" fmla="*/ 2147483646 w 624"/>
                  <a:gd name="T25" fmla="*/ 2147483646 h 536"/>
                  <a:gd name="T26" fmla="*/ 2147483646 w 624"/>
                  <a:gd name="T27" fmla="*/ 2147483646 h 536"/>
                  <a:gd name="T28" fmla="*/ 2147483646 w 624"/>
                  <a:gd name="T29" fmla="*/ 2147483646 h 536"/>
                  <a:gd name="T30" fmla="*/ 2147483646 w 624"/>
                  <a:gd name="T31" fmla="*/ 2147483646 h 536"/>
                  <a:gd name="T32" fmla="*/ 2147483646 w 624"/>
                  <a:gd name="T33" fmla="*/ 2147483646 h 536"/>
                  <a:gd name="T34" fmla="*/ 2147483646 w 624"/>
                  <a:gd name="T35" fmla="*/ 2147483646 h 536"/>
                  <a:gd name="T36" fmla="*/ 2147483646 w 624"/>
                  <a:gd name="T37" fmla="*/ 2147483646 h 536"/>
                  <a:gd name="T38" fmla="*/ 2147483646 w 624"/>
                  <a:gd name="T39" fmla="*/ 2147483646 h 536"/>
                  <a:gd name="T40" fmla="*/ 2147483646 w 624"/>
                  <a:gd name="T41" fmla="*/ 2147483646 h 536"/>
                  <a:gd name="T42" fmla="*/ 2147483646 w 624"/>
                  <a:gd name="T43" fmla="*/ 2147483646 h 536"/>
                  <a:gd name="T44" fmla="*/ 2147483646 w 624"/>
                  <a:gd name="T45" fmla="*/ 2147483646 h 536"/>
                  <a:gd name="T46" fmla="*/ 2147483646 w 624"/>
                  <a:gd name="T47" fmla="*/ 2147483646 h 536"/>
                  <a:gd name="T48" fmla="*/ 2147483646 w 624"/>
                  <a:gd name="T49" fmla="*/ 2147483646 h 536"/>
                  <a:gd name="T50" fmla="*/ 2147483646 w 624"/>
                  <a:gd name="T51" fmla="*/ 2147483646 h 536"/>
                  <a:gd name="T52" fmla="*/ 2147483646 w 624"/>
                  <a:gd name="T53" fmla="*/ 2147483646 h 536"/>
                  <a:gd name="T54" fmla="*/ 2147483646 w 624"/>
                  <a:gd name="T55" fmla="*/ 2147483646 h 536"/>
                  <a:gd name="T56" fmla="*/ 0 w 624"/>
                  <a:gd name="T57" fmla="*/ 0 h 536"/>
                  <a:gd name="T58" fmla="*/ 0 w 624"/>
                  <a:gd name="T59" fmla="*/ 0 h 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24"/>
                  <a:gd name="T91" fmla="*/ 0 h 536"/>
                  <a:gd name="T92" fmla="*/ 624 w 624"/>
                  <a:gd name="T93" fmla="*/ 536 h 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24" h="536">
                    <a:moveTo>
                      <a:pt x="0" y="0"/>
                    </a:moveTo>
                    <a:lnTo>
                      <a:pt x="0" y="0"/>
                    </a:lnTo>
                    <a:lnTo>
                      <a:pt x="624" y="0"/>
                    </a:lnTo>
                    <a:lnTo>
                      <a:pt x="624" y="536"/>
                    </a:lnTo>
                    <a:lnTo>
                      <a:pt x="458" y="536"/>
                    </a:lnTo>
                    <a:lnTo>
                      <a:pt x="444" y="510"/>
                    </a:lnTo>
                    <a:lnTo>
                      <a:pt x="430" y="484"/>
                    </a:lnTo>
                    <a:lnTo>
                      <a:pt x="414" y="462"/>
                    </a:lnTo>
                    <a:lnTo>
                      <a:pt x="400" y="440"/>
                    </a:lnTo>
                    <a:lnTo>
                      <a:pt x="368" y="400"/>
                    </a:lnTo>
                    <a:lnTo>
                      <a:pt x="334" y="366"/>
                    </a:lnTo>
                    <a:lnTo>
                      <a:pt x="300" y="336"/>
                    </a:lnTo>
                    <a:lnTo>
                      <a:pt x="266" y="310"/>
                    </a:lnTo>
                    <a:lnTo>
                      <a:pt x="198" y="260"/>
                    </a:lnTo>
                    <a:lnTo>
                      <a:pt x="166" y="236"/>
                    </a:lnTo>
                    <a:lnTo>
                      <a:pt x="134" y="212"/>
                    </a:lnTo>
                    <a:lnTo>
                      <a:pt x="104" y="186"/>
                    </a:lnTo>
                    <a:lnTo>
                      <a:pt x="76" y="156"/>
                    </a:lnTo>
                    <a:lnTo>
                      <a:pt x="64" y="142"/>
                    </a:lnTo>
                    <a:lnTo>
                      <a:pt x="52" y="126"/>
                    </a:lnTo>
                    <a:lnTo>
                      <a:pt x="42" y="108"/>
                    </a:lnTo>
                    <a:lnTo>
                      <a:pt x="32" y="88"/>
                    </a:lnTo>
                    <a:lnTo>
                      <a:pt x="22" y="68"/>
                    </a:lnTo>
                    <a:lnTo>
                      <a:pt x="14" y="48"/>
                    </a:lnTo>
                    <a:lnTo>
                      <a:pt x="6" y="24"/>
                    </a:lnTo>
                    <a:lnTo>
                      <a:pt x="0" y="0"/>
                    </a:lnTo>
                    <a:close/>
                  </a:path>
                </a:pathLst>
              </a:custGeom>
              <a:solidFill>
                <a:srgbClr val="8DD4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89" name="Freeform 382">
                <a:extLst>
                  <a:ext uri="{FF2B5EF4-FFF2-40B4-BE49-F238E27FC236}">
                    <a16:creationId xmlns:a16="http://schemas.microsoft.com/office/drawing/2014/main" id="{7098F984-2D3E-4CEF-BEEC-10CA5F8DD274}"/>
                  </a:ext>
                </a:extLst>
              </p:cNvPr>
              <p:cNvSpPr>
                <a:spLocks/>
              </p:cNvSpPr>
              <p:nvPr/>
            </p:nvSpPr>
            <p:spPr bwMode="auto">
              <a:xfrm>
                <a:off x="6555518" y="2063708"/>
                <a:ext cx="87528" cy="70784"/>
              </a:xfrm>
              <a:custGeom>
                <a:avLst/>
                <a:gdLst>
                  <a:gd name="T0" fmla="*/ 0 w 320"/>
                  <a:gd name="T1" fmla="*/ 0 h 218"/>
                  <a:gd name="T2" fmla="*/ 0 w 320"/>
                  <a:gd name="T3" fmla="*/ 2147483646 h 218"/>
                  <a:gd name="T4" fmla="*/ 2147483646 w 320"/>
                  <a:gd name="T5" fmla="*/ 2147483646 h 218"/>
                  <a:gd name="T6" fmla="*/ 2147483646 w 320"/>
                  <a:gd name="T7" fmla="*/ 2147483646 h 218"/>
                  <a:gd name="T8" fmla="*/ 2147483646 w 320"/>
                  <a:gd name="T9" fmla="*/ 2147483646 h 218"/>
                  <a:gd name="T10" fmla="*/ 2147483646 w 320"/>
                  <a:gd name="T11" fmla="*/ 2147483646 h 218"/>
                  <a:gd name="T12" fmla="*/ 2147483646 w 320"/>
                  <a:gd name="T13" fmla="*/ 2147483646 h 218"/>
                  <a:gd name="T14" fmla="*/ 2147483646 w 320"/>
                  <a:gd name="T15" fmla="*/ 2147483646 h 218"/>
                  <a:gd name="T16" fmla="*/ 2147483646 w 320"/>
                  <a:gd name="T17" fmla="*/ 2147483646 h 218"/>
                  <a:gd name="T18" fmla="*/ 2147483646 w 320"/>
                  <a:gd name="T19" fmla="*/ 2147483646 h 218"/>
                  <a:gd name="T20" fmla="*/ 2147483646 w 320"/>
                  <a:gd name="T21" fmla="*/ 2147483646 h 218"/>
                  <a:gd name="T22" fmla="*/ 2147483646 w 320"/>
                  <a:gd name="T23" fmla="*/ 2147483646 h 218"/>
                  <a:gd name="T24" fmla="*/ 2147483646 w 320"/>
                  <a:gd name="T25" fmla="*/ 2147483646 h 218"/>
                  <a:gd name="T26" fmla="*/ 2147483646 w 320"/>
                  <a:gd name="T27" fmla="*/ 2147483646 h 218"/>
                  <a:gd name="T28" fmla="*/ 2147483646 w 320"/>
                  <a:gd name="T29" fmla="*/ 2147483646 h 218"/>
                  <a:gd name="T30" fmla="*/ 2147483646 w 320"/>
                  <a:gd name="T31" fmla="*/ 2147483646 h 218"/>
                  <a:gd name="T32" fmla="*/ 2147483646 w 320"/>
                  <a:gd name="T33" fmla="*/ 2147483646 h 218"/>
                  <a:gd name="T34" fmla="*/ 2147483646 w 320"/>
                  <a:gd name="T35" fmla="*/ 2147483646 h 218"/>
                  <a:gd name="T36" fmla="*/ 2147483646 w 320"/>
                  <a:gd name="T37" fmla="*/ 2147483646 h 218"/>
                  <a:gd name="T38" fmla="*/ 2147483646 w 320"/>
                  <a:gd name="T39" fmla="*/ 2147483646 h 218"/>
                  <a:gd name="T40" fmla="*/ 0 w 320"/>
                  <a:gd name="T41" fmla="*/ 0 h 218"/>
                  <a:gd name="T42" fmla="*/ 0 w 320"/>
                  <a:gd name="T43" fmla="*/ 0 h 2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20"/>
                  <a:gd name="T67" fmla="*/ 0 h 218"/>
                  <a:gd name="T68" fmla="*/ 320 w 320"/>
                  <a:gd name="T69" fmla="*/ 218 h 2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20" h="218">
                    <a:moveTo>
                      <a:pt x="0" y="0"/>
                    </a:moveTo>
                    <a:lnTo>
                      <a:pt x="0" y="218"/>
                    </a:lnTo>
                    <a:lnTo>
                      <a:pt x="320" y="218"/>
                    </a:lnTo>
                    <a:lnTo>
                      <a:pt x="312" y="200"/>
                    </a:lnTo>
                    <a:lnTo>
                      <a:pt x="302" y="184"/>
                    </a:lnTo>
                    <a:lnTo>
                      <a:pt x="282" y="158"/>
                    </a:lnTo>
                    <a:lnTo>
                      <a:pt x="262" y="136"/>
                    </a:lnTo>
                    <a:lnTo>
                      <a:pt x="240" y="118"/>
                    </a:lnTo>
                    <a:lnTo>
                      <a:pt x="216" y="104"/>
                    </a:lnTo>
                    <a:lnTo>
                      <a:pt x="192" y="94"/>
                    </a:lnTo>
                    <a:lnTo>
                      <a:pt x="168" y="86"/>
                    </a:lnTo>
                    <a:lnTo>
                      <a:pt x="144" y="78"/>
                    </a:lnTo>
                    <a:lnTo>
                      <a:pt x="98" y="68"/>
                    </a:lnTo>
                    <a:lnTo>
                      <a:pt x="76" y="62"/>
                    </a:lnTo>
                    <a:lnTo>
                      <a:pt x="56" y="54"/>
                    </a:lnTo>
                    <a:lnTo>
                      <a:pt x="38" y="46"/>
                    </a:lnTo>
                    <a:lnTo>
                      <a:pt x="24" y="34"/>
                    </a:lnTo>
                    <a:lnTo>
                      <a:pt x="10" y="20"/>
                    </a:lnTo>
                    <a:lnTo>
                      <a:pt x="4" y="10"/>
                    </a:lnTo>
                    <a:lnTo>
                      <a:pt x="0" y="0"/>
                    </a:lnTo>
                    <a:close/>
                  </a:path>
                </a:pathLst>
              </a:custGeom>
              <a:solidFill>
                <a:srgbClr val="34B3D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90" name="Freeform 383">
                <a:extLst>
                  <a:ext uri="{FF2B5EF4-FFF2-40B4-BE49-F238E27FC236}">
                    <a16:creationId xmlns:a16="http://schemas.microsoft.com/office/drawing/2014/main" id="{21EB90E7-5288-403C-8952-8A1A1C9DB2E6}"/>
                  </a:ext>
                </a:extLst>
              </p:cNvPr>
              <p:cNvSpPr>
                <a:spLocks noEditPoints="1"/>
              </p:cNvSpPr>
              <p:nvPr/>
            </p:nvSpPr>
            <p:spPr bwMode="auto">
              <a:xfrm>
                <a:off x="6553330" y="1944868"/>
                <a:ext cx="214444" cy="192221"/>
              </a:xfrm>
              <a:custGeom>
                <a:avLst/>
                <a:gdLst>
                  <a:gd name="T0" fmla="*/ 2147483646 w 784"/>
                  <a:gd name="T1" fmla="*/ 0 h 592"/>
                  <a:gd name="T2" fmla="*/ 0 w 784"/>
                  <a:gd name="T3" fmla="*/ 0 h 592"/>
                  <a:gd name="T4" fmla="*/ 0 w 784"/>
                  <a:gd name="T5" fmla="*/ 2147483646 h 592"/>
                  <a:gd name="T6" fmla="*/ 2147483646 w 784"/>
                  <a:gd name="T7" fmla="*/ 2147483646 h 592"/>
                  <a:gd name="T8" fmla="*/ 2147483646 w 784"/>
                  <a:gd name="T9" fmla="*/ 0 h 592"/>
                  <a:gd name="T10" fmla="*/ 2147483646 w 784"/>
                  <a:gd name="T11" fmla="*/ 0 h 592"/>
                  <a:gd name="T12" fmla="*/ 2147483646 w 784"/>
                  <a:gd name="T13" fmla="*/ 2147483646 h 592"/>
                  <a:gd name="T14" fmla="*/ 2147483646 w 784"/>
                  <a:gd name="T15" fmla="*/ 2147483646 h 592"/>
                  <a:gd name="T16" fmla="*/ 2147483646 w 784"/>
                  <a:gd name="T17" fmla="*/ 2147483646 h 592"/>
                  <a:gd name="T18" fmla="*/ 2147483646 w 784"/>
                  <a:gd name="T19" fmla="*/ 2147483646 h 592"/>
                  <a:gd name="T20" fmla="*/ 2147483646 w 784"/>
                  <a:gd name="T21" fmla="*/ 2147483646 h 592"/>
                  <a:gd name="T22" fmla="*/ 2147483646 w 784"/>
                  <a:gd name="T23" fmla="*/ 2147483646 h 592"/>
                  <a:gd name="T24" fmla="*/ 2147483646 w 784"/>
                  <a:gd name="T25" fmla="*/ 2147483646 h 592"/>
                  <a:gd name="T26" fmla="*/ 2147483646 w 784"/>
                  <a:gd name="T27" fmla="*/ 2147483646 h 592"/>
                  <a:gd name="T28" fmla="*/ 2147483646 w 784"/>
                  <a:gd name="T29" fmla="*/ 2147483646 h 592"/>
                  <a:gd name="T30" fmla="*/ 2147483646 w 784"/>
                  <a:gd name="T31" fmla="*/ 2147483646 h 59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84"/>
                  <a:gd name="T49" fmla="*/ 0 h 592"/>
                  <a:gd name="T50" fmla="*/ 784 w 784"/>
                  <a:gd name="T51" fmla="*/ 592 h 59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84" h="592">
                    <a:moveTo>
                      <a:pt x="776" y="0"/>
                    </a:moveTo>
                    <a:lnTo>
                      <a:pt x="0" y="0"/>
                    </a:lnTo>
                    <a:lnTo>
                      <a:pt x="0" y="592"/>
                    </a:lnTo>
                    <a:lnTo>
                      <a:pt x="784" y="592"/>
                    </a:lnTo>
                    <a:lnTo>
                      <a:pt x="784" y="0"/>
                    </a:lnTo>
                    <a:lnTo>
                      <a:pt x="776" y="0"/>
                    </a:lnTo>
                    <a:close/>
                    <a:moveTo>
                      <a:pt x="768" y="16"/>
                    </a:moveTo>
                    <a:lnTo>
                      <a:pt x="768" y="16"/>
                    </a:lnTo>
                    <a:lnTo>
                      <a:pt x="768" y="576"/>
                    </a:lnTo>
                    <a:lnTo>
                      <a:pt x="16" y="576"/>
                    </a:lnTo>
                    <a:lnTo>
                      <a:pt x="16" y="16"/>
                    </a:lnTo>
                    <a:lnTo>
                      <a:pt x="768"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91" name="Freeform 414">
                <a:extLst>
                  <a:ext uri="{FF2B5EF4-FFF2-40B4-BE49-F238E27FC236}">
                    <a16:creationId xmlns:a16="http://schemas.microsoft.com/office/drawing/2014/main" id="{2345FF5E-3FBD-42F4-9AF8-39DF407BA915}"/>
                  </a:ext>
                </a:extLst>
              </p:cNvPr>
              <p:cNvSpPr>
                <a:spLocks/>
              </p:cNvSpPr>
              <p:nvPr/>
            </p:nvSpPr>
            <p:spPr bwMode="auto">
              <a:xfrm>
                <a:off x="6736045" y="1963701"/>
                <a:ext cx="15864" cy="30522"/>
              </a:xfrm>
              <a:custGeom>
                <a:avLst/>
                <a:gdLst>
                  <a:gd name="T0" fmla="*/ 2147483646 w 58"/>
                  <a:gd name="T1" fmla="*/ 2147483646 h 94"/>
                  <a:gd name="T2" fmla="*/ 2147483646 w 58"/>
                  <a:gd name="T3" fmla="*/ 2147483646 h 94"/>
                  <a:gd name="T4" fmla="*/ 2147483646 w 58"/>
                  <a:gd name="T5" fmla="*/ 2147483646 h 94"/>
                  <a:gd name="T6" fmla="*/ 2147483646 w 58"/>
                  <a:gd name="T7" fmla="*/ 2147483646 h 94"/>
                  <a:gd name="T8" fmla="*/ 2147483646 w 58"/>
                  <a:gd name="T9" fmla="*/ 2147483646 h 94"/>
                  <a:gd name="T10" fmla="*/ 2147483646 w 58"/>
                  <a:gd name="T11" fmla="*/ 2147483646 h 94"/>
                  <a:gd name="T12" fmla="*/ 2147483646 w 58"/>
                  <a:gd name="T13" fmla="*/ 2147483646 h 94"/>
                  <a:gd name="T14" fmla="*/ 2147483646 w 58"/>
                  <a:gd name="T15" fmla="*/ 2147483646 h 94"/>
                  <a:gd name="T16" fmla="*/ 2147483646 w 58"/>
                  <a:gd name="T17" fmla="*/ 2147483646 h 94"/>
                  <a:gd name="T18" fmla="*/ 2147483646 w 58"/>
                  <a:gd name="T19" fmla="*/ 2147483646 h 94"/>
                  <a:gd name="T20" fmla="*/ 2147483646 w 58"/>
                  <a:gd name="T21" fmla="*/ 2147483646 h 94"/>
                  <a:gd name="T22" fmla="*/ 2147483646 w 58"/>
                  <a:gd name="T23" fmla="*/ 2147483646 h 94"/>
                  <a:gd name="T24" fmla="*/ 2147483646 w 58"/>
                  <a:gd name="T25" fmla="*/ 2147483646 h 94"/>
                  <a:gd name="T26" fmla="*/ 2147483646 w 58"/>
                  <a:gd name="T27" fmla="*/ 2147483646 h 94"/>
                  <a:gd name="T28" fmla="*/ 2147483646 w 58"/>
                  <a:gd name="T29" fmla="*/ 2147483646 h 94"/>
                  <a:gd name="T30" fmla="*/ 2147483646 w 58"/>
                  <a:gd name="T31" fmla="*/ 2147483646 h 94"/>
                  <a:gd name="T32" fmla="*/ 2147483646 w 58"/>
                  <a:gd name="T33" fmla="*/ 2147483646 h 94"/>
                  <a:gd name="T34" fmla="*/ 0 w 58"/>
                  <a:gd name="T35" fmla="*/ 2147483646 h 94"/>
                  <a:gd name="T36" fmla="*/ 0 w 58"/>
                  <a:gd name="T37" fmla="*/ 2147483646 h 94"/>
                  <a:gd name="T38" fmla="*/ 0 w 58"/>
                  <a:gd name="T39" fmla="*/ 2147483646 h 94"/>
                  <a:gd name="T40" fmla="*/ 0 w 58"/>
                  <a:gd name="T41" fmla="*/ 2147483646 h 94"/>
                  <a:gd name="T42" fmla="*/ 2147483646 w 58"/>
                  <a:gd name="T43" fmla="*/ 2147483646 h 94"/>
                  <a:gd name="T44" fmla="*/ 2147483646 w 58"/>
                  <a:gd name="T45" fmla="*/ 2147483646 h 94"/>
                  <a:gd name="T46" fmla="*/ 2147483646 w 58"/>
                  <a:gd name="T47" fmla="*/ 2147483646 h 94"/>
                  <a:gd name="T48" fmla="*/ 2147483646 w 58"/>
                  <a:gd name="T49" fmla="*/ 2147483646 h 94"/>
                  <a:gd name="T50" fmla="*/ 2147483646 w 58"/>
                  <a:gd name="T51" fmla="*/ 2147483646 h 94"/>
                  <a:gd name="T52" fmla="*/ 2147483646 w 58"/>
                  <a:gd name="T53" fmla="*/ 2147483646 h 94"/>
                  <a:gd name="T54" fmla="*/ 2147483646 w 58"/>
                  <a:gd name="T55" fmla="*/ 0 h 94"/>
                  <a:gd name="T56" fmla="*/ 2147483646 w 58"/>
                  <a:gd name="T57" fmla="*/ 0 h 94"/>
                  <a:gd name="T58" fmla="*/ 2147483646 w 58"/>
                  <a:gd name="T59" fmla="*/ 2147483646 h 94"/>
                  <a:gd name="T60" fmla="*/ 2147483646 w 58"/>
                  <a:gd name="T61" fmla="*/ 2147483646 h 94"/>
                  <a:gd name="T62" fmla="*/ 2147483646 w 58"/>
                  <a:gd name="T63" fmla="*/ 2147483646 h 94"/>
                  <a:gd name="T64" fmla="*/ 2147483646 w 58"/>
                  <a:gd name="T65" fmla="*/ 2147483646 h 94"/>
                  <a:gd name="T66" fmla="*/ 2147483646 w 58"/>
                  <a:gd name="T67" fmla="*/ 2147483646 h 94"/>
                  <a:gd name="T68" fmla="*/ 2147483646 w 58"/>
                  <a:gd name="T69" fmla="*/ 2147483646 h 94"/>
                  <a:gd name="T70" fmla="*/ 2147483646 w 58"/>
                  <a:gd name="T71" fmla="*/ 2147483646 h 94"/>
                  <a:gd name="T72" fmla="*/ 2147483646 w 58"/>
                  <a:gd name="T73" fmla="*/ 2147483646 h 94"/>
                  <a:gd name="T74" fmla="*/ 2147483646 w 58"/>
                  <a:gd name="T75" fmla="*/ 2147483646 h 9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8"/>
                  <a:gd name="T115" fmla="*/ 0 h 94"/>
                  <a:gd name="T116" fmla="*/ 58 w 58"/>
                  <a:gd name="T117" fmla="*/ 94 h 9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8" h="94">
                    <a:moveTo>
                      <a:pt x="58" y="48"/>
                    </a:moveTo>
                    <a:lnTo>
                      <a:pt x="58" y="48"/>
                    </a:lnTo>
                    <a:lnTo>
                      <a:pt x="58" y="58"/>
                    </a:lnTo>
                    <a:lnTo>
                      <a:pt x="56" y="66"/>
                    </a:lnTo>
                    <a:lnTo>
                      <a:pt x="52" y="74"/>
                    </a:lnTo>
                    <a:lnTo>
                      <a:pt x="50" y="82"/>
                    </a:lnTo>
                    <a:lnTo>
                      <a:pt x="46" y="86"/>
                    </a:lnTo>
                    <a:lnTo>
                      <a:pt x="40" y="92"/>
                    </a:lnTo>
                    <a:lnTo>
                      <a:pt x="34" y="94"/>
                    </a:lnTo>
                    <a:lnTo>
                      <a:pt x="28" y="94"/>
                    </a:lnTo>
                    <a:lnTo>
                      <a:pt x="24" y="94"/>
                    </a:lnTo>
                    <a:lnTo>
                      <a:pt x="18" y="92"/>
                    </a:lnTo>
                    <a:lnTo>
                      <a:pt x="12" y="86"/>
                    </a:lnTo>
                    <a:lnTo>
                      <a:pt x="8" y="82"/>
                    </a:lnTo>
                    <a:lnTo>
                      <a:pt x="4" y="74"/>
                    </a:lnTo>
                    <a:lnTo>
                      <a:pt x="2" y="66"/>
                    </a:lnTo>
                    <a:lnTo>
                      <a:pt x="0" y="58"/>
                    </a:lnTo>
                    <a:lnTo>
                      <a:pt x="0" y="48"/>
                    </a:lnTo>
                    <a:lnTo>
                      <a:pt x="0" y="38"/>
                    </a:lnTo>
                    <a:lnTo>
                      <a:pt x="2" y="30"/>
                    </a:lnTo>
                    <a:lnTo>
                      <a:pt x="4" y="22"/>
                    </a:lnTo>
                    <a:lnTo>
                      <a:pt x="8" y="14"/>
                    </a:lnTo>
                    <a:lnTo>
                      <a:pt x="12" y="8"/>
                    </a:lnTo>
                    <a:lnTo>
                      <a:pt x="18" y="4"/>
                    </a:lnTo>
                    <a:lnTo>
                      <a:pt x="24" y="2"/>
                    </a:lnTo>
                    <a:lnTo>
                      <a:pt x="28" y="0"/>
                    </a:lnTo>
                    <a:lnTo>
                      <a:pt x="34" y="2"/>
                    </a:lnTo>
                    <a:lnTo>
                      <a:pt x="40" y="4"/>
                    </a:lnTo>
                    <a:lnTo>
                      <a:pt x="46" y="8"/>
                    </a:lnTo>
                    <a:lnTo>
                      <a:pt x="50" y="14"/>
                    </a:lnTo>
                    <a:lnTo>
                      <a:pt x="52" y="22"/>
                    </a:lnTo>
                    <a:lnTo>
                      <a:pt x="56" y="30"/>
                    </a:lnTo>
                    <a:lnTo>
                      <a:pt x="58" y="38"/>
                    </a:lnTo>
                    <a:lnTo>
                      <a:pt x="58" y="48"/>
                    </a:lnTo>
                    <a:close/>
                  </a:path>
                </a:pathLst>
              </a:custGeom>
              <a:solidFill>
                <a:srgbClr val="B3E3E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92" name="Freeform 415">
                <a:extLst>
                  <a:ext uri="{FF2B5EF4-FFF2-40B4-BE49-F238E27FC236}">
                    <a16:creationId xmlns:a16="http://schemas.microsoft.com/office/drawing/2014/main" id="{02235226-F092-4C5E-8CD8-ACD95DFCF650}"/>
                  </a:ext>
                </a:extLst>
              </p:cNvPr>
              <p:cNvSpPr>
                <a:spLocks/>
              </p:cNvSpPr>
              <p:nvPr/>
            </p:nvSpPr>
            <p:spPr bwMode="auto">
              <a:xfrm>
                <a:off x="6724010" y="1963701"/>
                <a:ext cx="8206" cy="14936"/>
              </a:xfrm>
              <a:custGeom>
                <a:avLst/>
                <a:gdLst>
                  <a:gd name="T0" fmla="*/ 2147483646 w 30"/>
                  <a:gd name="T1" fmla="*/ 2147483646 h 46"/>
                  <a:gd name="T2" fmla="*/ 2147483646 w 30"/>
                  <a:gd name="T3" fmla="*/ 2147483646 h 46"/>
                  <a:gd name="T4" fmla="*/ 2147483646 w 30"/>
                  <a:gd name="T5" fmla="*/ 2147483646 h 46"/>
                  <a:gd name="T6" fmla="*/ 2147483646 w 30"/>
                  <a:gd name="T7" fmla="*/ 2147483646 h 46"/>
                  <a:gd name="T8" fmla="*/ 2147483646 w 30"/>
                  <a:gd name="T9" fmla="*/ 2147483646 h 46"/>
                  <a:gd name="T10" fmla="*/ 2147483646 w 30"/>
                  <a:gd name="T11" fmla="*/ 2147483646 h 46"/>
                  <a:gd name="T12" fmla="*/ 2147483646 w 30"/>
                  <a:gd name="T13" fmla="*/ 2147483646 h 46"/>
                  <a:gd name="T14" fmla="*/ 2147483646 w 30"/>
                  <a:gd name="T15" fmla="*/ 2147483646 h 46"/>
                  <a:gd name="T16" fmla="*/ 2147483646 w 30"/>
                  <a:gd name="T17" fmla="*/ 2147483646 h 46"/>
                  <a:gd name="T18" fmla="*/ 2147483646 w 30"/>
                  <a:gd name="T19" fmla="*/ 2147483646 h 46"/>
                  <a:gd name="T20" fmla="*/ 0 w 30"/>
                  <a:gd name="T21" fmla="*/ 2147483646 h 46"/>
                  <a:gd name="T22" fmla="*/ 0 w 30"/>
                  <a:gd name="T23" fmla="*/ 2147483646 h 46"/>
                  <a:gd name="T24" fmla="*/ 2147483646 w 30"/>
                  <a:gd name="T25" fmla="*/ 2147483646 h 46"/>
                  <a:gd name="T26" fmla="*/ 2147483646 w 30"/>
                  <a:gd name="T27" fmla="*/ 2147483646 h 46"/>
                  <a:gd name="T28" fmla="*/ 2147483646 w 30"/>
                  <a:gd name="T29" fmla="*/ 2147483646 h 46"/>
                  <a:gd name="T30" fmla="*/ 2147483646 w 30"/>
                  <a:gd name="T31" fmla="*/ 0 h 46"/>
                  <a:gd name="T32" fmla="*/ 2147483646 w 30"/>
                  <a:gd name="T33" fmla="*/ 0 h 46"/>
                  <a:gd name="T34" fmla="*/ 2147483646 w 30"/>
                  <a:gd name="T35" fmla="*/ 2147483646 h 46"/>
                  <a:gd name="T36" fmla="*/ 2147483646 w 30"/>
                  <a:gd name="T37" fmla="*/ 2147483646 h 46"/>
                  <a:gd name="T38" fmla="*/ 2147483646 w 30"/>
                  <a:gd name="T39" fmla="*/ 2147483646 h 46"/>
                  <a:gd name="T40" fmla="*/ 2147483646 w 30"/>
                  <a:gd name="T41" fmla="*/ 2147483646 h 46"/>
                  <a:gd name="T42" fmla="*/ 2147483646 w 30"/>
                  <a:gd name="T43" fmla="*/ 2147483646 h 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0"/>
                  <a:gd name="T67" fmla="*/ 0 h 46"/>
                  <a:gd name="T68" fmla="*/ 30 w 30"/>
                  <a:gd name="T69" fmla="*/ 46 h 4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0" h="46">
                    <a:moveTo>
                      <a:pt x="30" y="24"/>
                    </a:moveTo>
                    <a:lnTo>
                      <a:pt x="30" y="24"/>
                    </a:lnTo>
                    <a:lnTo>
                      <a:pt x="28" y="32"/>
                    </a:lnTo>
                    <a:lnTo>
                      <a:pt x="26" y="40"/>
                    </a:lnTo>
                    <a:lnTo>
                      <a:pt x="20" y="46"/>
                    </a:lnTo>
                    <a:lnTo>
                      <a:pt x="16" y="46"/>
                    </a:lnTo>
                    <a:lnTo>
                      <a:pt x="10" y="46"/>
                    </a:lnTo>
                    <a:lnTo>
                      <a:pt x="6" y="40"/>
                    </a:lnTo>
                    <a:lnTo>
                      <a:pt x="2" y="32"/>
                    </a:lnTo>
                    <a:lnTo>
                      <a:pt x="0" y="24"/>
                    </a:lnTo>
                    <a:lnTo>
                      <a:pt x="2" y="14"/>
                    </a:lnTo>
                    <a:lnTo>
                      <a:pt x="6" y="8"/>
                    </a:lnTo>
                    <a:lnTo>
                      <a:pt x="10" y="2"/>
                    </a:lnTo>
                    <a:lnTo>
                      <a:pt x="16" y="0"/>
                    </a:lnTo>
                    <a:lnTo>
                      <a:pt x="20" y="2"/>
                    </a:lnTo>
                    <a:lnTo>
                      <a:pt x="26" y="8"/>
                    </a:lnTo>
                    <a:lnTo>
                      <a:pt x="28" y="14"/>
                    </a:lnTo>
                    <a:lnTo>
                      <a:pt x="30" y="24"/>
                    </a:lnTo>
                    <a:close/>
                  </a:path>
                </a:pathLst>
              </a:custGeom>
              <a:solidFill>
                <a:srgbClr val="B3E3E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nvGrpSpPr>
              <p:cNvPr id="87293" name="그룹 884">
                <a:extLst>
                  <a:ext uri="{FF2B5EF4-FFF2-40B4-BE49-F238E27FC236}">
                    <a16:creationId xmlns:a16="http://schemas.microsoft.com/office/drawing/2014/main" id="{5BFD761D-ECC8-4DDD-B358-32DACA3B915B}"/>
                  </a:ext>
                </a:extLst>
              </p:cNvPr>
              <p:cNvGrpSpPr>
                <a:grpSpLocks/>
              </p:cNvGrpSpPr>
              <p:nvPr/>
            </p:nvGrpSpPr>
            <p:grpSpPr bwMode="auto">
              <a:xfrm>
                <a:off x="6676148" y="1959134"/>
                <a:ext cx="69201" cy="112341"/>
                <a:chOff x="3279775" y="4476750"/>
                <a:chExt cx="401638" cy="549275"/>
              </a:xfrm>
            </p:grpSpPr>
            <p:sp>
              <p:nvSpPr>
                <p:cNvPr id="87346" name="Freeform 425">
                  <a:extLst>
                    <a:ext uri="{FF2B5EF4-FFF2-40B4-BE49-F238E27FC236}">
                      <a16:creationId xmlns:a16="http://schemas.microsoft.com/office/drawing/2014/main" id="{1E102772-2816-45C7-BA11-91C42A51ACE4}"/>
                    </a:ext>
                  </a:extLst>
                </p:cNvPr>
                <p:cNvSpPr>
                  <a:spLocks/>
                </p:cNvSpPr>
                <p:nvPr/>
              </p:nvSpPr>
              <p:spPr bwMode="auto">
                <a:xfrm>
                  <a:off x="3279775" y="4479925"/>
                  <a:ext cx="112713" cy="50800"/>
                </a:xfrm>
                <a:custGeom>
                  <a:avLst/>
                  <a:gdLst>
                    <a:gd name="T0" fmla="*/ 2147483646 w 143"/>
                    <a:gd name="T1" fmla="*/ 2147483646 h 64"/>
                    <a:gd name="T2" fmla="*/ 2147483646 w 143"/>
                    <a:gd name="T3" fmla="*/ 2147483646 h 64"/>
                    <a:gd name="T4" fmla="*/ 2147483646 w 143"/>
                    <a:gd name="T5" fmla="*/ 2147483646 h 64"/>
                    <a:gd name="T6" fmla="*/ 2147483646 w 143"/>
                    <a:gd name="T7" fmla="*/ 2147483646 h 64"/>
                    <a:gd name="T8" fmla="*/ 2147483646 w 143"/>
                    <a:gd name="T9" fmla="*/ 2147483646 h 64"/>
                    <a:gd name="T10" fmla="*/ 2147483646 w 143"/>
                    <a:gd name="T11" fmla="*/ 2147483646 h 64"/>
                    <a:gd name="T12" fmla="*/ 2147483646 w 143"/>
                    <a:gd name="T13" fmla="*/ 0 h 64"/>
                    <a:gd name="T14" fmla="*/ 2147483646 w 143"/>
                    <a:gd name="T15" fmla="*/ 2147483646 h 64"/>
                    <a:gd name="T16" fmla="*/ 2147483646 w 143"/>
                    <a:gd name="T17" fmla="*/ 2147483646 h 64"/>
                    <a:gd name="T18" fmla="*/ 2147483646 w 143"/>
                    <a:gd name="T19" fmla="*/ 2147483646 h 64"/>
                    <a:gd name="T20" fmla="*/ 2147483646 w 143"/>
                    <a:gd name="T21" fmla="*/ 2147483646 h 64"/>
                    <a:gd name="T22" fmla="*/ 2147483646 w 143"/>
                    <a:gd name="T23" fmla="*/ 2147483646 h 64"/>
                    <a:gd name="T24" fmla="*/ 2147483646 w 143"/>
                    <a:gd name="T25" fmla="*/ 2147483646 h 64"/>
                    <a:gd name="T26" fmla="*/ 2147483646 w 143"/>
                    <a:gd name="T27" fmla="*/ 2147483646 h 64"/>
                    <a:gd name="T28" fmla="*/ 2147483646 w 143"/>
                    <a:gd name="T29" fmla="*/ 2147483646 h 64"/>
                    <a:gd name="T30" fmla="*/ 2147483646 w 143"/>
                    <a:gd name="T31" fmla="*/ 2147483646 h 64"/>
                    <a:gd name="T32" fmla="*/ 2147483646 w 143"/>
                    <a:gd name="T33" fmla="*/ 2147483646 h 64"/>
                    <a:gd name="T34" fmla="*/ 2147483646 w 143"/>
                    <a:gd name="T35" fmla="*/ 2147483646 h 64"/>
                    <a:gd name="T36" fmla="*/ 2147483646 w 143"/>
                    <a:gd name="T37" fmla="*/ 2147483646 h 64"/>
                    <a:gd name="T38" fmla="*/ 2147483646 w 143"/>
                    <a:gd name="T39" fmla="*/ 2147483646 h 64"/>
                    <a:gd name="T40" fmla="*/ 2147483646 w 143"/>
                    <a:gd name="T41" fmla="*/ 2147483646 h 64"/>
                    <a:gd name="T42" fmla="*/ 2147483646 w 143"/>
                    <a:gd name="T43" fmla="*/ 2147483646 h 64"/>
                    <a:gd name="T44" fmla="*/ 2147483646 w 143"/>
                    <a:gd name="T45" fmla="*/ 2147483646 h 64"/>
                    <a:gd name="T46" fmla="*/ 2147483646 w 143"/>
                    <a:gd name="T47" fmla="*/ 2147483646 h 64"/>
                    <a:gd name="T48" fmla="*/ 2147483646 w 143"/>
                    <a:gd name="T49" fmla="*/ 2147483646 h 64"/>
                    <a:gd name="T50" fmla="*/ 2147483646 w 143"/>
                    <a:gd name="T51" fmla="*/ 2147483646 h 64"/>
                    <a:gd name="T52" fmla="*/ 2147483646 w 143"/>
                    <a:gd name="T53" fmla="*/ 2147483646 h 64"/>
                    <a:gd name="T54" fmla="*/ 0 w 143"/>
                    <a:gd name="T55" fmla="*/ 2147483646 h 64"/>
                    <a:gd name="T56" fmla="*/ 2147483646 w 143"/>
                    <a:gd name="T57" fmla="*/ 2147483646 h 64"/>
                    <a:gd name="T58" fmla="*/ 2147483646 w 143"/>
                    <a:gd name="T59" fmla="*/ 2147483646 h 64"/>
                    <a:gd name="T60" fmla="*/ 2147483646 w 143"/>
                    <a:gd name="T61" fmla="*/ 2147483646 h 64"/>
                    <a:gd name="T62" fmla="*/ 2147483646 w 143"/>
                    <a:gd name="T63" fmla="*/ 2147483646 h 64"/>
                    <a:gd name="T64" fmla="*/ 2147483646 w 143"/>
                    <a:gd name="T65" fmla="*/ 2147483646 h 64"/>
                    <a:gd name="T66" fmla="*/ 2147483646 w 143"/>
                    <a:gd name="T67" fmla="*/ 2147483646 h 64"/>
                    <a:gd name="T68" fmla="*/ 2147483646 w 143"/>
                    <a:gd name="T69" fmla="*/ 2147483646 h 64"/>
                    <a:gd name="T70" fmla="*/ 2147483646 w 143"/>
                    <a:gd name="T71" fmla="*/ 2147483646 h 64"/>
                    <a:gd name="T72" fmla="*/ 2147483646 w 143"/>
                    <a:gd name="T73" fmla="*/ 2147483646 h 64"/>
                    <a:gd name="T74" fmla="*/ 2147483646 w 143"/>
                    <a:gd name="T75" fmla="*/ 2147483646 h 64"/>
                    <a:gd name="T76" fmla="*/ 2147483646 w 143"/>
                    <a:gd name="T77" fmla="*/ 2147483646 h 64"/>
                    <a:gd name="T78" fmla="*/ 2147483646 w 143"/>
                    <a:gd name="T79" fmla="*/ 2147483646 h 64"/>
                    <a:gd name="T80" fmla="*/ 2147483646 w 143"/>
                    <a:gd name="T81" fmla="*/ 2147483646 h 64"/>
                    <a:gd name="T82" fmla="*/ 2147483646 w 143"/>
                    <a:gd name="T83" fmla="*/ 2147483646 h 64"/>
                    <a:gd name="T84" fmla="*/ 2147483646 w 143"/>
                    <a:gd name="T85" fmla="*/ 2147483646 h 64"/>
                    <a:gd name="T86" fmla="*/ 2147483646 w 143"/>
                    <a:gd name="T87" fmla="*/ 2147483646 h 64"/>
                    <a:gd name="T88" fmla="*/ 2147483646 w 143"/>
                    <a:gd name="T89" fmla="*/ 2147483646 h 64"/>
                    <a:gd name="T90" fmla="*/ 2147483646 w 143"/>
                    <a:gd name="T91" fmla="*/ 2147483646 h 64"/>
                    <a:gd name="T92" fmla="*/ 2147483646 w 143"/>
                    <a:gd name="T93" fmla="*/ 2147483646 h 64"/>
                    <a:gd name="T94" fmla="*/ 2147483646 w 143"/>
                    <a:gd name="T95" fmla="*/ 2147483646 h 64"/>
                    <a:gd name="T96" fmla="*/ 2147483646 w 143"/>
                    <a:gd name="T97" fmla="*/ 2147483646 h 64"/>
                    <a:gd name="T98" fmla="*/ 2147483646 w 143"/>
                    <a:gd name="T99" fmla="*/ 2147483646 h 64"/>
                    <a:gd name="T100" fmla="*/ 2147483646 w 143"/>
                    <a:gd name="T101" fmla="*/ 2147483646 h 64"/>
                    <a:gd name="T102" fmla="*/ 2147483646 w 143"/>
                    <a:gd name="T103" fmla="*/ 2147483646 h 64"/>
                    <a:gd name="T104" fmla="*/ 2147483646 w 143"/>
                    <a:gd name="T105" fmla="*/ 2147483646 h 64"/>
                    <a:gd name="T106" fmla="*/ 2147483646 w 143"/>
                    <a:gd name="T107" fmla="*/ 2147483646 h 64"/>
                    <a:gd name="T108" fmla="*/ 2147483646 w 143"/>
                    <a:gd name="T109" fmla="*/ 2147483646 h 64"/>
                    <a:gd name="T110" fmla="*/ 2147483646 w 143"/>
                    <a:gd name="T111" fmla="*/ 2147483646 h 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3"/>
                    <a:gd name="T169" fmla="*/ 0 h 64"/>
                    <a:gd name="T170" fmla="*/ 143 w 143"/>
                    <a:gd name="T171" fmla="*/ 64 h 6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3" h="64">
                      <a:moveTo>
                        <a:pt x="143" y="44"/>
                      </a:moveTo>
                      <a:lnTo>
                        <a:pt x="141" y="40"/>
                      </a:lnTo>
                      <a:lnTo>
                        <a:pt x="139" y="35"/>
                      </a:lnTo>
                      <a:lnTo>
                        <a:pt x="137" y="30"/>
                      </a:lnTo>
                      <a:lnTo>
                        <a:pt x="136" y="26"/>
                      </a:lnTo>
                      <a:lnTo>
                        <a:pt x="134" y="19"/>
                      </a:lnTo>
                      <a:lnTo>
                        <a:pt x="134" y="18"/>
                      </a:lnTo>
                      <a:lnTo>
                        <a:pt x="133" y="18"/>
                      </a:lnTo>
                      <a:lnTo>
                        <a:pt x="133" y="17"/>
                      </a:lnTo>
                      <a:lnTo>
                        <a:pt x="131" y="15"/>
                      </a:lnTo>
                      <a:lnTo>
                        <a:pt x="129" y="15"/>
                      </a:lnTo>
                      <a:lnTo>
                        <a:pt x="128" y="17"/>
                      </a:lnTo>
                      <a:lnTo>
                        <a:pt x="126" y="18"/>
                      </a:lnTo>
                      <a:lnTo>
                        <a:pt x="123" y="22"/>
                      </a:lnTo>
                      <a:lnTo>
                        <a:pt x="121" y="27"/>
                      </a:lnTo>
                      <a:lnTo>
                        <a:pt x="120" y="33"/>
                      </a:lnTo>
                      <a:lnTo>
                        <a:pt x="118" y="37"/>
                      </a:lnTo>
                      <a:lnTo>
                        <a:pt x="115" y="43"/>
                      </a:lnTo>
                      <a:lnTo>
                        <a:pt x="114" y="35"/>
                      </a:lnTo>
                      <a:lnTo>
                        <a:pt x="113" y="26"/>
                      </a:lnTo>
                      <a:lnTo>
                        <a:pt x="112" y="18"/>
                      </a:lnTo>
                      <a:lnTo>
                        <a:pt x="111" y="10"/>
                      </a:lnTo>
                      <a:lnTo>
                        <a:pt x="108" y="3"/>
                      </a:lnTo>
                      <a:lnTo>
                        <a:pt x="108" y="2"/>
                      </a:lnTo>
                      <a:lnTo>
                        <a:pt x="107" y="2"/>
                      </a:lnTo>
                      <a:lnTo>
                        <a:pt x="107" y="0"/>
                      </a:lnTo>
                      <a:lnTo>
                        <a:pt x="106" y="0"/>
                      </a:lnTo>
                      <a:lnTo>
                        <a:pt x="105" y="0"/>
                      </a:lnTo>
                      <a:lnTo>
                        <a:pt x="103" y="0"/>
                      </a:lnTo>
                      <a:lnTo>
                        <a:pt x="101" y="3"/>
                      </a:lnTo>
                      <a:lnTo>
                        <a:pt x="100" y="4"/>
                      </a:lnTo>
                      <a:lnTo>
                        <a:pt x="99" y="10"/>
                      </a:lnTo>
                      <a:lnTo>
                        <a:pt x="97" y="14"/>
                      </a:lnTo>
                      <a:lnTo>
                        <a:pt x="95" y="19"/>
                      </a:lnTo>
                      <a:lnTo>
                        <a:pt x="92" y="25"/>
                      </a:lnTo>
                      <a:lnTo>
                        <a:pt x="90" y="29"/>
                      </a:lnTo>
                      <a:lnTo>
                        <a:pt x="90" y="27"/>
                      </a:lnTo>
                      <a:lnTo>
                        <a:pt x="90" y="26"/>
                      </a:lnTo>
                      <a:lnTo>
                        <a:pt x="90" y="24"/>
                      </a:lnTo>
                      <a:lnTo>
                        <a:pt x="89" y="22"/>
                      </a:lnTo>
                      <a:lnTo>
                        <a:pt x="86" y="17"/>
                      </a:lnTo>
                      <a:lnTo>
                        <a:pt x="86" y="15"/>
                      </a:lnTo>
                      <a:lnTo>
                        <a:pt x="85" y="15"/>
                      </a:lnTo>
                      <a:lnTo>
                        <a:pt x="85" y="14"/>
                      </a:lnTo>
                      <a:lnTo>
                        <a:pt x="84" y="14"/>
                      </a:lnTo>
                      <a:lnTo>
                        <a:pt x="83" y="14"/>
                      </a:lnTo>
                      <a:lnTo>
                        <a:pt x="81" y="14"/>
                      </a:lnTo>
                      <a:lnTo>
                        <a:pt x="80" y="15"/>
                      </a:lnTo>
                      <a:lnTo>
                        <a:pt x="78" y="17"/>
                      </a:lnTo>
                      <a:lnTo>
                        <a:pt x="76" y="22"/>
                      </a:lnTo>
                      <a:lnTo>
                        <a:pt x="75" y="27"/>
                      </a:lnTo>
                      <a:lnTo>
                        <a:pt x="73" y="30"/>
                      </a:lnTo>
                      <a:lnTo>
                        <a:pt x="72" y="34"/>
                      </a:lnTo>
                      <a:lnTo>
                        <a:pt x="69" y="39"/>
                      </a:lnTo>
                      <a:lnTo>
                        <a:pt x="69" y="33"/>
                      </a:lnTo>
                      <a:lnTo>
                        <a:pt x="68" y="28"/>
                      </a:lnTo>
                      <a:lnTo>
                        <a:pt x="68" y="22"/>
                      </a:lnTo>
                      <a:lnTo>
                        <a:pt x="67" y="18"/>
                      </a:lnTo>
                      <a:lnTo>
                        <a:pt x="63" y="5"/>
                      </a:lnTo>
                      <a:lnTo>
                        <a:pt x="63" y="4"/>
                      </a:lnTo>
                      <a:lnTo>
                        <a:pt x="62" y="4"/>
                      </a:lnTo>
                      <a:lnTo>
                        <a:pt x="61" y="3"/>
                      </a:lnTo>
                      <a:lnTo>
                        <a:pt x="60" y="2"/>
                      </a:lnTo>
                      <a:lnTo>
                        <a:pt x="58" y="3"/>
                      </a:lnTo>
                      <a:lnTo>
                        <a:pt x="57" y="4"/>
                      </a:lnTo>
                      <a:lnTo>
                        <a:pt x="53" y="7"/>
                      </a:lnTo>
                      <a:lnTo>
                        <a:pt x="50" y="14"/>
                      </a:lnTo>
                      <a:lnTo>
                        <a:pt x="46" y="21"/>
                      </a:lnTo>
                      <a:lnTo>
                        <a:pt x="43" y="28"/>
                      </a:lnTo>
                      <a:lnTo>
                        <a:pt x="40" y="35"/>
                      </a:lnTo>
                      <a:lnTo>
                        <a:pt x="38" y="40"/>
                      </a:lnTo>
                      <a:lnTo>
                        <a:pt x="35" y="32"/>
                      </a:lnTo>
                      <a:lnTo>
                        <a:pt x="35" y="30"/>
                      </a:lnTo>
                      <a:lnTo>
                        <a:pt x="34" y="30"/>
                      </a:lnTo>
                      <a:lnTo>
                        <a:pt x="32" y="29"/>
                      </a:lnTo>
                      <a:lnTo>
                        <a:pt x="30" y="29"/>
                      </a:lnTo>
                      <a:lnTo>
                        <a:pt x="29" y="29"/>
                      </a:lnTo>
                      <a:lnTo>
                        <a:pt x="27" y="30"/>
                      </a:lnTo>
                      <a:lnTo>
                        <a:pt x="25" y="34"/>
                      </a:lnTo>
                      <a:lnTo>
                        <a:pt x="24" y="32"/>
                      </a:lnTo>
                      <a:lnTo>
                        <a:pt x="24" y="28"/>
                      </a:lnTo>
                      <a:lnTo>
                        <a:pt x="24" y="25"/>
                      </a:lnTo>
                      <a:lnTo>
                        <a:pt x="24" y="22"/>
                      </a:lnTo>
                      <a:lnTo>
                        <a:pt x="23" y="15"/>
                      </a:lnTo>
                      <a:lnTo>
                        <a:pt x="22" y="14"/>
                      </a:lnTo>
                      <a:lnTo>
                        <a:pt x="21" y="12"/>
                      </a:lnTo>
                      <a:lnTo>
                        <a:pt x="19" y="12"/>
                      </a:lnTo>
                      <a:lnTo>
                        <a:pt x="17" y="12"/>
                      </a:lnTo>
                      <a:lnTo>
                        <a:pt x="15" y="13"/>
                      </a:lnTo>
                      <a:lnTo>
                        <a:pt x="14" y="13"/>
                      </a:lnTo>
                      <a:lnTo>
                        <a:pt x="13" y="14"/>
                      </a:lnTo>
                      <a:lnTo>
                        <a:pt x="8" y="21"/>
                      </a:lnTo>
                      <a:lnTo>
                        <a:pt x="5" y="28"/>
                      </a:lnTo>
                      <a:lnTo>
                        <a:pt x="2" y="36"/>
                      </a:lnTo>
                      <a:lnTo>
                        <a:pt x="1" y="43"/>
                      </a:lnTo>
                      <a:lnTo>
                        <a:pt x="0" y="51"/>
                      </a:lnTo>
                      <a:lnTo>
                        <a:pt x="0" y="52"/>
                      </a:lnTo>
                      <a:lnTo>
                        <a:pt x="0" y="55"/>
                      </a:lnTo>
                      <a:lnTo>
                        <a:pt x="2" y="56"/>
                      </a:lnTo>
                      <a:lnTo>
                        <a:pt x="4" y="56"/>
                      </a:lnTo>
                      <a:lnTo>
                        <a:pt x="5" y="56"/>
                      </a:lnTo>
                      <a:lnTo>
                        <a:pt x="7" y="56"/>
                      </a:lnTo>
                      <a:lnTo>
                        <a:pt x="8" y="53"/>
                      </a:lnTo>
                      <a:lnTo>
                        <a:pt x="8" y="52"/>
                      </a:lnTo>
                      <a:lnTo>
                        <a:pt x="9" y="45"/>
                      </a:lnTo>
                      <a:lnTo>
                        <a:pt x="10" y="39"/>
                      </a:lnTo>
                      <a:lnTo>
                        <a:pt x="13" y="32"/>
                      </a:lnTo>
                      <a:lnTo>
                        <a:pt x="15" y="26"/>
                      </a:lnTo>
                      <a:lnTo>
                        <a:pt x="16" y="34"/>
                      </a:lnTo>
                      <a:lnTo>
                        <a:pt x="16" y="41"/>
                      </a:lnTo>
                      <a:lnTo>
                        <a:pt x="16" y="49"/>
                      </a:lnTo>
                      <a:lnTo>
                        <a:pt x="16" y="57"/>
                      </a:lnTo>
                      <a:lnTo>
                        <a:pt x="16" y="59"/>
                      </a:lnTo>
                      <a:lnTo>
                        <a:pt x="16" y="60"/>
                      </a:lnTo>
                      <a:lnTo>
                        <a:pt x="17" y="62"/>
                      </a:lnTo>
                      <a:lnTo>
                        <a:pt x="17" y="63"/>
                      </a:lnTo>
                      <a:lnTo>
                        <a:pt x="19" y="63"/>
                      </a:lnTo>
                      <a:lnTo>
                        <a:pt x="20" y="64"/>
                      </a:lnTo>
                      <a:lnTo>
                        <a:pt x="22" y="64"/>
                      </a:lnTo>
                      <a:lnTo>
                        <a:pt x="23" y="63"/>
                      </a:lnTo>
                      <a:lnTo>
                        <a:pt x="24" y="62"/>
                      </a:lnTo>
                      <a:lnTo>
                        <a:pt x="27" y="58"/>
                      </a:lnTo>
                      <a:lnTo>
                        <a:pt x="28" y="55"/>
                      </a:lnTo>
                      <a:lnTo>
                        <a:pt x="29" y="51"/>
                      </a:lnTo>
                      <a:lnTo>
                        <a:pt x="29" y="48"/>
                      </a:lnTo>
                      <a:lnTo>
                        <a:pt x="30" y="44"/>
                      </a:lnTo>
                      <a:lnTo>
                        <a:pt x="30" y="45"/>
                      </a:lnTo>
                      <a:lnTo>
                        <a:pt x="31" y="47"/>
                      </a:lnTo>
                      <a:lnTo>
                        <a:pt x="31" y="48"/>
                      </a:lnTo>
                      <a:lnTo>
                        <a:pt x="31" y="49"/>
                      </a:lnTo>
                      <a:lnTo>
                        <a:pt x="34" y="52"/>
                      </a:lnTo>
                      <a:lnTo>
                        <a:pt x="34" y="53"/>
                      </a:lnTo>
                      <a:lnTo>
                        <a:pt x="35" y="53"/>
                      </a:lnTo>
                      <a:lnTo>
                        <a:pt x="36" y="55"/>
                      </a:lnTo>
                      <a:lnTo>
                        <a:pt x="38" y="55"/>
                      </a:lnTo>
                      <a:lnTo>
                        <a:pt x="39" y="55"/>
                      </a:lnTo>
                      <a:lnTo>
                        <a:pt x="40" y="53"/>
                      </a:lnTo>
                      <a:lnTo>
                        <a:pt x="44" y="49"/>
                      </a:lnTo>
                      <a:lnTo>
                        <a:pt x="47" y="41"/>
                      </a:lnTo>
                      <a:lnTo>
                        <a:pt x="51" y="33"/>
                      </a:lnTo>
                      <a:lnTo>
                        <a:pt x="54" y="25"/>
                      </a:lnTo>
                      <a:lnTo>
                        <a:pt x="58" y="17"/>
                      </a:lnTo>
                      <a:lnTo>
                        <a:pt x="59" y="25"/>
                      </a:lnTo>
                      <a:lnTo>
                        <a:pt x="60" y="33"/>
                      </a:lnTo>
                      <a:lnTo>
                        <a:pt x="61" y="41"/>
                      </a:lnTo>
                      <a:lnTo>
                        <a:pt x="61" y="49"/>
                      </a:lnTo>
                      <a:lnTo>
                        <a:pt x="62" y="55"/>
                      </a:lnTo>
                      <a:lnTo>
                        <a:pt x="62" y="56"/>
                      </a:lnTo>
                      <a:lnTo>
                        <a:pt x="62" y="57"/>
                      </a:lnTo>
                      <a:lnTo>
                        <a:pt x="63" y="58"/>
                      </a:lnTo>
                      <a:lnTo>
                        <a:pt x="65" y="59"/>
                      </a:lnTo>
                      <a:lnTo>
                        <a:pt x="67" y="59"/>
                      </a:lnTo>
                      <a:lnTo>
                        <a:pt x="68" y="58"/>
                      </a:lnTo>
                      <a:lnTo>
                        <a:pt x="69" y="57"/>
                      </a:lnTo>
                      <a:lnTo>
                        <a:pt x="74" y="50"/>
                      </a:lnTo>
                      <a:lnTo>
                        <a:pt x="76" y="45"/>
                      </a:lnTo>
                      <a:lnTo>
                        <a:pt x="77" y="41"/>
                      </a:lnTo>
                      <a:lnTo>
                        <a:pt x="80" y="36"/>
                      </a:lnTo>
                      <a:lnTo>
                        <a:pt x="82" y="32"/>
                      </a:lnTo>
                      <a:lnTo>
                        <a:pt x="82" y="35"/>
                      </a:lnTo>
                      <a:lnTo>
                        <a:pt x="83" y="39"/>
                      </a:lnTo>
                      <a:lnTo>
                        <a:pt x="83" y="42"/>
                      </a:lnTo>
                      <a:lnTo>
                        <a:pt x="84" y="44"/>
                      </a:lnTo>
                      <a:lnTo>
                        <a:pt x="85" y="48"/>
                      </a:lnTo>
                      <a:lnTo>
                        <a:pt x="86" y="49"/>
                      </a:lnTo>
                      <a:lnTo>
                        <a:pt x="88" y="49"/>
                      </a:lnTo>
                      <a:lnTo>
                        <a:pt x="88" y="50"/>
                      </a:lnTo>
                      <a:lnTo>
                        <a:pt x="89" y="50"/>
                      </a:lnTo>
                      <a:lnTo>
                        <a:pt x="90" y="50"/>
                      </a:lnTo>
                      <a:lnTo>
                        <a:pt x="92" y="50"/>
                      </a:lnTo>
                      <a:lnTo>
                        <a:pt x="93" y="48"/>
                      </a:lnTo>
                      <a:lnTo>
                        <a:pt x="93" y="47"/>
                      </a:lnTo>
                      <a:lnTo>
                        <a:pt x="93" y="44"/>
                      </a:lnTo>
                      <a:lnTo>
                        <a:pt x="96" y="39"/>
                      </a:lnTo>
                      <a:lnTo>
                        <a:pt x="99" y="32"/>
                      </a:lnTo>
                      <a:lnTo>
                        <a:pt x="101" y="26"/>
                      </a:lnTo>
                      <a:lnTo>
                        <a:pt x="104" y="20"/>
                      </a:lnTo>
                      <a:lnTo>
                        <a:pt x="105" y="27"/>
                      </a:lnTo>
                      <a:lnTo>
                        <a:pt x="105" y="34"/>
                      </a:lnTo>
                      <a:lnTo>
                        <a:pt x="106" y="42"/>
                      </a:lnTo>
                      <a:lnTo>
                        <a:pt x="107" y="49"/>
                      </a:lnTo>
                      <a:lnTo>
                        <a:pt x="109" y="55"/>
                      </a:lnTo>
                      <a:lnTo>
                        <a:pt x="111" y="56"/>
                      </a:lnTo>
                      <a:lnTo>
                        <a:pt x="111" y="57"/>
                      </a:lnTo>
                      <a:lnTo>
                        <a:pt x="113" y="58"/>
                      </a:lnTo>
                      <a:lnTo>
                        <a:pt x="114" y="58"/>
                      </a:lnTo>
                      <a:lnTo>
                        <a:pt x="116" y="57"/>
                      </a:lnTo>
                      <a:lnTo>
                        <a:pt x="118" y="56"/>
                      </a:lnTo>
                      <a:lnTo>
                        <a:pt x="120" y="53"/>
                      </a:lnTo>
                      <a:lnTo>
                        <a:pt x="122" y="48"/>
                      </a:lnTo>
                      <a:lnTo>
                        <a:pt x="124" y="43"/>
                      </a:lnTo>
                      <a:lnTo>
                        <a:pt x="127" y="37"/>
                      </a:lnTo>
                      <a:lnTo>
                        <a:pt x="129" y="32"/>
                      </a:lnTo>
                      <a:lnTo>
                        <a:pt x="130" y="36"/>
                      </a:lnTo>
                      <a:lnTo>
                        <a:pt x="131" y="40"/>
                      </a:lnTo>
                      <a:lnTo>
                        <a:pt x="134" y="44"/>
                      </a:lnTo>
                      <a:lnTo>
                        <a:pt x="135" y="49"/>
                      </a:lnTo>
                      <a:lnTo>
                        <a:pt x="136" y="50"/>
                      </a:lnTo>
                      <a:lnTo>
                        <a:pt x="137" y="50"/>
                      </a:lnTo>
                      <a:lnTo>
                        <a:pt x="139" y="50"/>
                      </a:lnTo>
                      <a:lnTo>
                        <a:pt x="141" y="50"/>
                      </a:lnTo>
                      <a:lnTo>
                        <a:pt x="142" y="49"/>
                      </a:lnTo>
                      <a:lnTo>
                        <a:pt x="143" y="48"/>
                      </a:lnTo>
                      <a:lnTo>
                        <a:pt x="143" y="47"/>
                      </a:lnTo>
                      <a:lnTo>
                        <a:pt x="143"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47" name="Freeform 426">
                  <a:extLst>
                    <a:ext uri="{FF2B5EF4-FFF2-40B4-BE49-F238E27FC236}">
                      <a16:creationId xmlns:a16="http://schemas.microsoft.com/office/drawing/2014/main" id="{41C458B1-B403-419D-9115-96FFF5CC7C0C}"/>
                    </a:ext>
                  </a:extLst>
                </p:cNvPr>
                <p:cNvSpPr>
                  <a:spLocks/>
                </p:cNvSpPr>
                <p:nvPr/>
              </p:nvSpPr>
              <p:spPr bwMode="auto">
                <a:xfrm>
                  <a:off x="3419475" y="4479925"/>
                  <a:ext cx="85725" cy="44450"/>
                </a:xfrm>
                <a:custGeom>
                  <a:avLst/>
                  <a:gdLst>
                    <a:gd name="T0" fmla="*/ 2147483646 w 110"/>
                    <a:gd name="T1" fmla="*/ 2147483646 h 56"/>
                    <a:gd name="T2" fmla="*/ 2147483646 w 110"/>
                    <a:gd name="T3" fmla="*/ 2147483646 h 56"/>
                    <a:gd name="T4" fmla="*/ 2147483646 w 110"/>
                    <a:gd name="T5" fmla="*/ 2147483646 h 56"/>
                    <a:gd name="T6" fmla="*/ 2147483646 w 110"/>
                    <a:gd name="T7" fmla="*/ 2147483646 h 56"/>
                    <a:gd name="T8" fmla="*/ 2147483646 w 110"/>
                    <a:gd name="T9" fmla="*/ 2147483646 h 56"/>
                    <a:gd name="T10" fmla="*/ 2147483646 w 110"/>
                    <a:gd name="T11" fmla="*/ 2147483646 h 56"/>
                    <a:gd name="T12" fmla="*/ 2147483646 w 110"/>
                    <a:gd name="T13" fmla="*/ 2147483646 h 56"/>
                    <a:gd name="T14" fmla="*/ 2147483646 w 110"/>
                    <a:gd name="T15" fmla="*/ 2147483646 h 56"/>
                    <a:gd name="T16" fmla="*/ 2147483646 w 110"/>
                    <a:gd name="T17" fmla="*/ 2147483646 h 56"/>
                    <a:gd name="T18" fmla="*/ 2147483646 w 110"/>
                    <a:gd name="T19" fmla="*/ 2147483646 h 56"/>
                    <a:gd name="T20" fmla="*/ 2147483646 w 110"/>
                    <a:gd name="T21" fmla="*/ 0 h 56"/>
                    <a:gd name="T22" fmla="*/ 2147483646 w 110"/>
                    <a:gd name="T23" fmla="*/ 2147483646 h 56"/>
                    <a:gd name="T24" fmla="*/ 2147483646 w 110"/>
                    <a:gd name="T25" fmla="*/ 2147483646 h 56"/>
                    <a:gd name="T26" fmla="*/ 2147483646 w 110"/>
                    <a:gd name="T27" fmla="*/ 2147483646 h 56"/>
                    <a:gd name="T28" fmla="*/ 2147483646 w 110"/>
                    <a:gd name="T29" fmla="*/ 2147483646 h 56"/>
                    <a:gd name="T30" fmla="*/ 2147483646 w 110"/>
                    <a:gd name="T31" fmla="*/ 2147483646 h 56"/>
                    <a:gd name="T32" fmla="*/ 2147483646 w 110"/>
                    <a:gd name="T33" fmla="*/ 2147483646 h 56"/>
                    <a:gd name="T34" fmla="*/ 2147483646 w 110"/>
                    <a:gd name="T35" fmla="*/ 2147483646 h 56"/>
                    <a:gd name="T36" fmla="*/ 2147483646 w 110"/>
                    <a:gd name="T37" fmla="*/ 2147483646 h 56"/>
                    <a:gd name="T38" fmla="*/ 2147483646 w 110"/>
                    <a:gd name="T39" fmla="*/ 2147483646 h 56"/>
                    <a:gd name="T40" fmla="*/ 2147483646 w 110"/>
                    <a:gd name="T41" fmla="*/ 2147483646 h 56"/>
                    <a:gd name="T42" fmla="*/ 2147483646 w 110"/>
                    <a:gd name="T43" fmla="*/ 2147483646 h 56"/>
                    <a:gd name="T44" fmla="*/ 2147483646 w 110"/>
                    <a:gd name="T45" fmla="*/ 0 h 56"/>
                    <a:gd name="T46" fmla="*/ 2147483646 w 110"/>
                    <a:gd name="T47" fmla="*/ 0 h 56"/>
                    <a:gd name="T48" fmla="*/ 2147483646 w 110"/>
                    <a:gd name="T49" fmla="*/ 2147483646 h 56"/>
                    <a:gd name="T50" fmla="*/ 0 w 110"/>
                    <a:gd name="T51" fmla="*/ 2147483646 h 56"/>
                    <a:gd name="T52" fmla="*/ 2147483646 w 110"/>
                    <a:gd name="T53" fmla="*/ 2147483646 h 56"/>
                    <a:gd name="T54" fmla="*/ 2147483646 w 110"/>
                    <a:gd name="T55" fmla="*/ 2147483646 h 56"/>
                    <a:gd name="T56" fmla="*/ 2147483646 w 110"/>
                    <a:gd name="T57" fmla="*/ 2147483646 h 56"/>
                    <a:gd name="T58" fmla="*/ 2147483646 w 110"/>
                    <a:gd name="T59" fmla="*/ 2147483646 h 56"/>
                    <a:gd name="T60" fmla="*/ 2147483646 w 110"/>
                    <a:gd name="T61" fmla="*/ 2147483646 h 56"/>
                    <a:gd name="T62" fmla="*/ 2147483646 w 110"/>
                    <a:gd name="T63" fmla="*/ 2147483646 h 56"/>
                    <a:gd name="T64" fmla="*/ 2147483646 w 110"/>
                    <a:gd name="T65" fmla="*/ 2147483646 h 56"/>
                    <a:gd name="T66" fmla="*/ 2147483646 w 110"/>
                    <a:gd name="T67" fmla="*/ 2147483646 h 56"/>
                    <a:gd name="T68" fmla="*/ 2147483646 w 110"/>
                    <a:gd name="T69" fmla="*/ 2147483646 h 56"/>
                    <a:gd name="T70" fmla="*/ 2147483646 w 110"/>
                    <a:gd name="T71" fmla="*/ 2147483646 h 56"/>
                    <a:gd name="T72" fmla="*/ 2147483646 w 110"/>
                    <a:gd name="T73" fmla="*/ 2147483646 h 56"/>
                    <a:gd name="T74" fmla="*/ 2147483646 w 110"/>
                    <a:gd name="T75" fmla="*/ 2147483646 h 56"/>
                    <a:gd name="T76" fmla="*/ 2147483646 w 110"/>
                    <a:gd name="T77" fmla="*/ 2147483646 h 56"/>
                    <a:gd name="T78" fmla="*/ 2147483646 w 110"/>
                    <a:gd name="T79" fmla="*/ 2147483646 h 56"/>
                    <a:gd name="T80" fmla="*/ 2147483646 w 110"/>
                    <a:gd name="T81" fmla="*/ 2147483646 h 56"/>
                    <a:gd name="T82" fmla="*/ 2147483646 w 110"/>
                    <a:gd name="T83" fmla="*/ 2147483646 h 56"/>
                    <a:gd name="T84" fmla="*/ 2147483646 w 110"/>
                    <a:gd name="T85" fmla="*/ 2147483646 h 56"/>
                    <a:gd name="T86" fmla="*/ 2147483646 w 110"/>
                    <a:gd name="T87" fmla="*/ 2147483646 h 56"/>
                    <a:gd name="T88" fmla="*/ 2147483646 w 110"/>
                    <a:gd name="T89" fmla="*/ 2147483646 h 56"/>
                    <a:gd name="T90" fmla="*/ 2147483646 w 110"/>
                    <a:gd name="T91" fmla="*/ 2147483646 h 56"/>
                    <a:gd name="T92" fmla="*/ 2147483646 w 110"/>
                    <a:gd name="T93" fmla="*/ 2147483646 h 56"/>
                    <a:gd name="T94" fmla="*/ 2147483646 w 110"/>
                    <a:gd name="T95" fmla="*/ 2147483646 h 56"/>
                    <a:gd name="T96" fmla="*/ 2147483646 w 110"/>
                    <a:gd name="T97" fmla="*/ 2147483646 h 56"/>
                    <a:gd name="T98" fmla="*/ 2147483646 w 110"/>
                    <a:gd name="T99" fmla="*/ 2147483646 h 56"/>
                    <a:gd name="T100" fmla="*/ 2147483646 w 110"/>
                    <a:gd name="T101" fmla="*/ 2147483646 h 56"/>
                    <a:gd name="T102" fmla="*/ 2147483646 w 110"/>
                    <a:gd name="T103" fmla="*/ 2147483646 h 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0"/>
                    <a:gd name="T157" fmla="*/ 0 h 56"/>
                    <a:gd name="T158" fmla="*/ 110 w 110"/>
                    <a:gd name="T159" fmla="*/ 56 h 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0" h="56">
                      <a:moveTo>
                        <a:pt x="107" y="39"/>
                      </a:moveTo>
                      <a:lnTo>
                        <a:pt x="105" y="35"/>
                      </a:lnTo>
                      <a:lnTo>
                        <a:pt x="102" y="32"/>
                      </a:lnTo>
                      <a:lnTo>
                        <a:pt x="100" y="28"/>
                      </a:lnTo>
                      <a:lnTo>
                        <a:pt x="99" y="24"/>
                      </a:lnTo>
                      <a:lnTo>
                        <a:pt x="96" y="14"/>
                      </a:lnTo>
                      <a:lnTo>
                        <a:pt x="96" y="13"/>
                      </a:lnTo>
                      <a:lnTo>
                        <a:pt x="95" y="12"/>
                      </a:lnTo>
                      <a:lnTo>
                        <a:pt x="92" y="10"/>
                      </a:lnTo>
                      <a:lnTo>
                        <a:pt x="91" y="9"/>
                      </a:lnTo>
                      <a:lnTo>
                        <a:pt x="89" y="9"/>
                      </a:lnTo>
                      <a:lnTo>
                        <a:pt x="88" y="10"/>
                      </a:lnTo>
                      <a:lnTo>
                        <a:pt x="85" y="11"/>
                      </a:lnTo>
                      <a:lnTo>
                        <a:pt x="83" y="17"/>
                      </a:lnTo>
                      <a:lnTo>
                        <a:pt x="82" y="19"/>
                      </a:lnTo>
                      <a:lnTo>
                        <a:pt x="81" y="22"/>
                      </a:lnTo>
                      <a:lnTo>
                        <a:pt x="80" y="26"/>
                      </a:lnTo>
                      <a:lnTo>
                        <a:pt x="79" y="29"/>
                      </a:lnTo>
                      <a:lnTo>
                        <a:pt x="77" y="25"/>
                      </a:lnTo>
                      <a:lnTo>
                        <a:pt x="76" y="20"/>
                      </a:lnTo>
                      <a:lnTo>
                        <a:pt x="75" y="17"/>
                      </a:lnTo>
                      <a:lnTo>
                        <a:pt x="74" y="12"/>
                      </a:lnTo>
                      <a:lnTo>
                        <a:pt x="73" y="4"/>
                      </a:lnTo>
                      <a:lnTo>
                        <a:pt x="72" y="3"/>
                      </a:lnTo>
                      <a:lnTo>
                        <a:pt x="72" y="2"/>
                      </a:lnTo>
                      <a:lnTo>
                        <a:pt x="71" y="0"/>
                      </a:lnTo>
                      <a:lnTo>
                        <a:pt x="69" y="0"/>
                      </a:lnTo>
                      <a:lnTo>
                        <a:pt x="67" y="0"/>
                      </a:lnTo>
                      <a:lnTo>
                        <a:pt x="66" y="2"/>
                      </a:lnTo>
                      <a:lnTo>
                        <a:pt x="65" y="3"/>
                      </a:lnTo>
                      <a:lnTo>
                        <a:pt x="61" y="9"/>
                      </a:lnTo>
                      <a:lnTo>
                        <a:pt x="60" y="13"/>
                      </a:lnTo>
                      <a:lnTo>
                        <a:pt x="59" y="19"/>
                      </a:lnTo>
                      <a:lnTo>
                        <a:pt x="58" y="24"/>
                      </a:lnTo>
                      <a:lnTo>
                        <a:pt x="57" y="29"/>
                      </a:lnTo>
                      <a:lnTo>
                        <a:pt x="56" y="26"/>
                      </a:lnTo>
                      <a:lnTo>
                        <a:pt x="54" y="24"/>
                      </a:lnTo>
                      <a:lnTo>
                        <a:pt x="53" y="20"/>
                      </a:lnTo>
                      <a:lnTo>
                        <a:pt x="52" y="18"/>
                      </a:lnTo>
                      <a:lnTo>
                        <a:pt x="47" y="12"/>
                      </a:lnTo>
                      <a:lnTo>
                        <a:pt x="46" y="12"/>
                      </a:lnTo>
                      <a:lnTo>
                        <a:pt x="45" y="11"/>
                      </a:lnTo>
                      <a:lnTo>
                        <a:pt x="44" y="11"/>
                      </a:lnTo>
                      <a:lnTo>
                        <a:pt x="42" y="12"/>
                      </a:lnTo>
                      <a:lnTo>
                        <a:pt x="41" y="13"/>
                      </a:lnTo>
                      <a:lnTo>
                        <a:pt x="36" y="19"/>
                      </a:lnTo>
                      <a:lnTo>
                        <a:pt x="35" y="21"/>
                      </a:lnTo>
                      <a:lnTo>
                        <a:pt x="35" y="24"/>
                      </a:lnTo>
                      <a:lnTo>
                        <a:pt x="34" y="26"/>
                      </a:lnTo>
                      <a:lnTo>
                        <a:pt x="33" y="28"/>
                      </a:lnTo>
                      <a:lnTo>
                        <a:pt x="31" y="25"/>
                      </a:lnTo>
                      <a:lnTo>
                        <a:pt x="31" y="20"/>
                      </a:lnTo>
                      <a:lnTo>
                        <a:pt x="31" y="17"/>
                      </a:lnTo>
                      <a:lnTo>
                        <a:pt x="30" y="12"/>
                      </a:lnTo>
                      <a:lnTo>
                        <a:pt x="26" y="2"/>
                      </a:lnTo>
                      <a:lnTo>
                        <a:pt x="24" y="2"/>
                      </a:lnTo>
                      <a:lnTo>
                        <a:pt x="24" y="0"/>
                      </a:lnTo>
                      <a:lnTo>
                        <a:pt x="23" y="0"/>
                      </a:lnTo>
                      <a:lnTo>
                        <a:pt x="21" y="0"/>
                      </a:lnTo>
                      <a:lnTo>
                        <a:pt x="20" y="0"/>
                      </a:lnTo>
                      <a:lnTo>
                        <a:pt x="19" y="2"/>
                      </a:lnTo>
                      <a:lnTo>
                        <a:pt x="15" y="9"/>
                      </a:lnTo>
                      <a:lnTo>
                        <a:pt x="11" y="19"/>
                      </a:lnTo>
                      <a:lnTo>
                        <a:pt x="7" y="29"/>
                      </a:lnTo>
                      <a:lnTo>
                        <a:pt x="4" y="40"/>
                      </a:lnTo>
                      <a:lnTo>
                        <a:pt x="0" y="50"/>
                      </a:lnTo>
                      <a:lnTo>
                        <a:pt x="0" y="51"/>
                      </a:lnTo>
                      <a:lnTo>
                        <a:pt x="0" y="53"/>
                      </a:lnTo>
                      <a:lnTo>
                        <a:pt x="1" y="55"/>
                      </a:lnTo>
                      <a:lnTo>
                        <a:pt x="3" y="56"/>
                      </a:lnTo>
                      <a:lnTo>
                        <a:pt x="4" y="56"/>
                      </a:lnTo>
                      <a:lnTo>
                        <a:pt x="6" y="56"/>
                      </a:lnTo>
                      <a:lnTo>
                        <a:pt x="7" y="55"/>
                      </a:lnTo>
                      <a:lnTo>
                        <a:pt x="8" y="53"/>
                      </a:lnTo>
                      <a:lnTo>
                        <a:pt x="12" y="44"/>
                      </a:lnTo>
                      <a:lnTo>
                        <a:pt x="15" y="34"/>
                      </a:lnTo>
                      <a:lnTo>
                        <a:pt x="19" y="25"/>
                      </a:lnTo>
                      <a:lnTo>
                        <a:pt x="22" y="15"/>
                      </a:lnTo>
                      <a:lnTo>
                        <a:pt x="23" y="22"/>
                      </a:lnTo>
                      <a:lnTo>
                        <a:pt x="23" y="29"/>
                      </a:lnTo>
                      <a:lnTo>
                        <a:pt x="24" y="36"/>
                      </a:lnTo>
                      <a:lnTo>
                        <a:pt x="26" y="43"/>
                      </a:lnTo>
                      <a:lnTo>
                        <a:pt x="26" y="49"/>
                      </a:lnTo>
                      <a:lnTo>
                        <a:pt x="26" y="50"/>
                      </a:lnTo>
                      <a:lnTo>
                        <a:pt x="27" y="51"/>
                      </a:lnTo>
                      <a:lnTo>
                        <a:pt x="28" y="52"/>
                      </a:lnTo>
                      <a:lnTo>
                        <a:pt x="29" y="52"/>
                      </a:lnTo>
                      <a:lnTo>
                        <a:pt x="30" y="52"/>
                      </a:lnTo>
                      <a:lnTo>
                        <a:pt x="33" y="52"/>
                      </a:lnTo>
                      <a:lnTo>
                        <a:pt x="34" y="50"/>
                      </a:lnTo>
                      <a:lnTo>
                        <a:pt x="34" y="49"/>
                      </a:lnTo>
                      <a:lnTo>
                        <a:pt x="35" y="47"/>
                      </a:lnTo>
                      <a:lnTo>
                        <a:pt x="37" y="41"/>
                      </a:lnTo>
                      <a:lnTo>
                        <a:pt x="39" y="34"/>
                      </a:lnTo>
                      <a:lnTo>
                        <a:pt x="42" y="28"/>
                      </a:lnTo>
                      <a:lnTo>
                        <a:pt x="44" y="22"/>
                      </a:lnTo>
                      <a:lnTo>
                        <a:pt x="46" y="27"/>
                      </a:lnTo>
                      <a:lnTo>
                        <a:pt x="49" y="30"/>
                      </a:lnTo>
                      <a:lnTo>
                        <a:pt x="50" y="35"/>
                      </a:lnTo>
                      <a:lnTo>
                        <a:pt x="51" y="40"/>
                      </a:lnTo>
                      <a:lnTo>
                        <a:pt x="52" y="47"/>
                      </a:lnTo>
                      <a:lnTo>
                        <a:pt x="52" y="48"/>
                      </a:lnTo>
                      <a:lnTo>
                        <a:pt x="53" y="49"/>
                      </a:lnTo>
                      <a:lnTo>
                        <a:pt x="54" y="50"/>
                      </a:lnTo>
                      <a:lnTo>
                        <a:pt x="56" y="50"/>
                      </a:lnTo>
                      <a:lnTo>
                        <a:pt x="58" y="50"/>
                      </a:lnTo>
                      <a:lnTo>
                        <a:pt x="59" y="49"/>
                      </a:lnTo>
                      <a:lnTo>
                        <a:pt x="60" y="48"/>
                      </a:lnTo>
                      <a:lnTo>
                        <a:pt x="61" y="44"/>
                      </a:lnTo>
                      <a:lnTo>
                        <a:pt x="64" y="39"/>
                      </a:lnTo>
                      <a:lnTo>
                        <a:pt x="65" y="34"/>
                      </a:lnTo>
                      <a:lnTo>
                        <a:pt x="66" y="28"/>
                      </a:lnTo>
                      <a:lnTo>
                        <a:pt x="67" y="22"/>
                      </a:lnTo>
                      <a:lnTo>
                        <a:pt x="69" y="28"/>
                      </a:lnTo>
                      <a:lnTo>
                        <a:pt x="72" y="35"/>
                      </a:lnTo>
                      <a:lnTo>
                        <a:pt x="73" y="41"/>
                      </a:lnTo>
                      <a:lnTo>
                        <a:pt x="75" y="48"/>
                      </a:lnTo>
                      <a:lnTo>
                        <a:pt x="75" y="50"/>
                      </a:lnTo>
                      <a:lnTo>
                        <a:pt x="75" y="51"/>
                      </a:lnTo>
                      <a:lnTo>
                        <a:pt x="76" y="52"/>
                      </a:lnTo>
                      <a:lnTo>
                        <a:pt x="76" y="53"/>
                      </a:lnTo>
                      <a:lnTo>
                        <a:pt x="77" y="53"/>
                      </a:lnTo>
                      <a:lnTo>
                        <a:pt x="79" y="53"/>
                      </a:lnTo>
                      <a:lnTo>
                        <a:pt x="81" y="53"/>
                      </a:lnTo>
                      <a:lnTo>
                        <a:pt x="82" y="53"/>
                      </a:lnTo>
                      <a:lnTo>
                        <a:pt x="83" y="52"/>
                      </a:lnTo>
                      <a:lnTo>
                        <a:pt x="84" y="48"/>
                      </a:lnTo>
                      <a:lnTo>
                        <a:pt x="85" y="42"/>
                      </a:lnTo>
                      <a:lnTo>
                        <a:pt x="87" y="35"/>
                      </a:lnTo>
                      <a:lnTo>
                        <a:pt x="88" y="28"/>
                      </a:lnTo>
                      <a:lnTo>
                        <a:pt x="90" y="22"/>
                      </a:lnTo>
                      <a:lnTo>
                        <a:pt x="91" y="28"/>
                      </a:lnTo>
                      <a:lnTo>
                        <a:pt x="94" y="35"/>
                      </a:lnTo>
                      <a:lnTo>
                        <a:pt x="97" y="41"/>
                      </a:lnTo>
                      <a:lnTo>
                        <a:pt x="103" y="45"/>
                      </a:lnTo>
                      <a:lnTo>
                        <a:pt x="104" y="47"/>
                      </a:lnTo>
                      <a:lnTo>
                        <a:pt x="106" y="47"/>
                      </a:lnTo>
                      <a:lnTo>
                        <a:pt x="107" y="45"/>
                      </a:lnTo>
                      <a:lnTo>
                        <a:pt x="109" y="44"/>
                      </a:lnTo>
                      <a:lnTo>
                        <a:pt x="110" y="43"/>
                      </a:lnTo>
                      <a:lnTo>
                        <a:pt x="110" y="41"/>
                      </a:lnTo>
                      <a:lnTo>
                        <a:pt x="109" y="40"/>
                      </a:lnTo>
                      <a:lnTo>
                        <a:pt x="107"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48" name="Freeform 427">
                  <a:extLst>
                    <a:ext uri="{FF2B5EF4-FFF2-40B4-BE49-F238E27FC236}">
                      <a16:creationId xmlns:a16="http://schemas.microsoft.com/office/drawing/2014/main" id="{33FFA566-7611-4758-8A97-87534323CA93}"/>
                    </a:ext>
                  </a:extLst>
                </p:cNvPr>
                <p:cNvSpPr>
                  <a:spLocks/>
                </p:cNvSpPr>
                <p:nvPr/>
              </p:nvSpPr>
              <p:spPr bwMode="auto">
                <a:xfrm>
                  <a:off x="3562350" y="4916488"/>
                  <a:ext cx="114300" cy="49212"/>
                </a:xfrm>
                <a:custGeom>
                  <a:avLst/>
                  <a:gdLst>
                    <a:gd name="T0" fmla="*/ 2147483646 w 144"/>
                    <a:gd name="T1" fmla="*/ 2147483646 h 62"/>
                    <a:gd name="T2" fmla="*/ 2147483646 w 144"/>
                    <a:gd name="T3" fmla="*/ 2147483646 h 62"/>
                    <a:gd name="T4" fmla="*/ 2147483646 w 144"/>
                    <a:gd name="T5" fmla="*/ 2147483646 h 62"/>
                    <a:gd name="T6" fmla="*/ 2147483646 w 144"/>
                    <a:gd name="T7" fmla="*/ 2147483646 h 62"/>
                    <a:gd name="T8" fmla="*/ 2147483646 w 144"/>
                    <a:gd name="T9" fmla="*/ 2147483646 h 62"/>
                    <a:gd name="T10" fmla="*/ 2147483646 w 144"/>
                    <a:gd name="T11" fmla="*/ 2147483646 h 62"/>
                    <a:gd name="T12" fmla="*/ 2147483646 w 144"/>
                    <a:gd name="T13" fmla="*/ 0 h 62"/>
                    <a:gd name="T14" fmla="*/ 2147483646 w 144"/>
                    <a:gd name="T15" fmla="*/ 2147483646 h 62"/>
                    <a:gd name="T16" fmla="*/ 2147483646 w 144"/>
                    <a:gd name="T17" fmla="*/ 2147483646 h 62"/>
                    <a:gd name="T18" fmla="*/ 2147483646 w 144"/>
                    <a:gd name="T19" fmla="*/ 2147483646 h 62"/>
                    <a:gd name="T20" fmla="*/ 2147483646 w 144"/>
                    <a:gd name="T21" fmla="*/ 2147483646 h 62"/>
                    <a:gd name="T22" fmla="*/ 2147483646 w 144"/>
                    <a:gd name="T23" fmla="*/ 2147483646 h 62"/>
                    <a:gd name="T24" fmla="*/ 2147483646 w 144"/>
                    <a:gd name="T25" fmla="*/ 2147483646 h 62"/>
                    <a:gd name="T26" fmla="*/ 2147483646 w 144"/>
                    <a:gd name="T27" fmla="*/ 2147483646 h 62"/>
                    <a:gd name="T28" fmla="*/ 2147483646 w 144"/>
                    <a:gd name="T29" fmla="*/ 2147483646 h 62"/>
                    <a:gd name="T30" fmla="*/ 2147483646 w 144"/>
                    <a:gd name="T31" fmla="*/ 2147483646 h 62"/>
                    <a:gd name="T32" fmla="*/ 2147483646 w 144"/>
                    <a:gd name="T33" fmla="*/ 2147483646 h 62"/>
                    <a:gd name="T34" fmla="*/ 2147483646 w 144"/>
                    <a:gd name="T35" fmla="*/ 2147483646 h 62"/>
                    <a:gd name="T36" fmla="*/ 2147483646 w 144"/>
                    <a:gd name="T37" fmla="*/ 2147483646 h 62"/>
                    <a:gd name="T38" fmla="*/ 2147483646 w 144"/>
                    <a:gd name="T39" fmla="*/ 2147483646 h 62"/>
                    <a:gd name="T40" fmla="*/ 2147483646 w 144"/>
                    <a:gd name="T41" fmla="*/ 2147483646 h 62"/>
                    <a:gd name="T42" fmla="*/ 2147483646 w 144"/>
                    <a:gd name="T43" fmla="*/ 2147483646 h 62"/>
                    <a:gd name="T44" fmla="*/ 2147483646 w 144"/>
                    <a:gd name="T45" fmla="*/ 2147483646 h 62"/>
                    <a:gd name="T46" fmla="*/ 2147483646 w 144"/>
                    <a:gd name="T47" fmla="*/ 2147483646 h 62"/>
                    <a:gd name="T48" fmla="*/ 2147483646 w 144"/>
                    <a:gd name="T49" fmla="*/ 2147483646 h 62"/>
                    <a:gd name="T50" fmla="*/ 2147483646 w 144"/>
                    <a:gd name="T51" fmla="*/ 2147483646 h 62"/>
                    <a:gd name="T52" fmla="*/ 2147483646 w 144"/>
                    <a:gd name="T53" fmla="*/ 2147483646 h 62"/>
                    <a:gd name="T54" fmla="*/ 0 w 144"/>
                    <a:gd name="T55" fmla="*/ 2147483646 h 62"/>
                    <a:gd name="T56" fmla="*/ 2147483646 w 144"/>
                    <a:gd name="T57" fmla="*/ 2147483646 h 62"/>
                    <a:gd name="T58" fmla="*/ 2147483646 w 144"/>
                    <a:gd name="T59" fmla="*/ 2147483646 h 62"/>
                    <a:gd name="T60" fmla="*/ 2147483646 w 144"/>
                    <a:gd name="T61" fmla="*/ 2147483646 h 62"/>
                    <a:gd name="T62" fmla="*/ 2147483646 w 144"/>
                    <a:gd name="T63" fmla="*/ 2147483646 h 62"/>
                    <a:gd name="T64" fmla="*/ 2147483646 w 144"/>
                    <a:gd name="T65" fmla="*/ 2147483646 h 62"/>
                    <a:gd name="T66" fmla="*/ 2147483646 w 144"/>
                    <a:gd name="T67" fmla="*/ 2147483646 h 62"/>
                    <a:gd name="T68" fmla="*/ 2147483646 w 144"/>
                    <a:gd name="T69" fmla="*/ 2147483646 h 62"/>
                    <a:gd name="T70" fmla="*/ 2147483646 w 144"/>
                    <a:gd name="T71" fmla="*/ 2147483646 h 62"/>
                    <a:gd name="T72" fmla="*/ 2147483646 w 144"/>
                    <a:gd name="T73" fmla="*/ 2147483646 h 62"/>
                    <a:gd name="T74" fmla="*/ 2147483646 w 144"/>
                    <a:gd name="T75" fmla="*/ 2147483646 h 62"/>
                    <a:gd name="T76" fmla="*/ 2147483646 w 144"/>
                    <a:gd name="T77" fmla="*/ 2147483646 h 62"/>
                    <a:gd name="T78" fmla="*/ 2147483646 w 144"/>
                    <a:gd name="T79" fmla="*/ 2147483646 h 62"/>
                    <a:gd name="T80" fmla="*/ 2147483646 w 144"/>
                    <a:gd name="T81" fmla="*/ 2147483646 h 62"/>
                    <a:gd name="T82" fmla="*/ 2147483646 w 144"/>
                    <a:gd name="T83" fmla="*/ 2147483646 h 62"/>
                    <a:gd name="T84" fmla="*/ 2147483646 w 144"/>
                    <a:gd name="T85" fmla="*/ 2147483646 h 62"/>
                    <a:gd name="T86" fmla="*/ 2147483646 w 144"/>
                    <a:gd name="T87" fmla="*/ 2147483646 h 62"/>
                    <a:gd name="T88" fmla="*/ 2147483646 w 144"/>
                    <a:gd name="T89" fmla="*/ 2147483646 h 62"/>
                    <a:gd name="T90" fmla="*/ 2147483646 w 144"/>
                    <a:gd name="T91" fmla="*/ 2147483646 h 62"/>
                    <a:gd name="T92" fmla="*/ 2147483646 w 144"/>
                    <a:gd name="T93" fmla="*/ 2147483646 h 62"/>
                    <a:gd name="T94" fmla="*/ 2147483646 w 144"/>
                    <a:gd name="T95" fmla="*/ 2147483646 h 62"/>
                    <a:gd name="T96" fmla="*/ 2147483646 w 144"/>
                    <a:gd name="T97" fmla="*/ 2147483646 h 62"/>
                    <a:gd name="T98" fmla="*/ 2147483646 w 144"/>
                    <a:gd name="T99" fmla="*/ 2147483646 h 62"/>
                    <a:gd name="T100" fmla="*/ 2147483646 w 144"/>
                    <a:gd name="T101" fmla="*/ 2147483646 h 62"/>
                    <a:gd name="T102" fmla="*/ 2147483646 w 144"/>
                    <a:gd name="T103" fmla="*/ 2147483646 h 62"/>
                    <a:gd name="T104" fmla="*/ 2147483646 w 144"/>
                    <a:gd name="T105" fmla="*/ 2147483646 h 62"/>
                    <a:gd name="T106" fmla="*/ 2147483646 w 144"/>
                    <a:gd name="T107" fmla="*/ 2147483646 h 62"/>
                    <a:gd name="T108" fmla="*/ 2147483646 w 144"/>
                    <a:gd name="T109" fmla="*/ 2147483646 h 62"/>
                    <a:gd name="T110" fmla="*/ 2147483646 w 144"/>
                    <a:gd name="T111" fmla="*/ 2147483646 h 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
                    <a:gd name="T169" fmla="*/ 0 h 62"/>
                    <a:gd name="T170" fmla="*/ 144 w 144"/>
                    <a:gd name="T171" fmla="*/ 62 h 6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 h="62">
                      <a:moveTo>
                        <a:pt x="144" y="44"/>
                      </a:moveTo>
                      <a:lnTo>
                        <a:pt x="142" y="39"/>
                      </a:lnTo>
                      <a:lnTo>
                        <a:pt x="139" y="34"/>
                      </a:lnTo>
                      <a:lnTo>
                        <a:pt x="137" y="29"/>
                      </a:lnTo>
                      <a:lnTo>
                        <a:pt x="136" y="24"/>
                      </a:lnTo>
                      <a:lnTo>
                        <a:pt x="134" y="17"/>
                      </a:lnTo>
                      <a:lnTo>
                        <a:pt x="134" y="16"/>
                      </a:lnTo>
                      <a:lnTo>
                        <a:pt x="132" y="16"/>
                      </a:lnTo>
                      <a:lnTo>
                        <a:pt x="131" y="15"/>
                      </a:lnTo>
                      <a:lnTo>
                        <a:pt x="130" y="15"/>
                      </a:lnTo>
                      <a:lnTo>
                        <a:pt x="128" y="15"/>
                      </a:lnTo>
                      <a:lnTo>
                        <a:pt x="127" y="16"/>
                      </a:lnTo>
                      <a:lnTo>
                        <a:pt x="123" y="21"/>
                      </a:lnTo>
                      <a:lnTo>
                        <a:pt x="122" y="27"/>
                      </a:lnTo>
                      <a:lnTo>
                        <a:pt x="120" y="32"/>
                      </a:lnTo>
                      <a:lnTo>
                        <a:pt x="119" y="37"/>
                      </a:lnTo>
                      <a:lnTo>
                        <a:pt x="116" y="43"/>
                      </a:lnTo>
                      <a:lnTo>
                        <a:pt x="114" y="34"/>
                      </a:lnTo>
                      <a:lnTo>
                        <a:pt x="114" y="25"/>
                      </a:lnTo>
                      <a:lnTo>
                        <a:pt x="113" y="16"/>
                      </a:lnTo>
                      <a:lnTo>
                        <a:pt x="112" y="8"/>
                      </a:lnTo>
                      <a:lnTo>
                        <a:pt x="109" y="2"/>
                      </a:lnTo>
                      <a:lnTo>
                        <a:pt x="108" y="1"/>
                      </a:lnTo>
                      <a:lnTo>
                        <a:pt x="107" y="0"/>
                      </a:lnTo>
                      <a:lnTo>
                        <a:pt x="106" y="0"/>
                      </a:lnTo>
                      <a:lnTo>
                        <a:pt x="105" y="0"/>
                      </a:lnTo>
                      <a:lnTo>
                        <a:pt x="103" y="0"/>
                      </a:lnTo>
                      <a:lnTo>
                        <a:pt x="101" y="1"/>
                      </a:lnTo>
                      <a:lnTo>
                        <a:pt x="101" y="2"/>
                      </a:lnTo>
                      <a:lnTo>
                        <a:pt x="99" y="8"/>
                      </a:lnTo>
                      <a:lnTo>
                        <a:pt x="97" y="13"/>
                      </a:lnTo>
                      <a:lnTo>
                        <a:pt x="96" y="19"/>
                      </a:lnTo>
                      <a:lnTo>
                        <a:pt x="93" y="23"/>
                      </a:lnTo>
                      <a:lnTo>
                        <a:pt x="91" y="29"/>
                      </a:lnTo>
                      <a:lnTo>
                        <a:pt x="90" y="27"/>
                      </a:lnTo>
                      <a:lnTo>
                        <a:pt x="90" y="25"/>
                      </a:lnTo>
                      <a:lnTo>
                        <a:pt x="90" y="23"/>
                      </a:lnTo>
                      <a:lnTo>
                        <a:pt x="90" y="22"/>
                      </a:lnTo>
                      <a:lnTo>
                        <a:pt x="88" y="15"/>
                      </a:lnTo>
                      <a:lnTo>
                        <a:pt x="86" y="15"/>
                      </a:lnTo>
                      <a:lnTo>
                        <a:pt x="86" y="14"/>
                      </a:lnTo>
                      <a:lnTo>
                        <a:pt x="85" y="13"/>
                      </a:lnTo>
                      <a:lnTo>
                        <a:pt x="84" y="13"/>
                      </a:lnTo>
                      <a:lnTo>
                        <a:pt x="82" y="14"/>
                      </a:lnTo>
                      <a:lnTo>
                        <a:pt x="81" y="15"/>
                      </a:lnTo>
                      <a:lnTo>
                        <a:pt x="79" y="16"/>
                      </a:lnTo>
                      <a:lnTo>
                        <a:pt x="77" y="22"/>
                      </a:lnTo>
                      <a:lnTo>
                        <a:pt x="76" y="25"/>
                      </a:lnTo>
                      <a:lnTo>
                        <a:pt x="74" y="29"/>
                      </a:lnTo>
                      <a:lnTo>
                        <a:pt x="73" y="34"/>
                      </a:lnTo>
                      <a:lnTo>
                        <a:pt x="70" y="37"/>
                      </a:lnTo>
                      <a:lnTo>
                        <a:pt x="69" y="31"/>
                      </a:lnTo>
                      <a:lnTo>
                        <a:pt x="69" y="27"/>
                      </a:lnTo>
                      <a:lnTo>
                        <a:pt x="68" y="21"/>
                      </a:lnTo>
                      <a:lnTo>
                        <a:pt x="68" y="16"/>
                      </a:lnTo>
                      <a:lnTo>
                        <a:pt x="65" y="5"/>
                      </a:lnTo>
                      <a:lnTo>
                        <a:pt x="63" y="4"/>
                      </a:lnTo>
                      <a:lnTo>
                        <a:pt x="63" y="2"/>
                      </a:lnTo>
                      <a:lnTo>
                        <a:pt x="62" y="1"/>
                      </a:lnTo>
                      <a:lnTo>
                        <a:pt x="60" y="1"/>
                      </a:lnTo>
                      <a:lnTo>
                        <a:pt x="59" y="2"/>
                      </a:lnTo>
                      <a:lnTo>
                        <a:pt x="56" y="4"/>
                      </a:lnTo>
                      <a:lnTo>
                        <a:pt x="54" y="7"/>
                      </a:lnTo>
                      <a:lnTo>
                        <a:pt x="51" y="13"/>
                      </a:lnTo>
                      <a:lnTo>
                        <a:pt x="47" y="20"/>
                      </a:lnTo>
                      <a:lnTo>
                        <a:pt x="44" y="27"/>
                      </a:lnTo>
                      <a:lnTo>
                        <a:pt x="41" y="34"/>
                      </a:lnTo>
                      <a:lnTo>
                        <a:pt x="38" y="39"/>
                      </a:lnTo>
                      <a:lnTo>
                        <a:pt x="35" y="31"/>
                      </a:lnTo>
                      <a:lnTo>
                        <a:pt x="35" y="30"/>
                      </a:lnTo>
                      <a:lnTo>
                        <a:pt x="33" y="29"/>
                      </a:lnTo>
                      <a:lnTo>
                        <a:pt x="32" y="28"/>
                      </a:lnTo>
                      <a:lnTo>
                        <a:pt x="30" y="28"/>
                      </a:lnTo>
                      <a:lnTo>
                        <a:pt x="29" y="29"/>
                      </a:lnTo>
                      <a:lnTo>
                        <a:pt x="28" y="30"/>
                      </a:lnTo>
                      <a:lnTo>
                        <a:pt x="25" y="34"/>
                      </a:lnTo>
                      <a:lnTo>
                        <a:pt x="25" y="30"/>
                      </a:lnTo>
                      <a:lnTo>
                        <a:pt x="25" y="27"/>
                      </a:lnTo>
                      <a:lnTo>
                        <a:pt x="25" y="24"/>
                      </a:lnTo>
                      <a:lnTo>
                        <a:pt x="24" y="21"/>
                      </a:lnTo>
                      <a:lnTo>
                        <a:pt x="23" y="15"/>
                      </a:lnTo>
                      <a:lnTo>
                        <a:pt x="23" y="13"/>
                      </a:lnTo>
                      <a:lnTo>
                        <a:pt x="22" y="12"/>
                      </a:lnTo>
                      <a:lnTo>
                        <a:pt x="20" y="12"/>
                      </a:lnTo>
                      <a:lnTo>
                        <a:pt x="18" y="12"/>
                      </a:lnTo>
                      <a:lnTo>
                        <a:pt x="16" y="12"/>
                      </a:lnTo>
                      <a:lnTo>
                        <a:pt x="15" y="12"/>
                      </a:lnTo>
                      <a:lnTo>
                        <a:pt x="15" y="13"/>
                      </a:lnTo>
                      <a:lnTo>
                        <a:pt x="14" y="13"/>
                      </a:lnTo>
                      <a:lnTo>
                        <a:pt x="14" y="14"/>
                      </a:lnTo>
                      <a:lnTo>
                        <a:pt x="9" y="21"/>
                      </a:lnTo>
                      <a:lnTo>
                        <a:pt x="6" y="28"/>
                      </a:lnTo>
                      <a:lnTo>
                        <a:pt x="3" y="36"/>
                      </a:lnTo>
                      <a:lnTo>
                        <a:pt x="1" y="43"/>
                      </a:lnTo>
                      <a:lnTo>
                        <a:pt x="0" y="51"/>
                      </a:lnTo>
                      <a:lnTo>
                        <a:pt x="0" y="52"/>
                      </a:lnTo>
                      <a:lnTo>
                        <a:pt x="1" y="54"/>
                      </a:lnTo>
                      <a:lnTo>
                        <a:pt x="2" y="55"/>
                      </a:lnTo>
                      <a:lnTo>
                        <a:pt x="3" y="55"/>
                      </a:lnTo>
                      <a:lnTo>
                        <a:pt x="5" y="55"/>
                      </a:lnTo>
                      <a:lnTo>
                        <a:pt x="7" y="54"/>
                      </a:lnTo>
                      <a:lnTo>
                        <a:pt x="8" y="53"/>
                      </a:lnTo>
                      <a:lnTo>
                        <a:pt x="8" y="52"/>
                      </a:lnTo>
                      <a:lnTo>
                        <a:pt x="9" y="45"/>
                      </a:lnTo>
                      <a:lnTo>
                        <a:pt x="10" y="38"/>
                      </a:lnTo>
                      <a:lnTo>
                        <a:pt x="13" y="31"/>
                      </a:lnTo>
                      <a:lnTo>
                        <a:pt x="16" y="25"/>
                      </a:lnTo>
                      <a:lnTo>
                        <a:pt x="17" y="34"/>
                      </a:lnTo>
                      <a:lnTo>
                        <a:pt x="17" y="40"/>
                      </a:lnTo>
                      <a:lnTo>
                        <a:pt x="17" y="48"/>
                      </a:lnTo>
                      <a:lnTo>
                        <a:pt x="17" y="57"/>
                      </a:lnTo>
                      <a:lnTo>
                        <a:pt x="17" y="59"/>
                      </a:lnTo>
                      <a:lnTo>
                        <a:pt x="17" y="60"/>
                      </a:lnTo>
                      <a:lnTo>
                        <a:pt x="18" y="60"/>
                      </a:lnTo>
                      <a:lnTo>
                        <a:pt x="18" y="61"/>
                      </a:lnTo>
                      <a:lnTo>
                        <a:pt x="20" y="62"/>
                      </a:lnTo>
                      <a:lnTo>
                        <a:pt x="21" y="62"/>
                      </a:lnTo>
                      <a:lnTo>
                        <a:pt x="23" y="62"/>
                      </a:lnTo>
                      <a:lnTo>
                        <a:pt x="24" y="62"/>
                      </a:lnTo>
                      <a:lnTo>
                        <a:pt x="25" y="61"/>
                      </a:lnTo>
                      <a:lnTo>
                        <a:pt x="27" y="58"/>
                      </a:lnTo>
                      <a:lnTo>
                        <a:pt x="28" y="54"/>
                      </a:lnTo>
                      <a:lnTo>
                        <a:pt x="29" y="51"/>
                      </a:lnTo>
                      <a:lnTo>
                        <a:pt x="29" y="47"/>
                      </a:lnTo>
                      <a:lnTo>
                        <a:pt x="30" y="44"/>
                      </a:lnTo>
                      <a:lnTo>
                        <a:pt x="31" y="45"/>
                      </a:lnTo>
                      <a:lnTo>
                        <a:pt x="31" y="46"/>
                      </a:lnTo>
                      <a:lnTo>
                        <a:pt x="32" y="47"/>
                      </a:lnTo>
                      <a:lnTo>
                        <a:pt x="35" y="52"/>
                      </a:lnTo>
                      <a:lnTo>
                        <a:pt x="35" y="53"/>
                      </a:lnTo>
                      <a:lnTo>
                        <a:pt x="37" y="54"/>
                      </a:lnTo>
                      <a:lnTo>
                        <a:pt x="38" y="54"/>
                      </a:lnTo>
                      <a:lnTo>
                        <a:pt x="40" y="53"/>
                      </a:lnTo>
                      <a:lnTo>
                        <a:pt x="41" y="52"/>
                      </a:lnTo>
                      <a:lnTo>
                        <a:pt x="45" y="47"/>
                      </a:lnTo>
                      <a:lnTo>
                        <a:pt x="48" y="39"/>
                      </a:lnTo>
                      <a:lnTo>
                        <a:pt x="52" y="31"/>
                      </a:lnTo>
                      <a:lnTo>
                        <a:pt x="55" y="24"/>
                      </a:lnTo>
                      <a:lnTo>
                        <a:pt x="59" y="16"/>
                      </a:lnTo>
                      <a:lnTo>
                        <a:pt x="60" y="24"/>
                      </a:lnTo>
                      <a:lnTo>
                        <a:pt x="61" y="32"/>
                      </a:lnTo>
                      <a:lnTo>
                        <a:pt x="62" y="40"/>
                      </a:lnTo>
                      <a:lnTo>
                        <a:pt x="62" y="48"/>
                      </a:lnTo>
                      <a:lnTo>
                        <a:pt x="62" y="54"/>
                      </a:lnTo>
                      <a:lnTo>
                        <a:pt x="62" y="55"/>
                      </a:lnTo>
                      <a:lnTo>
                        <a:pt x="63" y="55"/>
                      </a:lnTo>
                      <a:lnTo>
                        <a:pt x="63" y="57"/>
                      </a:lnTo>
                      <a:lnTo>
                        <a:pt x="66" y="58"/>
                      </a:lnTo>
                      <a:lnTo>
                        <a:pt x="67" y="58"/>
                      </a:lnTo>
                      <a:lnTo>
                        <a:pt x="69" y="58"/>
                      </a:lnTo>
                      <a:lnTo>
                        <a:pt x="70" y="57"/>
                      </a:lnTo>
                      <a:lnTo>
                        <a:pt x="75" y="50"/>
                      </a:lnTo>
                      <a:lnTo>
                        <a:pt x="76" y="45"/>
                      </a:lnTo>
                      <a:lnTo>
                        <a:pt x="78" y="40"/>
                      </a:lnTo>
                      <a:lnTo>
                        <a:pt x="79" y="36"/>
                      </a:lnTo>
                      <a:lnTo>
                        <a:pt x="82" y="31"/>
                      </a:lnTo>
                      <a:lnTo>
                        <a:pt x="83" y="34"/>
                      </a:lnTo>
                      <a:lnTo>
                        <a:pt x="83" y="37"/>
                      </a:lnTo>
                      <a:lnTo>
                        <a:pt x="84" y="40"/>
                      </a:lnTo>
                      <a:lnTo>
                        <a:pt x="85" y="44"/>
                      </a:lnTo>
                      <a:lnTo>
                        <a:pt x="86" y="47"/>
                      </a:lnTo>
                      <a:lnTo>
                        <a:pt x="86" y="48"/>
                      </a:lnTo>
                      <a:lnTo>
                        <a:pt x="88" y="48"/>
                      </a:lnTo>
                      <a:lnTo>
                        <a:pt x="88" y="50"/>
                      </a:lnTo>
                      <a:lnTo>
                        <a:pt x="89" y="50"/>
                      </a:lnTo>
                      <a:lnTo>
                        <a:pt x="90" y="50"/>
                      </a:lnTo>
                      <a:lnTo>
                        <a:pt x="92" y="48"/>
                      </a:lnTo>
                      <a:lnTo>
                        <a:pt x="93" y="47"/>
                      </a:lnTo>
                      <a:lnTo>
                        <a:pt x="94" y="46"/>
                      </a:lnTo>
                      <a:lnTo>
                        <a:pt x="94" y="44"/>
                      </a:lnTo>
                      <a:lnTo>
                        <a:pt x="97" y="38"/>
                      </a:lnTo>
                      <a:lnTo>
                        <a:pt x="99" y="31"/>
                      </a:lnTo>
                      <a:lnTo>
                        <a:pt x="103" y="25"/>
                      </a:lnTo>
                      <a:lnTo>
                        <a:pt x="105" y="20"/>
                      </a:lnTo>
                      <a:lnTo>
                        <a:pt x="105" y="27"/>
                      </a:lnTo>
                      <a:lnTo>
                        <a:pt x="106" y="34"/>
                      </a:lnTo>
                      <a:lnTo>
                        <a:pt x="106" y="42"/>
                      </a:lnTo>
                      <a:lnTo>
                        <a:pt x="108" y="48"/>
                      </a:lnTo>
                      <a:lnTo>
                        <a:pt x="111" y="53"/>
                      </a:lnTo>
                      <a:lnTo>
                        <a:pt x="111" y="54"/>
                      </a:lnTo>
                      <a:lnTo>
                        <a:pt x="111" y="55"/>
                      </a:lnTo>
                      <a:lnTo>
                        <a:pt x="112" y="55"/>
                      </a:lnTo>
                      <a:lnTo>
                        <a:pt x="113" y="57"/>
                      </a:lnTo>
                      <a:lnTo>
                        <a:pt x="115" y="57"/>
                      </a:lnTo>
                      <a:lnTo>
                        <a:pt x="116" y="57"/>
                      </a:lnTo>
                      <a:lnTo>
                        <a:pt x="117" y="55"/>
                      </a:lnTo>
                      <a:lnTo>
                        <a:pt x="120" y="53"/>
                      </a:lnTo>
                      <a:lnTo>
                        <a:pt x="122" y="47"/>
                      </a:lnTo>
                      <a:lnTo>
                        <a:pt x="124" y="43"/>
                      </a:lnTo>
                      <a:lnTo>
                        <a:pt x="127" y="37"/>
                      </a:lnTo>
                      <a:lnTo>
                        <a:pt x="129" y="31"/>
                      </a:lnTo>
                      <a:lnTo>
                        <a:pt x="131" y="36"/>
                      </a:lnTo>
                      <a:lnTo>
                        <a:pt x="132" y="39"/>
                      </a:lnTo>
                      <a:lnTo>
                        <a:pt x="135" y="44"/>
                      </a:lnTo>
                      <a:lnTo>
                        <a:pt x="136" y="47"/>
                      </a:lnTo>
                      <a:lnTo>
                        <a:pt x="137" y="48"/>
                      </a:lnTo>
                      <a:lnTo>
                        <a:pt x="138" y="50"/>
                      </a:lnTo>
                      <a:lnTo>
                        <a:pt x="140" y="50"/>
                      </a:lnTo>
                      <a:lnTo>
                        <a:pt x="142" y="50"/>
                      </a:lnTo>
                      <a:lnTo>
                        <a:pt x="143" y="48"/>
                      </a:lnTo>
                      <a:lnTo>
                        <a:pt x="144" y="47"/>
                      </a:lnTo>
                      <a:lnTo>
                        <a:pt x="144" y="45"/>
                      </a:lnTo>
                      <a:lnTo>
                        <a:pt x="144"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49" name="Freeform 428">
                  <a:extLst>
                    <a:ext uri="{FF2B5EF4-FFF2-40B4-BE49-F238E27FC236}">
                      <a16:creationId xmlns:a16="http://schemas.microsoft.com/office/drawing/2014/main" id="{3E11F297-C2E2-440E-81A5-F357B233C8A9}"/>
                    </a:ext>
                  </a:extLst>
                </p:cNvPr>
                <p:cNvSpPr>
                  <a:spLocks/>
                </p:cNvSpPr>
                <p:nvPr/>
              </p:nvSpPr>
              <p:spPr bwMode="auto">
                <a:xfrm>
                  <a:off x="3590925" y="4983163"/>
                  <a:ext cx="87313" cy="42862"/>
                </a:xfrm>
                <a:custGeom>
                  <a:avLst/>
                  <a:gdLst>
                    <a:gd name="T0" fmla="*/ 2147483646 w 109"/>
                    <a:gd name="T1" fmla="*/ 2147483646 h 55"/>
                    <a:gd name="T2" fmla="*/ 2147483646 w 109"/>
                    <a:gd name="T3" fmla="*/ 2147483646 h 55"/>
                    <a:gd name="T4" fmla="*/ 2147483646 w 109"/>
                    <a:gd name="T5" fmla="*/ 2147483646 h 55"/>
                    <a:gd name="T6" fmla="*/ 2147483646 w 109"/>
                    <a:gd name="T7" fmla="*/ 2147483646 h 55"/>
                    <a:gd name="T8" fmla="*/ 2147483646 w 109"/>
                    <a:gd name="T9" fmla="*/ 2147483646 h 55"/>
                    <a:gd name="T10" fmla="*/ 2147483646 w 109"/>
                    <a:gd name="T11" fmla="*/ 2147483646 h 55"/>
                    <a:gd name="T12" fmla="*/ 2147483646 w 109"/>
                    <a:gd name="T13" fmla="*/ 2147483646 h 55"/>
                    <a:gd name="T14" fmla="*/ 2147483646 w 109"/>
                    <a:gd name="T15" fmla="*/ 2147483646 h 55"/>
                    <a:gd name="T16" fmla="*/ 2147483646 w 109"/>
                    <a:gd name="T17" fmla="*/ 2147483646 h 55"/>
                    <a:gd name="T18" fmla="*/ 2147483646 w 109"/>
                    <a:gd name="T19" fmla="*/ 2147483646 h 55"/>
                    <a:gd name="T20" fmla="*/ 2147483646 w 109"/>
                    <a:gd name="T21" fmla="*/ 0 h 55"/>
                    <a:gd name="T22" fmla="*/ 2147483646 w 109"/>
                    <a:gd name="T23" fmla="*/ 2147483646 h 55"/>
                    <a:gd name="T24" fmla="*/ 2147483646 w 109"/>
                    <a:gd name="T25" fmla="*/ 2147483646 h 55"/>
                    <a:gd name="T26" fmla="*/ 2147483646 w 109"/>
                    <a:gd name="T27" fmla="*/ 2147483646 h 55"/>
                    <a:gd name="T28" fmla="*/ 2147483646 w 109"/>
                    <a:gd name="T29" fmla="*/ 2147483646 h 55"/>
                    <a:gd name="T30" fmla="*/ 2147483646 w 109"/>
                    <a:gd name="T31" fmla="*/ 2147483646 h 55"/>
                    <a:gd name="T32" fmla="*/ 2147483646 w 109"/>
                    <a:gd name="T33" fmla="*/ 2147483646 h 55"/>
                    <a:gd name="T34" fmla="*/ 2147483646 w 109"/>
                    <a:gd name="T35" fmla="*/ 2147483646 h 55"/>
                    <a:gd name="T36" fmla="*/ 2147483646 w 109"/>
                    <a:gd name="T37" fmla="*/ 2147483646 h 55"/>
                    <a:gd name="T38" fmla="*/ 2147483646 w 109"/>
                    <a:gd name="T39" fmla="*/ 2147483646 h 55"/>
                    <a:gd name="T40" fmla="*/ 2147483646 w 109"/>
                    <a:gd name="T41" fmla="*/ 2147483646 h 55"/>
                    <a:gd name="T42" fmla="*/ 2147483646 w 109"/>
                    <a:gd name="T43" fmla="*/ 2147483646 h 55"/>
                    <a:gd name="T44" fmla="*/ 2147483646 w 109"/>
                    <a:gd name="T45" fmla="*/ 0 h 55"/>
                    <a:gd name="T46" fmla="*/ 2147483646 w 109"/>
                    <a:gd name="T47" fmla="*/ 0 h 55"/>
                    <a:gd name="T48" fmla="*/ 2147483646 w 109"/>
                    <a:gd name="T49" fmla="*/ 2147483646 h 55"/>
                    <a:gd name="T50" fmla="*/ 0 w 109"/>
                    <a:gd name="T51" fmla="*/ 2147483646 h 55"/>
                    <a:gd name="T52" fmla="*/ 2147483646 w 109"/>
                    <a:gd name="T53" fmla="*/ 2147483646 h 55"/>
                    <a:gd name="T54" fmla="*/ 2147483646 w 109"/>
                    <a:gd name="T55" fmla="*/ 2147483646 h 55"/>
                    <a:gd name="T56" fmla="*/ 2147483646 w 109"/>
                    <a:gd name="T57" fmla="*/ 2147483646 h 55"/>
                    <a:gd name="T58" fmla="*/ 2147483646 w 109"/>
                    <a:gd name="T59" fmla="*/ 2147483646 h 55"/>
                    <a:gd name="T60" fmla="*/ 2147483646 w 109"/>
                    <a:gd name="T61" fmla="*/ 2147483646 h 55"/>
                    <a:gd name="T62" fmla="*/ 2147483646 w 109"/>
                    <a:gd name="T63" fmla="*/ 2147483646 h 55"/>
                    <a:gd name="T64" fmla="*/ 2147483646 w 109"/>
                    <a:gd name="T65" fmla="*/ 2147483646 h 55"/>
                    <a:gd name="T66" fmla="*/ 2147483646 w 109"/>
                    <a:gd name="T67" fmla="*/ 2147483646 h 55"/>
                    <a:gd name="T68" fmla="*/ 2147483646 w 109"/>
                    <a:gd name="T69" fmla="*/ 2147483646 h 55"/>
                    <a:gd name="T70" fmla="*/ 2147483646 w 109"/>
                    <a:gd name="T71" fmla="*/ 2147483646 h 55"/>
                    <a:gd name="T72" fmla="*/ 2147483646 w 109"/>
                    <a:gd name="T73" fmla="*/ 2147483646 h 55"/>
                    <a:gd name="T74" fmla="*/ 2147483646 w 109"/>
                    <a:gd name="T75" fmla="*/ 2147483646 h 55"/>
                    <a:gd name="T76" fmla="*/ 2147483646 w 109"/>
                    <a:gd name="T77" fmla="*/ 2147483646 h 55"/>
                    <a:gd name="T78" fmla="*/ 2147483646 w 109"/>
                    <a:gd name="T79" fmla="*/ 2147483646 h 55"/>
                    <a:gd name="T80" fmla="*/ 2147483646 w 109"/>
                    <a:gd name="T81" fmla="*/ 2147483646 h 55"/>
                    <a:gd name="T82" fmla="*/ 2147483646 w 109"/>
                    <a:gd name="T83" fmla="*/ 2147483646 h 55"/>
                    <a:gd name="T84" fmla="*/ 2147483646 w 109"/>
                    <a:gd name="T85" fmla="*/ 2147483646 h 55"/>
                    <a:gd name="T86" fmla="*/ 2147483646 w 109"/>
                    <a:gd name="T87" fmla="*/ 2147483646 h 55"/>
                    <a:gd name="T88" fmla="*/ 2147483646 w 109"/>
                    <a:gd name="T89" fmla="*/ 2147483646 h 55"/>
                    <a:gd name="T90" fmla="*/ 2147483646 w 109"/>
                    <a:gd name="T91" fmla="*/ 2147483646 h 55"/>
                    <a:gd name="T92" fmla="*/ 2147483646 w 109"/>
                    <a:gd name="T93" fmla="*/ 2147483646 h 55"/>
                    <a:gd name="T94" fmla="*/ 2147483646 w 109"/>
                    <a:gd name="T95" fmla="*/ 2147483646 h 55"/>
                    <a:gd name="T96" fmla="*/ 2147483646 w 109"/>
                    <a:gd name="T97" fmla="*/ 2147483646 h 55"/>
                    <a:gd name="T98" fmla="*/ 2147483646 w 109"/>
                    <a:gd name="T99" fmla="*/ 2147483646 h 55"/>
                    <a:gd name="T100" fmla="*/ 2147483646 w 109"/>
                    <a:gd name="T101" fmla="*/ 2147483646 h 55"/>
                    <a:gd name="T102" fmla="*/ 2147483646 w 109"/>
                    <a:gd name="T103" fmla="*/ 2147483646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09"/>
                    <a:gd name="T157" fmla="*/ 0 h 55"/>
                    <a:gd name="T158" fmla="*/ 109 w 109"/>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09" h="55">
                      <a:moveTo>
                        <a:pt x="107" y="38"/>
                      </a:moveTo>
                      <a:lnTo>
                        <a:pt x="104" y="35"/>
                      </a:lnTo>
                      <a:lnTo>
                        <a:pt x="101" y="31"/>
                      </a:lnTo>
                      <a:lnTo>
                        <a:pt x="100" y="28"/>
                      </a:lnTo>
                      <a:lnTo>
                        <a:pt x="99" y="23"/>
                      </a:lnTo>
                      <a:lnTo>
                        <a:pt x="95" y="14"/>
                      </a:lnTo>
                      <a:lnTo>
                        <a:pt x="95" y="13"/>
                      </a:lnTo>
                      <a:lnTo>
                        <a:pt x="94" y="12"/>
                      </a:lnTo>
                      <a:lnTo>
                        <a:pt x="92" y="9"/>
                      </a:lnTo>
                      <a:lnTo>
                        <a:pt x="90" y="8"/>
                      </a:lnTo>
                      <a:lnTo>
                        <a:pt x="88" y="8"/>
                      </a:lnTo>
                      <a:lnTo>
                        <a:pt x="86" y="9"/>
                      </a:lnTo>
                      <a:lnTo>
                        <a:pt x="85" y="10"/>
                      </a:lnTo>
                      <a:lnTo>
                        <a:pt x="83" y="16"/>
                      </a:lnTo>
                      <a:lnTo>
                        <a:pt x="81" y="18"/>
                      </a:lnTo>
                      <a:lnTo>
                        <a:pt x="80" y="22"/>
                      </a:lnTo>
                      <a:lnTo>
                        <a:pt x="79" y="25"/>
                      </a:lnTo>
                      <a:lnTo>
                        <a:pt x="78" y="29"/>
                      </a:lnTo>
                      <a:lnTo>
                        <a:pt x="77" y="24"/>
                      </a:lnTo>
                      <a:lnTo>
                        <a:pt x="76" y="20"/>
                      </a:lnTo>
                      <a:lnTo>
                        <a:pt x="75" y="16"/>
                      </a:lnTo>
                      <a:lnTo>
                        <a:pt x="73" y="12"/>
                      </a:lnTo>
                      <a:lnTo>
                        <a:pt x="72" y="4"/>
                      </a:lnTo>
                      <a:lnTo>
                        <a:pt x="71" y="2"/>
                      </a:lnTo>
                      <a:lnTo>
                        <a:pt x="71" y="1"/>
                      </a:lnTo>
                      <a:lnTo>
                        <a:pt x="70" y="0"/>
                      </a:lnTo>
                      <a:lnTo>
                        <a:pt x="69" y="0"/>
                      </a:lnTo>
                      <a:lnTo>
                        <a:pt x="67" y="0"/>
                      </a:lnTo>
                      <a:lnTo>
                        <a:pt x="65" y="1"/>
                      </a:lnTo>
                      <a:lnTo>
                        <a:pt x="64" y="2"/>
                      </a:lnTo>
                      <a:lnTo>
                        <a:pt x="61" y="8"/>
                      </a:lnTo>
                      <a:lnTo>
                        <a:pt x="60" y="13"/>
                      </a:lnTo>
                      <a:lnTo>
                        <a:pt x="58" y="18"/>
                      </a:lnTo>
                      <a:lnTo>
                        <a:pt x="57" y="23"/>
                      </a:lnTo>
                      <a:lnTo>
                        <a:pt x="56" y="29"/>
                      </a:lnTo>
                      <a:lnTo>
                        <a:pt x="55" y="25"/>
                      </a:lnTo>
                      <a:lnTo>
                        <a:pt x="54" y="23"/>
                      </a:lnTo>
                      <a:lnTo>
                        <a:pt x="53" y="20"/>
                      </a:lnTo>
                      <a:lnTo>
                        <a:pt x="52" y="17"/>
                      </a:lnTo>
                      <a:lnTo>
                        <a:pt x="47" y="12"/>
                      </a:lnTo>
                      <a:lnTo>
                        <a:pt x="46" y="12"/>
                      </a:lnTo>
                      <a:lnTo>
                        <a:pt x="45" y="10"/>
                      </a:lnTo>
                      <a:lnTo>
                        <a:pt x="43" y="10"/>
                      </a:lnTo>
                      <a:lnTo>
                        <a:pt x="41" y="12"/>
                      </a:lnTo>
                      <a:lnTo>
                        <a:pt x="40" y="13"/>
                      </a:lnTo>
                      <a:lnTo>
                        <a:pt x="35" y="18"/>
                      </a:lnTo>
                      <a:lnTo>
                        <a:pt x="34" y="21"/>
                      </a:lnTo>
                      <a:lnTo>
                        <a:pt x="34" y="23"/>
                      </a:lnTo>
                      <a:lnTo>
                        <a:pt x="33" y="25"/>
                      </a:lnTo>
                      <a:lnTo>
                        <a:pt x="32" y="28"/>
                      </a:lnTo>
                      <a:lnTo>
                        <a:pt x="31" y="23"/>
                      </a:lnTo>
                      <a:lnTo>
                        <a:pt x="31" y="20"/>
                      </a:lnTo>
                      <a:lnTo>
                        <a:pt x="31" y="16"/>
                      </a:lnTo>
                      <a:lnTo>
                        <a:pt x="30" y="12"/>
                      </a:lnTo>
                      <a:lnTo>
                        <a:pt x="24" y="1"/>
                      </a:lnTo>
                      <a:lnTo>
                        <a:pt x="24" y="0"/>
                      </a:lnTo>
                      <a:lnTo>
                        <a:pt x="23" y="0"/>
                      </a:lnTo>
                      <a:lnTo>
                        <a:pt x="20" y="0"/>
                      </a:lnTo>
                      <a:lnTo>
                        <a:pt x="19" y="0"/>
                      </a:lnTo>
                      <a:lnTo>
                        <a:pt x="18" y="1"/>
                      </a:lnTo>
                      <a:lnTo>
                        <a:pt x="15" y="8"/>
                      </a:lnTo>
                      <a:lnTo>
                        <a:pt x="10" y="18"/>
                      </a:lnTo>
                      <a:lnTo>
                        <a:pt x="7" y="29"/>
                      </a:lnTo>
                      <a:lnTo>
                        <a:pt x="3" y="39"/>
                      </a:lnTo>
                      <a:lnTo>
                        <a:pt x="0" y="50"/>
                      </a:lnTo>
                      <a:lnTo>
                        <a:pt x="0" y="51"/>
                      </a:lnTo>
                      <a:lnTo>
                        <a:pt x="0" y="53"/>
                      </a:lnTo>
                      <a:lnTo>
                        <a:pt x="1" y="54"/>
                      </a:lnTo>
                      <a:lnTo>
                        <a:pt x="2" y="55"/>
                      </a:lnTo>
                      <a:lnTo>
                        <a:pt x="3" y="55"/>
                      </a:lnTo>
                      <a:lnTo>
                        <a:pt x="5" y="55"/>
                      </a:lnTo>
                      <a:lnTo>
                        <a:pt x="7" y="54"/>
                      </a:lnTo>
                      <a:lnTo>
                        <a:pt x="8" y="53"/>
                      </a:lnTo>
                      <a:lnTo>
                        <a:pt x="11" y="44"/>
                      </a:lnTo>
                      <a:lnTo>
                        <a:pt x="15" y="33"/>
                      </a:lnTo>
                      <a:lnTo>
                        <a:pt x="17" y="24"/>
                      </a:lnTo>
                      <a:lnTo>
                        <a:pt x="20" y="15"/>
                      </a:lnTo>
                      <a:lnTo>
                        <a:pt x="22" y="22"/>
                      </a:lnTo>
                      <a:lnTo>
                        <a:pt x="23" y="29"/>
                      </a:lnTo>
                      <a:lnTo>
                        <a:pt x="24" y="36"/>
                      </a:lnTo>
                      <a:lnTo>
                        <a:pt x="25" y="43"/>
                      </a:lnTo>
                      <a:lnTo>
                        <a:pt x="25" y="48"/>
                      </a:lnTo>
                      <a:lnTo>
                        <a:pt x="25" y="50"/>
                      </a:lnTo>
                      <a:lnTo>
                        <a:pt x="26" y="51"/>
                      </a:lnTo>
                      <a:lnTo>
                        <a:pt x="27" y="52"/>
                      </a:lnTo>
                      <a:lnTo>
                        <a:pt x="29" y="52"/>
                      </a:lnTo>
                      <a:lnTo>
                        <a:pt x="30" y="52"/>
                      </a:lnTo>
                      <a:lnTo>
                        <a:pt x="32" y="52"/>
                      </a:lnTo>
                      <a:lnTo>
                        <a:pt x="33" y="50"/>
                      </a:lnTo>
                      <a:lnTo>
                        <a:pt x="33" y="48"/>
                      </a:lnTo>
                      <a:lnTo>
                        <a:pt x="34" y="45"/>
                      </a:lnTo>
                      <a:lnTo>
                        <a:pt x="37" y="39"/>
                      </a:lnTo>
                      <a:lnTo>
                        <a:pt x="39" y="33"/>
                      </a:lnTo>
                      <a:lnTo>
                        <a:pt x="41" y="28"/>
                      </a:lnTo>
                      <a:lnTo>
                        <a:pt x="43" y="22"/>
                      </a:lnTo>
                      <a:lnTo>
                        <a:pt x="46" y="27"/>
                      </a:lnTo>
                      <a:lnTo>
                        <a:pt x="48" y="30"/>
                      </a:lnTo>
                      <a:lnTo>
                        <a:pt x="49" y="35"/>
                      </a:lnTo>
                      <a:lnTo>
                        <a:pt x="50" y="39"/>
                      </a:lnTo>
                      <a:lnTo>
                        <a:pt x="52" y="46"/>
                      </a:lnTo>
                      <a:lnTo>
                        <a:pt x="52" y="47"/>
                      </a:lnTo>
                      <a:lnTo>
                        <a:pt x="52" y="48"/>
                      </a:lnTo>
                      <a:lnTo>
                        <a:pt x="53" y="50"/>
                      </a:lnTo>
                      <a:lnTo>
                        <a:pt x="55" y="50"/>
                      </a:lnTo>
                      <a:lnTo>
                        <a:pt x="56" y="50"/>
                      </a:lnTo>
                      <a:lnTo>
                        <a:pt x="58" y="48"/>
                      </a:lnTo>
                      <a:lnTo>
                        <a:pt x="60" y="47"/>
                      </a:lnTo>
                      <a:lnTo>
                        <a:pt x="61" y="44"/>
                      </a:lnTo>
                      <a:lnTo>
                        <a:pt x="63" y="38"/>
                      </a:lnTo>
                      <a:lnTo>
                        <a:pt x="64" y="33"/>
                      </a:lnTo>
                      <a:lnTo>
                        <a:pt x="65" y="28"/>
                      </a:lnTo>
                      <a:lnTo>
                        <a:pt x="67" y="22"/>
                      </a:lnTo>
                      <a:lnTo>
                        <a:pt x="69" y="28"/>
                      </a:lnTo>
                      <a:lnTo>
                        <a:pt x="71" y="35"/>
                      </a:lnTo>
                      <a:lnTo>
                        <a:pt x="72" y="40"/>
                      </a:lnTo>
                      <a:lnTo>
                        <a:pt x="75" y="47"/>
                      </a:lnTo>
                      <a:lnTo>
                        <a:pt x="75" y="50"/>
                      </a:lnTo>
                      <a:lnTo>
                        <a:pt x="75" y="51"/>
                      </a:lnTo>
                      <a:lnTo>
                        <a:pt x="76" y="52"/>
                      </a:lnTo>
                      <a:lnTo>
                        <a:pt x="76" y="53"/>
                      </a:lnTo>
                      <a:lnTo>
                        <a:pt x="77" y="53"/>
                      </a:lnTo>
                      <a:lnTo>
                        <a:pt x="78" y="53"/>
                      </a:lnTo>
                      <a:lnTo>
                        <a:pt x="80" y="53"/>
                      </a:lnTo>
                      <a:lnTo>
                        <a:pt x="81" y="53"/>
                      </a:lnTo>
                      <a:lnTo>
                        <a:pt x="83" y="52"/>
                      </a:lnTo>
                      <a:lnTo>
                        <a:pt x="84" y="47"/>
                      </a:lnTo>
                      <a:lnTo>
                        <a:pt x="85" y="42"/>
                      </a:lnTo>
                      <a:lnTo>
                        <a:pt x="86" y="35"/>
                      </a:lnTo>
                      <a:lnTo>
                        <a:pt x="87" y="28"/>
                      </a:lnTo>
                      <a:lnTo>
                        <a:pt x="90" y="22"/>
                      </a:lnTo>
                      <a:lnTo>
                        <a:pt x="91" y="28"/>
                      </a:lnTo>
                      <a:lnTo>
                        <a:pt x="93" y="35"/>
                      </a:lnTo>
                      <a:lnTo>
                        <a:pt x="96" y="40"/>
                      </a:lnTo>
                      <a:lnTo>
                        <a:pt x="102" y="45"/>
                      </a:lnTo>
                      <a:lnTo>
                        <a:pt x="103" y="46"/>
                      </a:lnTo>
                      <a:lnTo>
                        <a:pt x="106" y="46"/>
                      </a:lnTo>
                      <a:lnTo>
                        <a:pt x="107" y="45"/>
                      </a:lnTo>
                      <a:lnTo>
                        <a:pt x="108" y="44"/>
                      </a:lnTo>
                      <a:lnTo>
                        <a:pt x="109" y="43"/>
                      </a:lnTo>
                      <a:lnTo>
                        <a:pt x="109" y="40"/>
                      </a:lnTo>
                      <a:lnTo>
                        <a:pt x="108" y="39"/>
                      </a:lnTo>
                      <a:lnTo>
                        <a:pt x="107"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50" name="Freeform 429">
                  <a:extLst>
                    <a:ext uri="{FF2B5EF4-FFF2-40B4-BE49-F238E27FC236}">
                      <a16:creationId xmlns:a16="http://schemas.microsoft.com/office/drawing/2014/main" id="{EA41DEAA-E878-401A-824C-9DE2EBD2011C}"/>
                    </a:ext>
                  </a:extLst>
                </p:cNvPr>
                <p:cNvSpPr>
                  <a:spLocks/>
                </p:cNvSpPr>
                <p:nvPr/>
              </p:nvSpPr>
              <p:spPr bwMode="auto">
                <a:xfrm>
                  <a:off x="3521075" y="4494213"/>
                  <a:ext cx="47625" cy="36512"/>
                </a:xfrm>
                <a:custGeom>
                  <a:avLst/>
                  <a:gdLst>
                    <a:gd name="T0" fmla="*/ 2147483646 w 60"/>
                    <a:gd name="T1" fmla="*/ 2147483646 h 45"/>
                    <a:gd name="T2" fmla="*/ 2147483646 w 60"/>
                    <a:gd name="T3" fmla="*/ 0 h 45"/>
                    <a:gd name="T4" fmla="*/ 2147483646 w 60"/>
                    <a:gd name="T5" fmla="*/ 0 h 45"/>
                    <a:gd name="T6" fmla="*/ 2147483646 w 60"/>
                    <a:gd name="T7" fmla="*/ 2147483646 h 45"/>
                    <a:gd name="T8" fmla="*/ 2147483646 w 60"/>
                    <a:gd name="T9" fmla="*/ 2147483646 h 45"/>
                    <a:gd name="T10" fmla="*/ 2147483646 w 60"/>
                    <a:gd name="T11" fmla="*/ 2147483646 h 45"/>
                    <a:gd name="T12" fmla="*/ 2147483646 w 60"/>
                    <a:gd name="T13" fmla="*/ 2147483646 h 45"/>
                    <a:gd name="T14" fmla="*/ 2147483646 w 60"/>
                    <a:gd name="T15" fmla="*/ 2147483646 h 45"/>
                    <a:gd name="T16" fmla="*/ 2147483646 w 60"/>
                    <a:gd name="T17" fmla="*/ 2147483646 h 45"/>
                    <a:gd name="T18" fmla="*/ 2147483646 w 60"/>
                    <a:gd name="T19" fmla="*/ 2147483646 h 45"/>
                    <a:gd name="T20" fmla="*/ 2147483646 w 60"/>
                    <a:gd name="T21" fmla="*/ 2147483646 h 45"/>
                    <a:gd name="T22" fmla="*/ 2147483646 w 60"/>
                    <a:gd name="T23" fmla="*/ 0 h 45"/>
                    <a:gd name="T24" fmla="*/ 2147483646 w 60"/>
                    <a:gd name="T25" fmla="*/ 2147483646 h 45"/>
                    <a:gd name="T26" fmla="*/ 2147483646 w 60"/>
                    <a:gd name="T27" fmla="*/ 2147483646 h 45"/>
                    <a:gd name="T28" fmla="*/ 2147483646 w 60"/>
                    <a:gd name="T29" fmla="*/ 2147483646 h 45"/>
                    <a:gd name="T30" fmla="*/ 2147483646 w 60"/>
                    <a:gd name="T31" fmla="*/ 2147483646 h 45"/>
                    <a:gd name="T32" fmla="*/ 2147483646 w 60"/>
                    <a:gd name="T33" fmla="*/ 2147483646 h 45"/>
                    <a:gd name="T34" fmla="*/ 2147483646 w 60"/>
                    <a:gd name="T35" fmla="*/ 2147483646 h 45"/>
                    <a:gd name="T36" fmla="*/ 2147483646 w 60"/>
                    <a:gd name="T37" fmla="*/ 2147483646 h 45"/>
                    <a:gd name="T38" fmla="*/ 2147483646 w 60"/>
                    <a:gd name="T39" fmla="*/ 2147483646 h 45"/>
                    <a:gd name="T40" fmla="*/ 2147483646 w 60"/>
                    <a:gd name="T41" fmla="*/ 2147483646 h 45"/>
                    <a:gd name="T42" fmla="*/ 2147483646 w 60"/>
                    <a:gd name="T43" fmla="*/ 2147483646 h 45"/>
                    <a:gd name="T44" fmla="*/ 2147483646 w 60"/>
                    <a:gd name="T45" fmla="*/ 0 h 45"/>
                    <a:gd name="T46" fmla="*/ 2147483646 w 60"/>
                    <a:gd name="T47" fmla="*/ 2147483646 h 45"/>
                    <a:gd name="T48" fmla="*/ 0 w 60"/>
                    <a:gd name="T49" fmla="*/ 2147483646 h 45"/>
                    <a:gd name="T50" fmla="*/ 2147483646 w 60"/>
                    <a:gd name="T51" fmla="*/ 2147483646 h 45"/>
                    <a:gd name="T52" fmla="*/ 2147483646 w 60"/>
                    <a:gd name="T53" fmla="*/ 2147483646 h 45"/>
                    <a:gd name="T54" fmla="*/ 2147483646 w 60"/>
                    <a:gd name="T55" fmla="*/ 2147483646 h 45"/>
                    <a:gd name="T56" fmla="*/ 2147483646 w 60"/>
                    <a:gd name="T57" fmla="*/ 2147483646 h 45"/>
                    <a:gd name="T58" fmla="*/ 2147483646 w 60"/>
                    <a:gd name="T59" fmla="*/ 2147483646 h 45"/>
                    <a:gd name="T60" fmla="*/ 2147483646 w 60"/>
                    <a:gd name="T61" fmla="*/ 2147483646 h 45"/>
                    <a:gd name="T62" fmla="*/ 2147483646 w 60"/>
                    <a:gd name="T63" fmla="*/ 2147483646 h 45"/>
                    <a:gd name="T64" fmla="*/ 2147483646 w 60"/>
                    <a:gd name="T65" fmla="*/ 2147483646 h 45"/>
                    <a:gd name="T66" fmla="*/ 2147483646 w 60"/>
                    <a:gd name="T67" fmla="*/ 2147483646 h 45"/>
                    <a:gd name="T68" fmla="*/ 2147483646 w 60"/>
                    <a:gd name="T69" fmla="*/ 2147483646 h 45"/>
                    <a:gd name="T70" fmla="*/ 2147483646 w 60"/>
                    <a:gd name="T71" fmla="*/ 2147483646 h 45"/>
                    <a:gd name="T72" fmla="*/ 2147483646 w 60"/>
                    <a:gd name="T73" fmla="*/ 2147483646 h 45"/>
                    <a:gd name="T74" fmla="*/ 2147483646 w 60"/>
                    <a:gd name="T75" fmla="*/ 2147483646 h 45"/>
                    <a:gd name="T76" fmla="*/ 2147483646 w 60"/>
                    <a:gd name="T77" fmla="*/ 2147483646 h 45"/>
                    <a:gd name="T78" fmla="*/ 2147483646 w 60"/>
                    <a:gd name="T79" fmla="*/ 2147483646 h 45"/>
                    <a:gd name="T80" fmla="*/ 2147483646 w 60"/>
                    <a:gd name="T81" fmla="*/ 2147483646 h 45"/>
                    <a:gd name="T82" fmla="*/ 2147483646 w 60"/>
                    <a:gd name="T83" fmla="*/ 2147483646 h 45"/>
                    <a:gd name="T84" fmla="*/ 2147483646 w 60"/>
                    <a:gd name="T85" fmla="*/ 2147483646 h 45"/>
                    <a:gd name="T86" fmla="*/ 2147483646 w 60"/>
                    <a:gd name="T87" fmla="*/ 2147483646 h 45"/>
                    <a:gd name="T88" fmla="*/ 2147483646 w 60"/>
                    <a:gd name="T89" fmla="*/ 2147483646 h 45"/>
                    <a:gd name="T90" fmla="*/ 2147483646 w 60"/>
                    <a:gd name="T91" fmla="*/ 2147483646 h 45"/>
                    <a:gd name="T92" fmla="*/ 2147483646 w 60"/>
                    <a:gd name="T93" fmla="*/ 2147483646 h 45"/>
                    <a:gd name="T94" fmla="*/ 2147483646 w 60"/>
                    <a:gd name="T95" fmla="*/ 2147483646 h 45"/>
                    <a:gd name="T96" fmla="*/ 2147483646 w 60"/>
                    <a:gd name="T97" fmla="*/ 2147483646 h 45"/>
                    <a:gd name="T98" fmla="*/ 2147483646 w 60"/>
                    <a:gd name="T99" fmla="*/ 2147483646 h 4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
                    <a:gd name="T151" fmla="*/ 0 h 45"/>
                    <a:gd name="T152" fmla="*/ 60 w 60"/>
                    <a:gd name="T153" fmla="*/ 45 h 4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 h="45">
                      <a:moveTo>
                        <a:pt x="60" y="3"/>
                      </a:moveTo>
                      <a:lnTo>
                        <a:pt x="60" y="2"/>
                      </a:lnTo>
                      <a:lnTo>
                        <a:pt x="59" y="1"/>
                      </a:lnTo>
                      <a:lnTo>
                        <a:pt x="58" y="0"/>
                      </a:lnTo>
                      <a:lnTo>
                        <a:pt x="57" y="0"/>
                      </a:lnTo>
                      <a:lnTo>
                        <a:pt x="55" y="0"/>
                      </a:lnTo>
                      <a:lnTo>
                        <a:pt x="53" y="0"/>
                      </a:lnTo>
                      <a:lnTo>
                        <a:pt x="52" y="1"/>
                      </a:lnTo>
                      <a:lnTo>
                        <a:pt x="51" y="2"/>
                      </a:lnTo>
                      <a:lnTo>
                        <a:pt x="49" y="10"/>
                      </a:lnTo>
                      <a:lnTo>
                        <a:pt x="49" y="13"/>
                      </a:lnTo>
                      <a:lnTo>
                        <a:pt x="49" y="15"/>
                      </a:lnTo>
                      <a:lnTo>
                        <a:pt x="47" y="17"/>
                      </a:lnTo>
                      <a:lnTo>
                        <a:pt x="47" y="20"/>
                      </a:lnTo>
                      <a:lnTo>
                        <a:pt x="46" y="17"/>
                      </a:lnTo>
                      <a:lnTo>
                        <a:pt x="45" y="14"/>
                      </a:lnTo>
                      <a:lnTo>
                        <a:pt x="44" y="11"/>
                      </a:lnTo>
                      <a:lnTo>
                        <a:pt x="44" y="9"/>
                      </a:lnTo>
                      <a:lnTo>
                        <a:pt x="41" y="2"/>
                      </a:lnTo>
                      <a:lnTo>
                        <a:pt x="39" y="1"/>
                      </a:lnTo>
                      <a:lnTo>
                        <a:pt x="38" y="1"/>
                      </a:lnTo>
                      <a:lnTo>
                        <a:pt x="38" y="0"/>
                      </a:lnTo>
                      <a:lnTo>
                        <a:pt x="36" y="0"/>
                      </a:lnTo>
                      <a:lnTo>
                        <a:pt x="34" y="1"/>
                      </a:lnTo>
                      <a:lnTo>
                        <a:pt x="32" y="2"/>
                      </a:lnTo>
                      <a:lnTo>
                        <a:pt x="32" y="3"/>
                      </a:lnTo>
                      <a:lnTo>
                        <a:pt x="31" y="9"/>
                      </a:lnTo>
                      <a:lnTo>
                        <a:pt x="31" y="8"/>
                      </a:lnTo>
                      <a:lnTo>
                        <a:pt x="29" y="14"/>
                      </a:lnTo>
                      <a:lnTo>
                        <a:pt x="28" y="20"/>
                      </a:lnTo>
                      <a:lnTo>
                        <a:pt x="26" y="24"/>
                      </a:lnTo>
                      <a:lnTo>
                        <a:pt x="23" y="30"/>
                      </a:lnTo>
                      <a:lnTo>
                        <a:pt x="20" y="36"/>
                      </a:lnTo>
                      <a:lnTo>
                        <a:pt x="19" y="34"/>
                      </a:lnTo>
                      <a:lnTo>
                        <a:pt x="14" y="28"/>
                      </a:lnTo>
                      <a:lnTo>
                        <a:pt x="12" y="21"/>
                      </a:lnTo>
                      <a:lnTo>
                        <a:pt x="9" y="11"/>
                      </a:lnTo>
                      <a:lnTo>
                        <a:pt x="8" y="3"/>
                      </a:lnTo>
                      <a:lnTo>
                        <a:pt x="8" y="2"/>
                      </a:lnTo>
                      <a:lnTo>
                        <a:pt x="7" y="1"/>
                      </a:lnTo>
                      <a:lnTo>
                        <a:pt x="5" y="0"/>
                      </a:lnTo>
                      <a:lnTo>
                        <a:pt x="4" y="0"/>
                      </a:lnTo>
                      <a:lnTo>
                        <a:pt x="3" y="1"/>
                      </a:lnTo>
                      <a:lnTo>
                        <a:pt x="1" y="2"/>
                      </a:lnTo>
                      <a:lnTo>
                        <a:pt x="0" y="5"/>
                      </a:lnTo>
                      <a:lnTo>
                        <a:pt x="0" y="6"/>
                      </a:lnTo>
                      <a:lnTo>
                        <a:pt x="3" y="15"/>
                      </a:lnTo>
                      <a:lnTo>
                        <a:pt x="5" y="24"/>
                      </a:lnTo>
                      <a:lnTo>
                        <a:pt x="8" y="32"/>
                      </a:lnTo>
                      <a:lnTo>
                        <a:pt x="13" y="40"/>
                      </a:lnTo>
                      <a:lnTo>
                        <a:pt x="13" y="43"/>
                      </a:lnTo>
                      <a:lnTo>
                        <a:pt x="14" y="44"/>
                      </a:lnTo>
                      <a:lnTo>
                        <a:pt x="15" y="44"/>
                      </a:lnTo>
                      <a:lnTo>
                        <a:pt x="15" y="45"/>
                      </a:lnTo>
                      <a:lnTo>
                        <a:pt x="16" y="45"/>
                      </a:lnTo>
                      <a:lnTo>
                        <a:pt x="21" y="45"/>
                      </a:lnTo>
                      <a:lnTo>
                        <a:pt x="22" y="45"/>
                      </a:lnTo>
                      <a:lnTo>
                        <a:pt x="23" y="45"/>
                      </a:lnTo>
                      <a:lnTo>
                        <a:pt x="24" y="44"/>
                      </a:lnTo>
                      <a:lnTo>
                        <a:pt x="29" y="38"/>
                      </a:lnTo>
                      <a:lnTo>
                        <a:pt x="31" y="33"/>
                      </a:lnTo>
                      <a:lnTo>
                        <a:pt x="34" y="28"/>
                      </a:lnTo>
                      <a:lnTo>
                        <a:pt x="35" y="23"/>
                      </a:lnTo>
                      <a:lnTo>
                        <a:pt x="37" y="18"/>
                      </a:lnTo>
                      <a:lnTo>
                        <a:pt x="38" y="21"/>
                      </a:lnTo>
                      <a:lnTo>
                        <a:pt x="39" y="23"/>
                      </a:lnTo>
                      <a:lnTo>
                        <a:pt x="39" y="26"/>
                      </a:lnTo>
                      <a:lnTo>
                        <a:pt x="41" y="29"/>
                      </a:lnTo>
                      <a:lnTo>
                        <a:pt x="43" y="34"/>
                      </a:lnTo>
                      <a:lnTo>
                        <a:pt x="43" y="36"/>
                      </a:lnTo>
                      <a:lnTo>
                        <a:pt x="44" y="36"/>
                      </a:lnTo>
                      <a:lnTo>
                        <a:pt x="44" y="37"/>
                      </a:lnTo>
                      <a:lnTo>
                        <a:pt x="46" y="38"/>
                      </a:lnTo>
                      <a:lnTo>
                        <a:pt x="47" y="38"/>
                      </a:lnTo>
                      <a:lnTo>
                        <a:pt x="50" y="37"/>
                      </a:lnTo>
                      <a:lnTo>
                        <a:pt x="51" y="36"/>
                      </a:lnTo>
                      <a:lnTo>
                        <a:pt x="52" y="33"/>
                      </a:lnTo>
                      <a:lnTo>
                        <a:pt x="52" y="34"/>
                      </a:lnTo>
                      <a:lnTo>
                        <a:pt x="52" y="36"/>
                      </a:lnTo>
                      <a:lnTo>
                        <a:pt x="52" y="37"/>
                      </a:lnTo>
                      <a:lnTo>
                        <a:pt x="53" y="39"/>
                      </a:lnTo>
                      <a:lnTo>
                        <a:pt x="54" y="40"/>
                      </a:lnTo>
                      <a:lnTo>
                        <a:pt x="57" y="40"/>
                      </a:lnTo>
                      <a:lnTo>
                        <a:pt x="58" y="40"/>
                      </a:lnTo>
                      <a:lnTo>
                        <a:pt x="59" y="39"/>
                      </a:lnTo>
                      <a:lnTo>
                        <a:pt x="60" y="37"/>
                      </a:lnTo>
                      <a:lnTo>
                        <a:pt x="60" y="36"/>
                      </a:lnTo>
                      <a:lnTo>
                        <a:pt x="60" y="30"/>
                      </a:lnTo>
                      <a:lnTo>
                        <a:pt x="60" y="24"/>
                      </a:lnTo>
                      <a:lnTo>
                        <a:pt x="60" y="18"/>
                      </a:lnTo>
                      <a:lnTo>
                        <a:pt x="60" y="13"/>
                      </a:lnTo>
                      <a:lnTo>
                        <a:pt x="6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51" name="Freeform 430">
                  <a:extLst>
                    <a:ext uri="{FF2B5EF4-FFF2-40B4-BE49-F238E27FC236}">
                      <a16:creationId xmlns:a16="http://schemas.microsoft.com/office/drawing/2014/main" id="{759F0FBC-235B-4971-9F66-4FBEDFFBDE92}"/>
                    </a:ext>
                  </a:extLst>
                </p:cNvPr>
                <p:cNvSpPr>
                  <a:spLocks/>
                </p:cNvSpPr>
                <p:nvPr/>
              </p:nvSpPr>
              <p:spPr bwMode="auto">
                <a:xfrm>
                  <a:off x="3592513" y="4476750"/>
                  <a:ext cx="63500" cy="44450"/>
                </a:xfrm>
                <a:custGeom>
                  <a:avLst/>
                  <a:gdLst>
                    <a:gd name="T0" fmla="*/ 2147483646 w 79"/>
                    <a:gd name="T1" fmla="*/ 2147483646 h 56"/>
                    <a:gd name="T2" fmla="*/ 2147483646 w 79"/>
                    <a:gd name="T3" fmla="*/ 2147483646 h 56"/>
                    <a:gd name="T4" fmla="*/ 2147483646 w 79"/>
                    <a:gd name="T5" fmla="*/ 0 h 56"/>
                    <a:gd name="T6" fmla="*/ 2147483646 w 79"/>
                    <a:gd name="T7" fmla="*/ 0 h 56"/>
                    <a:gd name="T8" fmla="*/ 2147483646 w 79"/>
                    <a:gd name="T9" fmla="*/ 2147483646 h 56"/>
                    <a:gd name="T10" fmla="*/ 2147483646 w 79"/>
                    <a:gd name="T11" fmla="*/ 2147483646 h 56"/>
                    <a:gd name="T12" fmla="*/ 2147483646 w 79"/>
                    <a:gd name="T13" fmla="*/ 2147483646 h 56"/>
                    <a:gd name="T14" fmla="*/ 2147483646 w 79"/>
                    <a:gd name="T15" fmla="*/ 2147483646 h 56"/>
                    <a:gd name="T16" fmla="*/ 2147483646 w 79"/>
                    <a:gd name="T17" fmla="*/ 2147483646 h 56"/>
                    <a:gd name="T18" fmla="*/ 2147483646 w 79"/>
                    <a:gd name="T19" fmla="*/ 2147483646 h 56"/>
                    <a:gd name="T20" fmla="*/ 2147483646 w 79"/>
                    <a:gd name="T21" fmla="*/ 2147483646 h 56"/>
                    <a:gd name="T22" fmla="*/ 2147483646 w 79"/>
                    <a:gd name="T23" fmla="*/ 2147483646 h 56"/>
                    <a:gd name="T24" fmla="*/ 2147483646 w 79"/>
                    <a:gd name="T25" fmla="*/ 2147483646 h 56"/>
                    <a:gd name="T26" fmla="*/ 2147483646 w 79"/>
                    <a:gd name="T27" fmla="*/ 2147483646 h 56"/>
                    <a:gd name="T28" fmla="*/ 2147483646 w 79"/>
                    <a:gd name="T29" fmla="*/ 2147483646 h 56"/>
                    <a:gd name="T30" fmla="*/ 2147483646 w 79"/>
                    <a:gd name="T31" fmla="*/ 2147483646 h 56"/>
                    <a:gd name="T32" fmla="*/ 2147483646 w 79"/>
                    <a:gd name="T33" fmla="*/ 2147483646 h 56"/>
                    <a:gd name="T34" fmla="*/ 2147483646 w 79"/>
                    <a:gd name="T35" fmla="*/ 2147483646 h 56"/>
                    <a:gd name="T36" fmla="*/ 2147483646 w 79"/>
                    <a:gd name="T37" fmla="*/ 2147483646 h 56"/>
                    <a:gd name="T38" fmla="*/ 2147483646 w 79"/>
                    <a:gd name="T39" fmla="*/ 2147483646 h 56"/>
                    <a:gd name="T40" fmla="*/ 2147483646 w 79"/>
                    <a:gd name="T41" fmla="*/ 2147483646 h 56"/>
                    <a:gd name="T42" fmla="*/ 0 w 79"/>
                    <a:gd name="T43" fmla="*/ 2147483646 h 56"/>
                    <a:gd name="T44" fmla="*/ 2147483646 w 79"/>
                    <a:gd name="T45" fmla="*/ 2147483646 h 56"/>
                    <a:gd name="T46" fmla="*/ 2147483646 w 79"/>
                    <a:gd name="T47" fmla="*/ 2147483646 h 56"/>
                    <a:gd name="T48" fmla="*/ 2147483646 w 79"/>
                    <a:gd name="T49" fmla="*/ 2147483646 h 56"/>
                    <a:gd name="T50" fmla="*/ 2147483646 w 79"/>
                    <a:gd name="T51" fmla="*/ 2147483646 h 56"/>
                    <a:gd name="T52" fmla="*/ 2147483646 w 79"/>
                    <a:gd name="T53" fmla="*/ 2147483646 h 56"/>
                    <a:gd name="T54" fmla="*/ 2147483646 w 79"/>
                    <a:gd name="T55" fmla="*/ 2147483646 h 56"/>
                    <a:gd name="T56" fmla="*/ 2147483646 w 79"/>
                    <a:gd name="T57" fmla="*/ 2147483646 h 56"/>
                    <a:gd name="T58" fmla="*/ 2147483646 w 79"/>
                    <a:gd name="T59" fmla="*/ 2147483646 h 56"/>
                    <a:gd name="T60" fmla="*/ 2147483646 w 79"/>
                    <a:gd name="T61" fmla="*/ 2147483646 h 56"/>
                    <a:gd name="T62" fmla="*/ 2147483646 w 79"/>
                    <a:gd name="T63" fmla="*/ 2147483646 h 56"/>
                    <a:gd name="T64" fmla="*/ 2147483646 w 79"/>
                    <a:gd name="T65" fmla="*/ 2147483646 h 56"/>
                    <a:gd name="T66" fmla="*/ 2147483646 w 79"/>
                    <a:gd name="T67" fmla="*/ 2147483646 h 56"/>
                    <a:gd name="T68" fmla="*/ 2147483646 w 79"/>
                    <a:gd name="T69" fmla="*/ 2147483646 h 56"/>
                    <a:gd name="T70" fmla="*/ 2147483646 w 79"/>
                    <a:gd name="T71" fmla="*/ 2147483646 h 56"/>
                    <a:gd name="T72" fmla="*/ 2147483646 w 79"/>
                    <a:gd name="T73" fmla="*/ 2147483646 h 56"/>
                    <a:gd name="T74" fmla="*/ 2147483646 w 79"/>
                    <a:gd name="T75" fmla="*/ 2147483646 h 56"/>
                    <a:gd name="T76" fmla="*/ 2147483646 w 79"/>
                    <a:gd name="T77" fmla="*/ 2147483646 h 56"/>
                    <a:gd name="T78" fmla="*/ 2147483646 w 79"/>
                    <a:gd name="T79" fmla="*/ 2147483646 h 56"/>
                    <a:gd name="T80" fmla="*/ 2147483646 w 79"/>
                    <a:gd name="T81" fmla="*/ 2147483646 h 56"/>
                    <a:gd name="T82" fmla="*/ 2147483646 w 79"/>
                    <a:gd name="T83" fmla="*/ 2147483646 h 56"/>
                    <a:gd name="T84" fmla="*/ 2147483646 w 79"/>
                    <a:gd name="T85" fmla="*/ 2147483646 h 56"/>
                    <a:gd name="T86" fmla="*/ 2147483646 w 79"/>
                    <a:gd name="T87" fmla="*/ 2147483646 h 5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9"/>
                    <a:gd name="T133" fmla="*/ 0 h 56"/>
                    <a:gd name="T134" fmla="*/ 79 w 79"/>
                    <a:gd name="T135" fmla="*/ 56 h 5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9" h="56">
                      <a:moveTo>
                        <a:pt x="79" y="45"/>
                      </a:moveTo>
                      <a:lnTo>
                        <a:pt x="77" y="37"/>
                      </a:lnTo>
                      <a:lnTo>
                        <a:pt x="75" y="29"/>
                      </a:lnTo>
                      <a:lnTo>
                        <a:pt x="73" y="21"/>
                      </a:lnTo>
                      <a:lnTo>
                        <a:pt x="70" y="13"/>
                      </a:lnTo>
                      <a:lnTo>
                        <a:pt x="69" y="3"/>
                      </a:lnTo>
                      <a:lnTo>
                        <a:pt x="69" y="2"/>
                      </a:lnTo>
                      <a:lnTo>
                        <a:pt x="68" y="1"/>
                      </a:lnTo>
                      <a:lnTo>
                        <a:pt x="67" y="0"/>
                      </a:lnTo>
                      <a:lnTo>
                        <a:pt x="66" y="0"/>
                      </a:lnTo>
                      <a:lnTo>
                        <a:pt x="65" y="0"/>
                      </a:lnTo>
                      <a:lnTo>
                        <a:pt x="62" y="0"/>
                      </a:lnTo>
                      <a:lnTo>
                        <a:pt x="61" y="1"/>
                      </a:lnTo>
                      <a:lnTo>
                        <a:pt x="61" y="2"/>
                      </a:lnTo>
                      <a:lnTo>
                        <a:pt x="59" y="8"/>
                      </a:lnTo>
                      <a:lnTo>
                        <a:pt x="58" y="15"/>
                      </a:lnTo>
                      <a:lnTo>
                        <a:pt x="56" y="22"/>
                      </a:lnTo>
                      <a:lnTo>
                        <a:pt x="55" y="29"/>
                      </a:lnTo>
                      <a:lnTo>
                        <a:pt x="53" y="36"/>
                      </a:lnTo>
                      <a:lnTo>
                        <a:pt x="52" y="32"/>
                      </a:lnTo>
                      <a:lnTo>
                        <a:pt x="52" y="28"/>
                      </a:lnTo>
                      <a:lnTo>
                        <a:pt x="52" y="24"/>
                      </a:lnTo>
                      <a:lnTo>
                        <a:pt x="51" y="21"/>
                      </a:lnTo>
                      <a:lnTo>
                        <a:pt x="48" y="11"/>
                      </a:lnTo>
                      <a:lnTo>
                        <a:pt x="48" y="10"/>
                      </a:lnTo>
                      <a:lnTo>
                        <a:pt x="47" y="9"/>
                      </a:lnTo>
                      <a:lnTo>
                        <a:pt x="46" y="8"/>
                      </a:lnTo>
                      <a:lnTo>
                        <a:pt x="45" y="8"/>
                      </a:lnTo>
                      <a:lnTo>
                        <a:pt x="43" y="9"/>
                      </a:lnTo>
                      <a:lnTo>
                        <a:pt x="41" y="10"/>
                      </a:lnTo>
                      <a:lnTo>
                        <a:pt x="40" y="11"/>
                      </a:lnTo>
                      <a:lnTo>
                        <a:pt x="39" y="17"/>
                      </a:lnTo>
                      <a:lnTo>
                        <a:pt x="38" y="22"/>
                      </a:lnTo>
                      <a:lnTo>
                        <a:pt x="37" y="25"/>
                      </a:lnTo>
                      <a:lnTo>
                        <a:pt x="36" y="30"/>
                      </a:lnTo>
                      <a:lnTo>
                        <a:pt x="36" y="34"/>
                      </a:lnTo>
                      <a:lnTo>
                        <a:pt x="35" y="33"/>
                      </a:lnTo>
                      <a:lnTo>
                        <a:pt x="35" y="32"/>
                      </a:lnTo>
                      <a:lnTo>
                        <a:pt x="35" y="31"/>
                      </a:lnTo>
                      <a:lnTo>
                        <a:pt x="33" y="30"/>
                      </a:lnTo>
                      <a:lnTo>
                        <a:pt x="31" y="14"/>
                      </a:lnTo>
                      <a:lnTo>
                        <a:pt x="31" y="13"/>
                      </a:lnTo>
                      <a:lnTo>
                        <a:pt x="30" y="13"/>
                      </a:lnTo>
                      <a:lnTo>
                        <a:pt x="30" y="11"/>
                      </a:lnTo>
                      <a:lnTo>
                        <a:pt x="29" y="11"/>
                      </a:lnTo>
                      <a:lnTo>
                        <a:pt x="28" y="11"/>
                      </a:lnTo>
                      <a:lnTo>
                        <a:pt x="25" y="11"/>
                      </a:lnTo>
                      <a:lnTo>
                        <a:pt x="24" y="13"/>
                      </a:lnTo>
                      <a:lnTo>
                        <a:pt x="23" y="14"/>
                      </a:lnTo>
                      <a:lnTo>
                        <a:pt x="20" y="22"/>
                      </a:lnTo>
                      <a:lnTo>
                        <a:pt x="18" y="26"/>
                      </a:lnTo>
                      <a:lnTo>
                        <a:pt x="16" y="30"/>
                      </a:lnTo>
                      <a:lnTo>
                        <a:pt x="15" y="34"/>
                      </a:lnTo>
                      <a:lnTo>
                        <a:pt x="13" y="39"/>
                      </a:lnTo>
                      <a:lnTo>
                        <a:pt x="12" y="33"/>
                      </a:lnTo>
                      <a:lnTo>
                        <a:pt x="10" y="28"/>
                      </a:lnTo>
                      <a:lnTo>
                        <a:pt x="9" y="23"/>
                      </a:lnTo>
                      <a:lnTo>
                        <a:pt x="9" y="17"/>
                      </a:lnTo>
                      <a:lnTo>
                        <a:pt x="9" y="16"/>
                      </a:lnTo>
                      <a:lnTo>
                        <a:pt x="8" y="14"/>
                      </a:lnTo>
                      <a:lnTo>
                        <a:pt x="6" y="13"/>
                      </a:lnTo>
                      <a:lnTo>
                        <a:pt x="5" y="13"/>
                      </a:lnTo>
                      <a:lnTo>
                        <a:pt x="3" y="13"/>
                      </a:lnTo>
                      <a:lnTo>
                        <a:pt x="1" y="14"/>
                      </a:lnTo>
                      <a:lnTo>
                        <a:pt x="0" y="16"/>
                      </a:lnTo>
                      <a:lnTo>
                        <a:pt x="0" y="17"/>
                      </a:lnTo>
                      <a:lnTo>
                        <a:pt x="1" y="25"/>
                      </a:lnTo>
                      <a:lnTo>
                        <a:pt x="2" y="32"/>
                      </a:lnTo>
                      <a:lnTo>
                        <a:pt x="5" y="40"/>
                      </a:lnTo>
                      <a:lnTo>
                        <a:pt x="7" y="47"/>
                      </a:lnTo>
                      <a:lnTo>
                        <a:pt x="9" y="51"/>
                      </a:lnTo>
                      <a:lnTo>
                        <a:pt x="12" y="52"/>
                      </a:lnTo>
                      <a:lnTo>
                        <a:pt x="13" y="52"/>
                      </a:lnTo>
                      <a:lnTo>
                        <a:pt x="15" y="52"/>
                      </a:lnTo>
                      <a:lnTo>
                        <a:pt x="16" y="51"/>
                      </a:lnTo>
                      <a:lnTo>
                        <a:pt x="20" y="46"/>
                      </a:lnTo>
                      <a:lnTo>
                        <a:pt x="21" y="43"/>
                      </a:lnTo>
                      <a:lnTo>
                        <a:pt x="23" y="39"/>
                      </a:lnTo>
                      <a:lnTo>
                        <a:pt x="24" y="36"/>
                      </a:lnTo>
                      <a:lnTo>
                        <a:pt x="25" y="32"/>
                      </a:lnTo>
                      <a:lnTo>
                        <a:pt x="27" y="34"/>
                      </a:lnTo>
                      <a:lnTo>
                        <a:pt x="28" y="37"/>
                      </a:lnTo>
                      <a:lnTo>
                        <a:pt x="28" y="39"/>
                      </a:lnTo>
                      <a:lnTo>
                        <a:pt x="29" y="41"/>
                      </a:lnTo>
                      <a:lnTo>
                        <a:pt x="30" y="48"/>
                      </a:lnTo>
                      <a:lnTo>
                        <a:pt x="30" y="49"/>
                      </a:lnTo>
                      <a:lnTo>
                        <a:pt x="31" y="49"/>
                      </a:lnTo>
                      <a:lnTo>
                        <a:pt x="31" y="51"/>
                      </a:lnTo>
                      <a:lnTo>
                        <a:pt x="33" y="52"/>
                      </a:lnTo>
                      <a:lnTo>
                        <a:pt x="35" y="52"/>
                      </a:lnTo>
                      <a:lnTo>
                        <a:pt x="37" y="51"/>
                      </a:lnTo>
                      <a:lnTo>
                        <a:pt x="38" y="49"/>
                      </a:lnTo>
                      <a:lnTo>
                        <a:pt x="40" y="45"/>
                      </a:lnTo>
                      <a:lnTo>
                        <a:pt x="41" y="43"/>
                      </a:lnTo>
                      <a:lnTo>
                        <a:pt x="43" y="39"/>
                      </a:lnTo>
                      <a:lnTo>
                        <a:pt x="44" y="36"/>
                      </a:lnTo>
                      <a:lnTo>
                        <a:pt x="44" y="33"/>
                      </a:lnTo>
                      <a:lnTo>
                        <a:pt x="45" y="36"/>
                      </a:lnTo>
                      <a:lnTo>
                        <a:pt x="46" y="39"/>
                      </a:lnTo>
                      <a:lnTo>
                        <a:pt x="46" y="43"/>
                      </a:lnTo>
                      <a:lnTo>
                        <a:pt x="47" y="46"/>
                      </a:lnTo>
                      <a:lnTo>
                        <a:pt x="50" y="53"/>
                      </a:lnTo>
                      <a:lnTo>
                        <a:pt x="51" y="54"/>
                      </a:lnTo>
                      <a:lnTo>
                        <a:pt x="52" y="55"/>
                      </a:lnTo>
                      <a:lnTo>
                        <a:pt x="52" y="56"/>
                      </a:lnTo>
                      <a:lnTo>
                        <a:pt x="53" y="56"/>
                      </a:lnTo>
                      <a:lnTo>
                        <a:pt x="54" y="56"/>
                      </a:lnTo>
                      <a:lnTo>
                        <a:pt x="56" y="55"/>
                      </a:lnTo>
                      <a:lnTo>
                        <a:pt x="58" y="53"/>
                      </a:lnTo>
                      <a:lnTo>
                        <a:pt x="58" y="52"/>
                      </a:lnTo>
                      <a:lnTo>
                        <a:pt x="59" y="49"/>
                      </a:lnTo>
                      <a:lnTo>
                        <a:pt x="60" y="44"/>
                      </a:lnTo>
                      <a:lnTo>
                        <a:pt x="62" y="37"/>
                      </a:lnTo>
                      <a:lnTo>
                        <a:pt x="63" y="31"/>
                      </a:lnTo>
                      <a:lnTo>
                        <a:pt x="65" y="24"/>
                      </a:lnTo>
                      <a:lnTo>
                        <a:pt x="67" y="30"/>
                      </a:lnTo>
                      <a:lnTo>
                        <a:pt x="68" y="36"/>
                      </a:lnTo>
                      <a:lnTo>
                        <a:pt x="70" y="41"/>
                      </a:lnTo>
                      <a:lnTo>
                        <a:pt x="71" y="47"/>
                      </a:lnTo>
                      <a:lnTo>
                        <a:pt x="73" y="48"/>
                      </a:lnTo>
                      <a:lnTo>
                        <a:pt x="74" y="49"/>
                      </a:lnTo>
                      <a:lnTo>
                        <a:pt x="76" y="49"/>
                      </a:lnTo>
                      <a:lnTo>
                        <a:pt x="77" y="49"/>
                      </a:lnTo>
                      <a:lnTo>
                        <a:pt x="78" y="49"/>
                      </a:lnTo>
                      <a:lnTo>
                        <a:pt x="79" y="48"/>
                      </a:lnTo>
                      <a:lnTo>
                        <a:pt x="79" y="46"/>
                      </a:lnTo>
                      <a:lnTo>
                        <a:pt x="79"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52" name="Freeform 431">
                  <a:extLst>
                    <a:ext uri="{FF2B5EF4-FFF2-40B4-BE49-F238E27FC236}">
                      <a16:creationId xmlns:a16="http://schemas.microsoft.com/office/drawing/2014/main" id="{DDB65AD7-C062-4D59-9439-0A417610AEC0}"/>
                    </a:ext>
                  </a:extLst>
                </p:cNvPr>
                <p:cNvSpPr>
                  <a:spLocks/>
                </p:cNvSpPr>
                <p:nvPr/>
              </p:nvSpPr>
              <p:spPr bwMode="auto">
                <a:xfrm>
                  <a:off x="3392488" y="4545013"/>
                  <a:ext cx="190500" cy="96837"/>
                </a:xfrm>
                <a:custGeom>
                  <a:avLst/>
                  <a:gdLst>
                    <a:gd name="T0" fmla="*/ 2147483646 w 241"/>
                    <a:gd name="T1" fmla="*/ 2147483646 h 121"/>
                    <a:gd name="T2" fmla="*/ 2147483646 w 241"/>
                    <a:gd name="T3" fmla="*/ 2147483646 h 121"/>
                    <a:gd name="T4" fmla="*/ 2147483646 w 241"/>
                    <a:gd name="T5" fmla="*/ 2147483646 h 121"/>
                    <a:gd name="T6" fmla="*/ 2147483646 w 241"/>
                    <a:gd name="T7" fmla="*/ 2147483646 h 121"/>
                    <a:gd name="T8" fmla="*/ 2147483646 w 241"/>
                    <a:gd name="T9" fmla="*/ 2147483646 h 121"/>
                    <a:gd name="T10" fmla="*/ 2147483646 w 241"/>
                    <a:gd name="T11" fmla="*/ 2147483646 h 121"/>
                    <a:gd name="T12" fmla="*/ 2147483646 w 241"/>
                    <a:gd name="T13" fmla="*/ 2147483646 h 121"/>
                    <a:gd name="T14" fmla="*/ 2147483646 w 241"/>
                    <a:gd name="T15" fmla="*/ 2147483646 h 121"/>
                    <a:gd name="T16" fmla="*/ 2147483646 w 241"/>
                    <a:gd name="T17" fmla="*/ 2147483646 h 121"/>
                    <a:gd name="T18" fmla="*/ 2147483646 w 241"/>
                    <a:gd name="T19" fmla="*/ 2147483646 h 121"/>
                    <a:gd name="T20" fmla="*/ 2147483646 w 241"/>
                    <a:gd name="T21" fmla="*/ 2147483646 h 121"/>
                    <a:gd name="T22" fmla="*/ 2147483646 w 241"/>
                    <a:gd name="T23" fmla="*/ 2147483646 h 121"/>
                    <a:gd name="T24" fmla="*/ 2147483646 w 241"/>
                    <a:gd name="T25" fmla="*/ 2147483646 h 121"/>
                    <a:gd name="T26" fmla="*/ 2147483646 w 241"/>
                    <a:gd name="T27" fmla="*/ 2147483646 h 121"/>
                    <a:gd name="T28" fmla="*/ 0 w 241"/>
                    <a:gd name="T29" fmla="*/ 2147483646 h 121"/>
                    <a:gd name="T30" fmla="*/ 0 w 241"/>
                    <a:gd name="T31" fmla="*/ 2147483646 h 121"/>
                    <a:gd name="T32" fmla="*/ 2147483646 w 241"/>
                    <a:gd name="T33" fmla="*/ 2147483646 h 121"/>
                    <a:gd name="T34" fmla="*/ 2147483646 w 241"/>
                    <a:gd name="T35" fmla="*/ 2147483646 h 121"/>
                    <a:gd name="T36" fmla="*/ 2147483646 w 241"/>
                    <a:gd name="T37" fmla="*/ 2147483646 h 121"/>
                    <a:gd name="T38" fmla="*/ 2147483646 w 241"/>
                    <a:gd name="T39" fmla="*/ 2147483646 h 121"/>
                    <a:gd name="T40" fmla="*/ 2147483646 w 241"/>
                    <a:gd name="T41" fmla="*/ 2147483646 h 121"/>
                    <a:gd name="T42" fmla="*/ 2147483646 w 241"/>
                    <a:gd name="T43" fmla="*/ 2147483646 h 121"/>
                    <a:gd name="T44" fmla="*/ 2147483646 w 241"/>
                    <a:gd name="T45" fmla="*/ 2147483646 h 121"/>
                    <a:gd name="T46" fmla="*/ 2147483646 w 241"/>
                    <a:gd name="T47" fmla="*/ 2147483646 h 121"/>
                    <a:gd name="T48" fmla="*/ 2147483646 w 241"/>
                    <a:gd name="T49" fmla="*/ 2147483646 h 121"/>
                    <a:gd name="T50" fmla="*/ 2147483646 w 241"/>
                    <a:gd name="T51" fmla="*/ 2147483646 h 121"/>
                    <a:gd name="T52" fmla="*/ 2147483646 w 241"/>
                    <a:gd name="T53" fmla="*/ 2147483646 h 121"/>
                    <a:gd name="T54" fmla="*/ 2147483646 w 241"/>
                    <a:gd name="T55" fmla="*/ 2147483646 h 121"/>
                    <a:gd name="T56" fmla="*/ 2147483646 w 241"/>
                    <a:gd name="T57" fmla="*/ 2147483646 h 121"/>
                    <a:gd name="T58" fmla="*/ 2147483646 w 241"/>
                    <a:gd name="T59" fmla="*/ 2147483646 h 121"/>
                    <a:gd name="T60" fmla="*/ 2147483646 w 241"/>
                    <a:gd name="T61" fmla="*/ 2147483646 h 121"/>
                    <a:gd name="T62" fmla="*/ 2147483646 w 241"/>
                    <a:gd name="T63" fmla="*/ 2147483646 h 121"/>
                    <a:gd name="T64" fmla="*/ 2147483646 w 241"/>
                    <a:gd name="T65" fmla="*/ 2147483646 h 121"/>
                    <a:gd name="T66" fmla="*/ 2147483646 w 241"/>
                    <a:gd name="T67" fmla="*/ 0 h 12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1"/>
                    <a:gd name="T103" fmla="*/ 0 h 121"/>
                    <a:gd name="T104" fmla="*/ 241 w 241"/>
                    <a:gd name="T105" fmla="*/ 121 h 12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1" h="121">
                      <a:moveTo>
                        <a:pt x="236" y="0"/>
                      </a:moveTo>
                      <a:lnTo>
                        <a:pt x="215" y="1"/>
                      </a:lnTo>
                      <a:lnTo>
                        <a:pt x="194" y="3"/>
                      </a:lnTo>
                      <a:lnTo>
                        <a:pt x="174" y="3"/>
                      </a:lnTo>
                      <a:lnTo>
                        <a:pt x="153" y="3"/>
                      </a:lnTo>
                      <a:lnTo>
                        <a:pt x="132" y="3"/>
                      </a:lnTo>
                      <a:lnTo>
                        <a:pt x="112" y="3"/>
                      </a:lnTo>
                      <a:lnTo>
                        <a:pt x="91" y="3"/>
                      </a:lnTo>
                      <a:lnTo>
                        <a:pt x="70" y="3"/>
                      </a:lnTo>
                      <a:lnTo>
                        <a:pt x="62" y="4"/>
                      </a:lnTo>
                      <a:lnTo>
                        <a:pt x="61" y="4"/>
                      </a:lnTo>
                      <a:lnTo>
                        <a:pt x="61" y="5"/>
                      </a:lnTo>
                      <a:lnTo>
                        <a:pt x="60" y="6"/>
                      </a:lnTo>
                      <a:lnTo>
                        <a:pt x="59" y="7"/>
                      </a:lnTo>
                      <a:lnTo>
                        <a:pt x="57" y="13"/>
                      </a:lnTo>
                      <a:lnTo>
                        <a:pt x="49" y="35"/>
                      </a:lnTo>
                      <a:lnTo>
                        <a:pt x="44" y="58"/>
                      </a:lnTo>
                      <a:lnTo>
                        <a:pt x="38" y="81"/>
                      </a:lnTo>
                      <a:lnTo>
                        <a:pt x="31" y="104"/>
                      </a:lnTo>
                      <a:lnTo>
                        <a:pt x="29" y="109"/>
                      </a:lnTo>
                      <a:lnTo>
                        <a:pt x="24" y="98"/>
                      </a:lnTo>
                      <a:lnTo>
                        <a:pt x="18" y="88"/>
                      </a:lnTo>
                      <a:lnTo>
                        <a:pt x="13" y="77"/>
                      </a:lnTo>
                      <a:lnTo>
                        <a:pt x="8" y="67"/>
                      </a:lnTo>
                      <a:lnTo>
                        <a:pt x="7" y="66"/>
                      </a:lnTo>
                      <a:lnTo>
                        <a:pt x="6" y="65"/>
                      </a:lnTo>
                      <a:lnTo>
                        <a:pt x="3" y="65"/>
                      </a:lnTo>
                      <a:lnTo>
                        <a:pt x="2" y="65"/>
                      </a:lnTo>
                      <a:lnTo>
                        <a:pt x="1" y="66"/>
                      </a:lnTo>
                      <a:lnTo>
                        <a:pt x="0" y="67"/>
                      </a:lnTo>
                      <a:lnTo>
                        <a:pt x="0" y="69"/>
                      </a:lnTo>
                      <a:lnTo>
                        <a:pt x="0" y="71"/>
                      </a:lnTo>
                      <a:lnTo>
                        <a:pt x="4" y="82"/>
                      </a:lnTo>
                      <a:lnTo>
                        <a:pt x="11" y="94"/>
                      </a:lnTo>
                      <a:lnTo>
                        <a:pt x="17" y="105"/>
                      </a:lnTo>
                      <a:lnTo>
                        <a:pt x="23" y="117"/>
                      </a:lnTo>
                      <a:lnTo>
                        <a:pt x="24" y="119"/>
                      </a:lnTo>
                      <a:lnTo>
                        <a:pt x="25" y="120"/>
                      </a:lnTo>
                      <a:lnTo>
                        <a:pt x="26" y="120"/>
                      </a:lnTo>
                      <a:lnTo>
                        <a:pt x="29" y="121"/>
                      </a:lnTo>
                      <a:lnTo>
                        <a:pt x="30" y="121"/>
                      </a:lnTo>
                      <a:lnTo>
                        <a:pt x="32" y="120"/>
                      </a:lnTo>
                      <a:lnTo>
                        <a:pt x="33" y="120"/>
                      </a:lnTo>
                      <a:lnTo>
                        <a:pt x="33" y="119"/>
                      </a:lnTo>
                      <a:lnTo>
                        <a:pt x="34" y="119"/>
                      </a:lnTo>
                      <a:lnTo>
                        <a:pt x="34" y="118"/>
                      </a:lnTo>
                      <a:lnTo>
                        <a:pt x="37" y="113"/>
                      </a:lnTo>
                      <a:lnTo>
                        <a:pt x="45" y="89"/>
                      </a:lnTo>
                      <a:lnTo>
                        <a:pt x="51" y="65"/>
                      </a:lnTo>
                      <a:lnTo>
                        <a:pt x="57" y="41"/>
                      </a:lnTo>
                      <a:lnTo>
                        <a:pt x="66" y="16"/>
                      </a:lnTo>
                      <a:lnTo>
                        <a:pt x="67" y="12"/>
                      </a:lnTo>
                      <a:lnTo>
                        <a:pt x="87" y="12"/>
                      </a:lnTo>
                      <a:lnTo>
                        <a:pt x="109" y="12"/>
                      </a:lnTo>
                      <a:lnTo>
                        <a:pt x="130" y="12"/>
                      </a:lnTo>
                      <a:lnTo>
                        <a:pt x="152" y="12"/>
                      </a:lnTo>
                      <a:lnTo>
                        <a:pt x="173" y="12"/>
                      </a:lnTo>
                      <a:lnTo>
                        <a:pt x="193" y="11"/>
                      </a:lnTo>
                      <a:lnTo>
                        <a:pt x="215" y="11"/>
                      </a:lnTo>
                      <a:lnTo>
                        <a:pt x="236" y="10"/>
                      </a:lnTo>
                      <a:lnTo>
                        <a:pt x="237" y="10"/>
                      </a:lnTo>
                      <a:lnTo>
                        <a:pt x="239" y="8"/>
                      </a:lnTo>
                      <a:lnTo>
                        <a:pt x="241" y="6"/>
                      </a:lnTo>
                      <a:lnTo>
                        <a:pt x="241" y="5"/>
                      </a:lnTo>
                      <a:lnTo>
                        <a:pt x="241" y="4"/>
                      </a:lnTo>
                      <a:lnTo>
                        <a:pt x="239" y="1"/>
                      </a:lnTo>
                      <a:lnTo>
                        <a:pt x="237" y="0"/>
                      </a:lnTo>
                      <a:lnTo>
                        <a:pt x="23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53" name="Freeform 432">
                  <a:extLst>
                    <a:ext uri="{FF2B5EF4-FFF2-40B4-BE49-F238E27FC236}">
                      <a16:creationId xmlns:a16="http://schemas.microsoft.com/office/drawing/2014/main" id="{B4AD21E0-78D0-4AA6-917A-9EBCAE9A5124}"/>
                    </a:ext>
                  </a:extLst>
                </p:cNvPr>
                <p:cNvSpPr>
                  <a:spLocks/>
                </p:cNvSpPr>
                <p:nvPr/>
              </p:nvSpPr>
              <p:spPr bwMode="auto">
                <a:xfrm>
                  <a:off x="3451225" y="4568825"/>
                  <a:ext cx="41275" cy="39687"/>
                </a:xfrm>
                <a:custGeom>
                  <a:avLst/>
                  <a:gdLst>
                    <a:gd name="T0" fmla="*/ 2147483646 w 53"/>
                    <a:gd name="T1" fmla="*/ 2147483646 h 51"/>
                    <a:gd name="T2" fmla="*/ 2147483646 w 53"/>
                    <a:gd name="T3" fmla="*/ 2147483646 h 51"/>
                    <a:gd name="T4" fmla="*/ 2147483646 w 53"/>
                    <a:gd name="T5" fmla="*/ 2147483646 h 51"/>
                    <a:gd name="T6" fmla="*/ 2147483646 w 53"/>
                    <a:gd name="T7" fmla="*/ 2147483646 h 51"/>
                    <a:gd name="T8" fmla="*/ 2147483646 w 53"/>
                    <a:gd name="T9" fmla="*/ 2147483646 h 51"/>
                    <a:gd name="T10" fmla="*/ 2147483646 w 53"/>
                    <a:gd name="T11" fmla="*/ 2147483646 h 51"/>
                    <a:gd name="T12" fmla="*/ 2147483646 w 53"/>
                    <a:gd name="T13" fmla="*/ 2147483646 h 51"/>
                    <a:gd name="T14" fmla="*/ 2147483646 w 53"/>
                    <a:gd name="T15" fmla="*/ 2147483646 h 51"/>
                    <a:gd name="T16" fmla="*/ 2147483646 w 53"/>
                    <a:gd name="T17" fmla="*/ 2147483646 h 51"/>
                    <a:gd name="T18" fmla="*/ 2147483646 w 53"/>
                    <a:gd name="T19" fmla="*/ 2147483646 h 51"/>
                    <a:gd name="T20" fmla="*/ 2147483646 w 53"/>
                    <a:gd name="T21" fmla="*/ 2147483646 h 51"/>
                    <a:gd name="T22" fmla="*/ 2147483646 w 53"/>
                    <a:gd name="T23" fmla="*/ 2147483646 h 51"/>
                    <a:gd name="T24" fmla="*/ 2147483646 w 53"/>
                    <a:gd name="T25" fmla="*/ 2147483646 h 51"/>
                    <a:gd name="T26" fmla="*/ 0 w 53"/>
                    <a:gd name="T27" fmla="*/ 2147483646 h 51"/>
                    <a:gd name="T28" fmla="*/ 2147483646 w 53"/>
                    <a:gd name="T29" fmla="*/ 2147483646 h 51"/>
                    <a:gd name="T30" fmla="*/ 2147483646 w 53"/>
                    <a:gd name="T31" fmla="*/ 2147483646 h 51"/>
                    <a:gd name="T32" fmla="*/ 2147483646 w 53"/>
                    <a:gd name="T33" fmla="*/ 2147483646 h 51"/>
                    <a:gd name="T34" fmla="*/ 2147483646 w 53"/>
                    <a:gd name="T35" fmla="*/ 2147483646 h 51"/>
                    <a:gd name="T36" fmla="*/ 2147483646 w 53"/>
                    <a:gd name="T37" fmla="*/ 2147483646 h 51"/>
                    <a:gd name="T38" fmla="*/ 2147483646 w 53"/>
                    <a:gd name="T39" fmla="*/ 2147483646 h 51"/>
                    <a:gd name="T40" fmla="*/ 2147483646 w 53"/>
                    <a:gd name="T41" fmla="*/ 2147483646 h 51"/>
                    <a:gd name="T42" fmla="*/ 2147483646 w 53"/>
                    <a:gd name="T43" fmla="*/ 2147483646 h 51"/>
                    <a:gd name="T44" fmla="*/ 2147483646 w 53"/>
                    <a:gd name="T45" fmla="*/ 2147483646 h 51"/>
                    <a:gd name="T46" fmla="*/ 2147483646 w 53"/>
                    <a:gd name="T47" fmla="*/ 2147483646 h 51"/>
                    <a:gd name="T48" fmla="*/ 2147483646 w 53"/>
                    <a:gd name="T49" fmla="*/ 2147483646 h 51"/>
                    <a:gd name="T50" fmla="*/ 2147483646 w 53"/>
                    <a:gd name="T51" fmla="*/ 2147483646 h 51"/>
                    <a:gd name="T52" fmla="*/ 2147483646 w 53"/>
                    <a:gd name="T53" fmla="*/ 2147483646 h 51"/>
                    <a:gd name="T54" fmla="*/ 2147483646 w 53"/>
                    <a:gd name="T55" fmla="*/ 2147483646 h 51"/>
                    <a:gd name="T56" fmla="*/ 2147483646 w 53"/>
                    <a:gd name="T57" fmla="*/ 2147483646 h 51"/>
                    <a:gd name="T58" fmla="*/ 2147483646 w 53"/>
                    <a:gd name="T59" fmla="*/ 2147483646 h 51"/>
                    <a:gd name="T60" fmla="*/ 2147483646 w 53"/>
                    <a:gd name="T61" fmla="*/ 2147483646 h 51"/>
                    <a:gd name="T62" fmla="*/ 2147483646 w 53"/>
                    <a:gd name="T63" fmla="*/ 2147483646 h 51"/>
                    <a:gd name="T64" fmla="*/ 2147483646 w 53"/>
                    <a:gd name="T65" fmla="*/ 2147483646 h 51"/>
                    <a:gd name="T66" fmla="*/ 2147483646 w 53"/>
                    <a:gd name="T67" fmla="*/ 2147483646 h 51"/>
                    <a:gd name="T68" fmla="*/ 2147483646 w 53"/>
                    <a:gd name="T69" fmla="*/ 2147483646 h 51"/>
                    <a:gd name="T70" fmla="*/ 2147483646 w 53"/>
                    <a:gd name="T71" fmla="*/ 2147483646 h 51"/>
                    <a:gd name="T72" fmla="*/ 2147483646 w 53"/>
                    <a:gd name="T73" fmla="*/ 2147483646 h 51"/>
                    <a:gd name="T74" fmla="*/ 2147483646 w 53"/>
                    <a:gd name="T75" fmla="*/ 2147483646 h 51"/>
                    <a:gd name="T76" fmla="*/ 2147483646 w 53"/>
                    <a:gd name="T77" fmla="*/ 2147483646 h 51"/>
                    <a:gd name="T78" fmla="*/ 2147483646 w 53"/>
                    <a:gd name="T79" fmla="*/ 2147483646 h 51"/>
                    <a:gd name="T80" fmla="*/ 2147483646 w 53"/>
                    <a:gd name="T81" fmla="*/ 2147483646 h 5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3"/>
                    <a:gd name="T124" fmla="*/ 0 h 51"/>
                    <a:gd name="T125" fmla="*/ 53 w 53"/>
                    <a:gd name="T126" fmla="*/ 51 h 5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3" h="51">
                      <a:moveTo>
                        <a:pt x="51" y="11"/>
                      </a:moveTo>
                      <a:lnTo>
                        <a:pt x="50" y="9"/>
                      </a:lnTo>
                      <a:lnTo>
                        <a:pt x="48" y="9"/>
                      </a:lnTo>
                      <a:lnTo>
                        <a:pt x="47" y="9"/>
                      </a:lnTo>
                      <a:lnTo>
                        <a:pt x="44" y="11"/>
                      </a:lnTo>
                      <a:lnTo>
                        <a:pt x="40" y="18"/>
                      </a:lnTo>
                      <a:lnTo>
                        <a:pt x="39" y="20"/>
                      </a:lnTo>
                      <a:lnTo>
                        <a:pt x="38" y="22"/>
                      </a:lnTo>
                      <a:lnTo>
                        <a:pt x="35" y="24"/>
                      </a:lnTo>
                      <a:lnTo>
                        <a:pt x="34" y="27"/>
                      </a:lnTo>
                      <a:lnTo>
                        <a:pt x="33" y="22"/>
                      </a:lnTo>
                      <a:lnTo>
                        <a:pt x="31" y="18"/>
                      </a:lnTo>
                      <a:lnTo>
                        <a:pt x="28" y="13"/>
                      </a:lnTo>
                      <a:lnTo>
                        <a:pt x="26" y="9"/>
                      </a:lnTo>
                      <a:lnTo>
                        <a:pt x="21" y="3"/>
                      </a:lnTo>
                      <a:lnTo>
                        <a:pt x="20" y="1"/>
                      </a:lnTo>
                      <a:lnTo>
                        <a:pt x="18" y="0"/>
                      </a:lnTo>
                      <a:lnTo>
                        <a:pt x="17" y="1"/>
                      </a:lnTo>
                      <a:lnTo>
                        <a:pt x="16" y="3"/>
                      </a:lnTo>
                      <a:lnTo>
                        <a:pt x="11" y="6"/>
                      </a:lnTo>
                      <a:lnTo>
                        <a:pt x="5" y="13"/>
                      </a:lnTo>
                      <a:lnTo>
                        <a:pt x="3" y="20"/>
                      </a:lnTo>
                      <a:lnTo>
                        <a:pt x="1" y="28"/>
                      </a:lnTo>
                      <a:lnTo>
                        <a:pt x="0" y="36"/>
                      </a:lnTo>
                      <a:lnTo>
                        <a:pt x="0" y="38"/>
                      </a:lnTo>
                      <a:lnTo>
                        <a:pt x="1" y="39"/>
                      </a:lnTo>
                      <a:lnTo>
                        <a:pt x="2" y="41"/>
                      </a:lnTo>
                      <a:lnTo>
                        <a:pt x="3" y="42"/>
                      </a:lnTo>
                      <a:lnTo>
                        <a:pt x="4" y="42"/>
                      </a:lnTo>
                      <a:lnTo>
                        <a:pt x="6" y="41"/>
                      </a:lnTo>
                      <a:lnTo>
                        <a:pt x="8" y="39"/>
                      </a:lnTo>
                      <a:lnTo>
                        <a:pt x="9" y="38"/>
                      </a:lnTo>
                      <a:lnTo>
                        <a:pt x="10" y="31"/>
                      </a:lnTo>
                      <a:lnTo>
                        <a:pt x="11" y="23"/>
                      </a:lnTo>
                      <a:lnTo>
                        <a:pt x="13" y="18"/>
                      </a:lnTo>
                      <a:lnTo>
                        <a:pt x="17" y="12"/>
                      </a:lnTo>
                      <a:lnTo>
                        <a:pt x="21" y="18"/>
                      </a:lnTo>
                      <a:lnTo>
                        <a:pt x="25" y="24"/>
                      </a:lnTo>
                      <a:lnTo>
                        <a:pt x="26" y="31"/>
                      </a:lnTo>
                      <a:lnTo>
                        <a:pt x="27" y="39"/>
                      </a:lnTo>
                      <a:lnTo>
                        <a:pt x="28" y="46"/>
                      </a:lnTo>
                      <a:lnTo>
                        <a:pt x="28" y="47"/>
                      </a:lnTo>
                      <a:lnTo>
                        <a:pt x="30" y="49"/>
                      </a:lnTo>
                      <a:lnTo>
                        <a:pt x="31" y="50"/>
                      </a:lnTo>
                      <a:lnTo>
                        <a:pt x="32" y="50"/>
                      </a:lnTo>
                      <a:lnTo>
                        <a:pt x="33" y="50"/>
                      </a:lnTo>
                      <a:lnTo>
                        <a:pt x="35" y="49"/>
                      </a:lnTo>
                      <a:lnTo>
                        <a:pt x="36" y="46"/>
                      </a:lnTo>
                      <a:lnTo>
                        <a:pt x="36" y="45"/>
                      </a:lnTo>
                      <a:lnTo>
                        <a:pt x="36" y="44"/>
                      </a:lnTo>
                      <a:lnTo>
                        <a:pt x="36" y="43"/>
                      </a:lnTo>
                      <a:lnTo>
                        <a:pt x="38" y="38"/>
                      </a:lnTo>
                      <a:lnTo>
                        <a:pt x="40" y="35"/>
                      </a:lnTo>
                      <a:lnTo>
                        <a:pt x="41" y="31"/>
                      </a:lnTo>
                      <a:lnTo>
                        <a:pt x="43" y="28"/>
                      </a:lnTo>
                      <a:lnTo>
                        <a:pt x="43" y="33"/>
                      </a:lnTo>
                      <a:lnTo>
                        <a:pt x="43" y="37"/>
                      </a:lnTo>
                      <a:lnTo>
                        <a:pt x="43" y="42"/>
                      </a:lnTo>
                      <a:lnTo>
                        <a:pt x="43" y="46"/>
                      </a:lnTo>
                      <a:lnTo>
                        <a:pt x="43" y="49"/>
                      </a:lnTo>
                      <a:lnTo>
                        <a:pt x="44" y="50"/>
                      </a:lnTo>
                      <a:lnTo>
                        <a:pt x="46" y="51"/>
                      </a:lnTo>
                      <a:lnTo>
                        <a:pt x="47" y="51"/>
                      </a:lnTo>
                      <a:lnTo>
                        <a:pt x="49" y="51"/>
                      </a:lnTo>
                      <a:lnTo>
                        <a:pt x="50" y="50"/>
                      </a:lnTo>
                      <a:lnTo>
                        <a:pt x="51" y="49"/>
                      </a:lnTo>
                      <a:lnTo>
                        <a:pt x="51" y="47"/>
                      </a:lnTo>
                      <a:lnTo>
                        <a:pt x="51" y="43"/>
                      </a:lnTo>
                      <a:lnTo>
                        <a:pt x="53" y="38"/>
                      </a:lnTo>
                      <a:lnTo>
                        <a:pt x="53" y="34"/>
                      </a:lnTo>
                      <a:lnTo>
                        <a:pt x="53" y="29"/>
                      </a:lnTo>
                      <a:lnTo>
                        <a:pt x="53" y="14"/>
                      </a:lnTo>
                      <a:lnTo>
                        <a:pt x="53" y="13"/>
                      </a:lnTo>
                      <a:lnTo>
                        <a:pt x="53" y="12"/>
                      </a:lnTo>
                      <a:lnTo>
                        <a:pt x="51"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54" name="Freeform 433">
                  <a:extLst>
                    <a:ext uri="{FF2B5EF4-FFF2-40B4-BE49-F238E27FC236}">
                      <a16:creationId xmlns:a16="http://schemas.microsoft.com/office/drawing/2014/main" id="{1467C4F2-16C7-4A5B-ABFB-357BB9BC7D00}"/>
                    </a:ext>
                  </a:extLst>
                </p:cNvPr>
                <p:cNvSpPr>
                  <a:spLocks/>
                </p:cNvSpPr>
                <p:nvPr/>
              </p:nvSpPr>
              <p:spPr bwMode="auto">
                <a:xfrm>
                  <a:off x="3506788" y="4565650"/>
                  <a:ext cx="38100" cy="46037"/>
                </a:xfrm>
                <a:custGeom>
                  <a:avLst/>
                  <a:gdLst>
                    <a:gd name="T0" fmla="*/ 2147483646 w 47"/>
                    <a:gd name="T1" fmla="*/ 2147483646 h 56"/>
                    <a:gd name="T2" fmla="*/ 2147483646 w 47"/>
                    <a:gd name="T3" fmla="*/ 2147483646 h 56"/>
                    <a:gd name="T4" fmla="*/ 2147483646 w 47"/>
                    <a:gd name="T5" fmla="*/ 2147483646 h 56"/>
                    <a:gd name="T6" fmla="*/ 2147483646 w 47"/>
                    <a:gd name="T7" fmla="*/ 2147483646 h 56"/>
                    <a:gd name="T8" fmla="*/ 2147483646 w 47"/>
                    <a:gd name="T9" fmla="*/ 2147483646 h 56"/>
                    <a:gd name="T10" fmla="*/ 2147483646 w 47"/>
                    <a:gd name="T11" fmla="*/ 2147483646 h 56"/>
                    <a:gd name="T12" fmla="*/ 2147483646 w 47"/>
                    <a:gd name="T13" fmla="*/ 2147483646 h 56"/>
                    <a:gd name="T14" fmla="*/ 2147483646 w 47"/>
                    <a:gd name="T15" fmla="*/ 2147483646 h 56"/>
                    <a:gd name="T16" fmla="*/ 2147483646 w 47"/>
                    <a:gd name="T17" fmla="*/ 0 h 56"/>
                    <a:gd name="T18" fmla="*/ 2147483646 w 47"/>
                    <a:gd name="T19" fmla="*/ 2147483646 h 56"/>
                    <a:gd name="T20" fmla="*/ 2147483646 w 47"/>
                    <a:gd name="T21" fmla="*/ 2147483646 h 56"/>
                    <a:gd name="T22" fmla="*/ 2147483646 w 47"/>
                    <a:gd name="T23" fmla="*/ 2147483646 h 56"/>
                    <a:gd name="T24" fmla="*/ 0 w 47"/>
                    <a:gd name="T25" fmla="*/ 2147483646 h 56"/>
                    <a:gd name="T26" fmla="*/ 0 w 47"/>
                    <a:gd name="T27" fmla="*/ 2147483646 h 56"/>
                    <a:gd name="T28" fmla="*/ 2147483646 w 47"/>
                    <a:gd name="T29" fmla="*/ 2147483646 h 56"/>
                    <a:gd name="T30" fmla="*/ 2147483646 w 47"/>
                    <a:gd name="T31" fmla="*/ 2147483646 h 56"/>
                    <a:gd name="T32" fmla="*/ 2147483646 w 47"/>
                    <a:gd name="T33" fmla="*/ 2147483646 h 56"/>
                    <a:gd name="T34" fmla="*/ 2147483646 w 47"/>
                    <a:gd name="T35" fmla="*/ 2147483646 h 56"/>
                    <a:gd name="T36" fmla="*/ 2147483646 w 47"/>
                    <a:gd name="T37" fmla="*/ 2147483646 h 56"/>
                    <a:gd name="T38" fmla="*/ 2147483646 w 47"/>
                    <a:gd name="T39" fmla="*/ 2147483646 h 56"/>
                    <a:gd name="T40" fmla="*/ 2147483646 w 47"/>
                    <a:gd name="T41" fmla="*/ 2147483646 h 56"/>
                    <a:gd name="T42" fmla="*/ 2147483646 w 47"/>
                    <a:gd name="T43" fmla="*/ 2147483646 h 56"/>
                    <a:gd name="T44" fmla="*/ 2147483646 w 47"/>
                    <a:gd name="T45" fmla="*/ 2147483646 h 56"/>
                    <a:gd name="T46" fmla="*/ 2147483646 w 47"/>
                    <a:gd name="T47" fmla="*/ 2147483646 h 56"/>
                    <a:gd name="T48" fmla="*/ 2147483646 w 47"/>
                    <a:gd name="T49" fmla="*/ 2147483646 h 56"/>
                    <a:gd name="T50" fmla="*/ 2147483646 w 47"/>
                    <a:gd name="T51" fmla="*/ 2147483646 h 56"/>
                    <a:gd name="T52" fmla="*/ 2147483646 w 47"/>
                    <a:gd name="T53" fmla="*/ 2147483646 h 56"/>
                    <a:gd name="T54" fmla="*/ 2147483646 w 47"/>
                    <a:gd name="T55" fmla="*/ 2147483646 h 56"/>
                    <a:gd name="T56" fmla="*/ 2147483646 w 47"/>
                    <a:gd name="T57" fmla="*/ 2147483646 h 56"/>
                    <a:gd name="T58" fmla="*/ 2147483646 w 47"/>
                    <a:gd name="T59" fmla="*/ 2147483646 h 56"/>
                    <a:gd name="T60" fmla="*/ 2147483646 w 47"/>
                    <a:gd name="T61" fmla="*/ 2147483646 h 56"/>
                    <a:gd name="T62" fmla="*/ 2147483646 w 47"/>
                    <a:gd name="T63" fmla="*/ 2147483646 h 56"/>
                    <a:gd name="T64" fmla="*/ 2147483646 w 47"/>
                    <a:gd name="T65" fmla="*/ 2147483646 h 56"/>
                    <a:gd name="T66" fmla="*/ 2147483646 w 47"/>
                    <a:gd name="T67" fmla="*/ 2147483646 h 56"/>
                    <a:gd name="T68" fmla="*/ 2147483646 w 47"/>
                    <a:gd name="T69" fmla="*/ 2147483646 h 56"/>
                    <a:gd name="T70" fmla="*/ 2147483646 w 47"/>
                    <a:gd name="T71" fmla="*/ 2147483646 h 56"/>
                    <a:gd name="T72" fmla="*/ 2147483646 w 47"/>
                    <a:gd name="T73" fmla="*/ 2147483646 h 56"/>
                    <a:gd name="T74" fmla="*/ 2147483646 w 47"/>
                    <a:gd name="T75" fmla="*/ 2147483646 h 5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
                    <a:gd name="T115" fmla="*/ 0 h 56"/>
                    <a:gd name="T116" fmla="*/ 47 w 47"/>
                    <a:gd name="T117" fmla="*/ 56 h 5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 h="56">
                      <a:moveTo>
                        <a:pt x="44" y="24"/>
                      </a:moveTo>
                      <a:lnTo>
                        <a:pt x="38" y="22"/>
                      </a:lnTo>
                      <a:lnTo>
                        <a:pt x="31" y="19"/>
                      </a:lnTo>
                      <a:lnTo>
                        <a:pt x="25" y="17"/>
                      </a:lnTo>
                      <a:lnTo>
                        <a:pt x="18" y="14"/>
                      </a:lnTo>
                      <a:lnTo>
                        <a:pt x="12" y="11"/>
                      </a:lnTo>
                      <a:lnTo>
                        <a:pt x="8" y="8"/>
                      </a:lnTo>
                      <a:lnTo>
                        <a:pt x="8" y="4"/>
                      </a:lnTo>
                      <a:lnTo>
                        <a:pt x="9" y="6"/>
                      </a:lnTo>
                      <a:lnTo>
                        <a:pt x="10" y="6"/>
                      </a:lnTo>
                      <a:lnTo>
                        <a:pt x="10" y="7"/>
                      </a:lnTo>
                      <a:lnTo>
                        <a:pt x="11" y="8"/>
                      </a:lnTo>
                      <a:lnTo>
                        <a:pt x="12" y="6"/>
                      </a:lnTo>
                      <a:lnTo>
                        <a:pt x="12" y="4"/>
                      </a:lnTo>
                      <a:lnTo>
                        <a:pt x="11" y="2"/>
                      </a:lnTo>
                      <a:lnTo>
                        <a:pt x="10" y="1"/>
                      </a:lnTo>
                      <a:lnTo>
                        <a:pt x="9" y="0"/>
                      </a:lnTo>
                      <a:lnTo>
                        <a:pt x="8" y="0"/>
                      </a:lnTo>
                      <a:lnTo>
                        <a:pt x="6" y="1"/>
                      </a:lnTo>
                      <a:lnTo>
                        <a:pt x="4" y="2"/>
                      </a:lnTo>
                      <a:lnTo>
                        <a:pt x="3" y="3"/>
                      </a:lnTo>
                      <a:lnTo>
                        <a:pt x="3" y="4"/>
                      </a:lnTo>
                      <a:lnTo>
                        <a:pt x="2" y="7"/>
                      </a:lnTo>
                      <a:lnTo>
                        <a:pt x="1" y="8"/>
                      </a:lnTo>
                      <a:lnTo>
                        <a:pt x="0" y="9"/>
                      </a:lnTo>
                      <a:lnTo>
                        <a:pt x="0" y="10"/>
                      </a:lnTo>
                      <a:lnTo>
                        <a:pt x="0" y="11"/>
                      </a:lnTo>
                      <a:lnTo>
                        <a:pt x="1" y="12"/>
                      </a:lnTo>
                      <a:lnTo>
                        <a:pt x="4" y="17"/>
                      </a:lnTo>
                      <a:lnTo>
                        <a:pt x="11" y="21"/>
                      </a:lnTo>
                      <a:lnTo>
                        <a:pt x="18" y="24"/>
                      </a:lnTo>
                      <a:lnTo>
                        <a:pt x="25" y="27"/>
                      </a:lnTo>
                      <a:lnTo>
                        <a:pt x="33" y="30"/>
                      </a:lnTo>
                      <a:lnTo>
                        <a:pt x="29" y="32"/>
                      </a:lnTo>
                      <a:lnTo>
                        <a:pt x="23" y="36"/>
                      </a:lnTo>
                      <a:lnTo>
                        <a:pt x="18" y="39"/>
                      </a:lnTo>
                      <a:lnTo>
                        <a:pt x="14" y="42"/>
                      </a:lnTo>
                      <a:lnTo>
                        <a:pt x="7" y="46"/>
                      </a:lnTo>
                      <a:lnTo>
                        <a:pt x="6" y="47"/>
                      </a:lnTo>
                      <a:lnTo>
                        <a:pt x="6" y="48"/>
                      </a:lnTo>
                      <a:lnTo>
                        <a:pt x="6" y="49"/>
                      </a:lnTo>
                      <a:lnTo>
                        <a:pt x="6" y="50"/>
                      </a:lnTo>
                      <a:lnTo>
                        <a:pt x="6" y="53"/>
                      </a:lnTo>
                      <a:lnTo>
                        <a:pt x="7" y="54"/>
                      </a:lnTo>
                      <a:lnTo>
                        <a:pt x="8" y="54"/>
                      </a:lnTo>
                      <a:lnTo>
                        <a:pt x="11" y="55"/>
                      </a:lnTo>
                      <a:lnTo>
                        <a:pt x="15" y="55"/>
                      </a:lnTo>
                      <a:lnTo>
                        <a:pt x="17" y="55"/>
                      </a:lnTo>
                      <a:lnTo>
                        <a:pt x="21" y="56"/>
                      </a:lnTo>
                      <a:lnTo>
                        <a:pt x="23" y="56"/>
                      </a:lnTo>
                      <a:lnTo>
                        <a:pt x="24" y="56"/>
                      </a:lnTo>
                      <a:lnTo>
                        <a:pt x="26" y="55"/>
                      </a:lnTo>
                      <a:lnTo>
                        <a:pt x="27" y="53"/>
                      </a:lnTo>
                      <a:lnTo>
                        <a:pt x="27" y="52"/>
                      </a:lnTo>
                      <a:lnTo>
                        <a:pt x="27" y="50"/>
                      </a:lnTo>
                      <a:lnTo>
                        <a:pt x="26" y="48"/>
                      </a:lnTo>
                      <a:lnTo>
                        <a:pt x="24" y="47"/>
                      </a:lnTo>
                      <a:lnTo>
                        <a:pt x="23" y="47"/>
                      </a:lnTo>
                      <a:lnTo>
                        <a:pt x="26" y="44"/>
                      </a:lnTo>
                      <a:lnTo>
                        <a:pt x="31" y="41"/>
                      </a:lnTo>
                      <a:lnTo>
                        <a:pt x="34" y="39"/>
                      </a:lnTo>
                      <a:lnTo>
                        <a:pt x="39" y="37"/>
                      </a:lnTo>
                      <a:lnTo>
                        <a:pt x="46" y="31"/>
                      </a:lnTo>
                      <a:lnTo>
                        <a:pt x="47" y="30"/>
                      </a:lnTo>
                      <a:lnTo>
                        <a:pt x="47" y="27"/>
                      </a:lnTo>
                      <a:lnTo>
                        <a:pt x="46" y="26"/>
                      </a:lnTo>
                      <a:lnTo>
                        <a:pt x="45" y="24"/>
                      </a:lnTo>
                      <a:lnTo>
                        <a:pt x="44"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55" name="Freeform 434">
                  <a:extLst>
                    <a:ext uri="{FF2B5EF4-FFF2-40B4-BE49-F238E27FC236}">
                      <a16:creationId xmlns:a16="http://schemas.microsoft.com/office/drawing/2014/main" id="{D44E4186-ECBD-4A1F-9BA7-7A4944D0FD8A}"/>
                    </a:ext>
                  </a:extLst>
                </p:cNvPr>
                <p:cNvSpPr>
                  <a:spLocks/>
                </p:cNvSpPr>
                <p:nvPr/>
              </p:nvSpPr>
              <p:spPr bwMode="auto">
                <a:xfrm>
                  <a:off x="3552825" y="4567238"/>
                  <a:ext cx="7938" cy="41275"/>
                </a:xfrm>
                <a:custGeom>
                  <a:avLst/>
                  <a:gdLst>
                    <a:gd name="T0" fmla="*/ 2147483646 w 11"/>
                    <a:gd name="T1" fmla="*/ 2147483646 h 53"/>
                    <a:gd name="T2" fmla="*/ 2147483646 w 11"/>
                    <a:gd name="T3" fmla="*/ 2147483646 h 53"/>
                    <a:gd name="T4" fmla="*/ 2147483646 w 11"/>
                    <a:gd name="T5" fmla="*/ 2147483646 h 53"/>
                    <a:gd name="T6" fmla="*/ 2147483646 w 11"/>
                    <a:gd name="T7" fmla="*/ 0 h 53"/>
                    <a:gd name="T8" fmla="*/ 2147483646 w 11"/>
                    <a:gd name="T9" fmla="*/ 0 h 53"/>
                    <a:gd name="T10" fmla="*/ 2147483646 w 11"/>
                    <a:gd name="T11" fmla="*/ 0 h 53"/>
                    <a:gd name="T12" fmla="*/ 2147483646 w 11"/>
                    <a:gd name="T13" fmla="*/ 2147483646 h 53"/>
                    <a:gd name="T14" fmla="*/ 0 w 11"/>
                    <a:gd name="T15" fmla="*/ 2147483646 h 53"/>
                    <a:gd name="T16" fmla="*/ 0 w 11"/>
                    <a:gd name="T17" fmla="*/ 2147483646 h 53"/>
                    <a:gd name="T18" fmla="*/ 0 w 11"/>
                    <a:gd name="T19" fmla="*/ 2147483646 h 53"/>
                    <a:gd name="T20" fmla="*/ 0 w 11"/>
                    <a:gd name="T21" fmla="*/ 2147483646 h 53"/>
                    <a:gd name="T22" fmla="*/ 2147483646 w 11"/>
                    <a:gd name="T23" fmla="*/ 2147483646 h 53"/>
                    <a:gd name="T24" fmla="*/ 2147483646 w 11"/>
                    <a:gd name="T25" fmla="*/ 2147483646 h 53"/>
                    <a:gd name="T26" fmla="*/ 2147483646 w 11"/>
                    <a:gd name="T27" fmla="*/ 2147483646 h 53"/>
                    <a:gd name="T28" fmla="*/ 2147483646 w 11"/>
                    <a:gd name="T29" fmla="*/ 2147483646 h 53"/>
                    <a:gd name="T30" fmla="*/ 2147483646 w 11"/>
                    <a:gd name="T31" fmla="*/ 2147483646 h 53"/>
                    <a:gd name="T32" fmla="*/ 2147483646 w 11"/>
                    <a:gd name="T33" fmla="*/ 2147483646 h 53"/>
                    <a:gd name="T34" fmla="*/ 2147483646 w 11"/>
                    <a:gd name="T35" fmla="*/ 2147483646 h 53"/>
                    <a:gd name="T36" fmla="*/ 2147483646 w 11"/>
                    <a:gd name="T37" fmla="*/ 2147483646 h 53"/>
                    <a:gd name="T38" fmla="*/ 2147483646 w 11"/>
                    <a:gd name="T39" fmla="*/ 2147483646 h 53"/>
                    <a:gd name="T40" fmla="*/ 2147483646 w 11"/>
                    <a:gd name="T41" fmla="*/ 2147483646 h 53"/>
                    <a:gd name="T42" fmla="*/ 2147483646 w 11"/>
                    <a:gd name="T43" fmla="*/ 2147483646 h 53"/>
                    <a:gd name="T44" fmla="*/ 2147483646 w 11"/>
                    <a:gd name="T45" fmla="*/ 2147483646 h 53"/>
                    <a:gd name="T46" fmla="*/ 2147483646 w 11"/>
                    <a:gd name="T47" fmla="*/ 2147483646 h 53"/>
                    <a:gd name="T48" fmla="*/ 2147483646 w 11"/>
                    <a:gd name="T49" fmla="*/ 2147483646 h 5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
                    <a:gd name="T76" fmla="*/ 0 h 53"/>
                    <a:gd name="T77" fmla="*/ 11 w 11"/>
                    <a:gd name="T78" fmla="*/ 53 h 5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 h="53">
                      <a:moveTo>
                        <a:pt x="8" y="5"/>
                      </a:moveTo>
                      <a:lnTo>
                        <a:pt x="8" y="3"/>
                      </a:lnTo>
                      <a:lnTo>
                        <a:pt x="7" y="1"/>
                      </a:lnTo>
                      <a:lnTo>
                        <a:pt x="5" y="0"/>
                      </a:lnTo>
                      <a:lnTo>
                        <a:pt x="4" y="0"/>
                      </a:lnTo>
                      <a:lnTo>
                        <a:pt x="3" y="0"/>
                      </a:lnTo>
                      <a:lnTo>
                        <a:pt x="2" y="1"/>
                      </a:lnTo>
                      <a:lnTo>
                        <a:pt x="0" y="3"/>
                      </a:lnTo>
                      <a:lnTo>
                        <a:pt x="0" y="5"/>
                      </a:lnTo>
                      <a:lnTo>
                        <a:pt x="0" y="16"/>
                      </a:lnTo>
                      <a:lnTo>
                        <a:pt x="0" y="26"/>
                      </a:lnTo>
                      <a:lnTo>
                        <a:pt x="2" y="38"/>
                      </a:lnTo>
                      <a:lnTo>
                        <a:pt x="2" y="49"/>
                      </a:lnTo>
                      <a:lnTo>
                        <a:pt x="3" y="51"/>
                      </a:lnTo>
                      <a:lnTo>
                        <a:pt x="4" y="53"/>
                      </a:lnTo>
                      <a:lnTo>
                        <a:pt x="5" y="53"/>
                      </a:lnTo>
                      <a:lnTo>
                        <a:pt x="6" y="53"/>
                      </a:lnTo>
                      <a:lnTo>
                        <a:pt x="7" y="53"/>
                      </a:lnTo>
                      <a:lnTo>
                        <a:pt x="10" y="52"/>
                      </a:lnTo>
                      <a:lnTo>
                        <a:pt x="11" y="51"/>
                      </a:lnTo>
                      <a:lnTo>
                        <a:pt x="11" y="48"/>
                      </a:lnTo>
                      <a:lnTo>
                        <a:pt x="11" y="38"/>
                      </a:lnTo>
                      <a:lnTo>
                        <a:pt x="10" y="26"/>
                      </a:lnTo>
                      <a:lnTo>
                        <a:pt x="8" y="16"/>
                      </a:lnTo>
                      <a:lnTo>
                        <a:pt x="8"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56" name="Freeform 435">
                  <a:extLst>
                    <a:ext uri="{FF2B5EF4-FFF2-40B4-BE49-F238E27FC236}">
                      <a16:creationId xmlns:a16="http://schemas.microsoft.com/office/drawing/2014/main" id="{8FF4B9B0-A8AC-43E4-896F-381E27F76F67}"/>
                    </a:ext>
                  </a:extLst>
                </p:cNvPr>
                <p:cNvSpPr>
                  <a:spLocks/>
                </p:cNvSpPr>
                <p:nvPr/>
              </p:nvSpPr>
              <p:spPr bwMode="auto">
                <a:xfrm>
                  <a:off x="3568700" y="4565650"/>
                  <a:ext cx="9525" cy="42862"/>
                </a:xfrm>
                <a:custGeom>
                  <a:avLst/>
                  <a:gdLst>
                    <a:gd name="T0" fmla="*/ 2147483646 w 12"/>
                    <a:gd name="T1" fmla="*/ 0 h 54"/>
                    <a:gd name="T2" fmla="*/ 2147483646 w 12"/>
                    <a:gd name="T3" fmla="*/ 0 h 54"/>
                    <a:gd name="T4" fmla="*/ 2147483646 w 12"/>
                    <a:gd name="T5" fmla="*/ 2147483646 h 54"/>
                    <a:gd name="T6" fmla="*/ 2147483646 w 12"/>
                    <a:gd name="T7" fmla="*/ 2147483646 h 54"/>
                    <a:gd name="T8" fmla="*/ 2147483646 w 12"/>
                    <a:gd name="T9" fmla="*/ 2147483646 h 54"/>
                    <a:gd name="T10" fmla="*/ 2147483646 w 12"/>
                    <a:gd name="T11" fmla="*/ 2147483646 h 54"/>
                    <a:gd name="T12" fmla="*/ 0 w 12"/>
                    <a:gd name="T13" fmla="*/ 2147483646 h 54"/>
                    <a:gd name="T14" fmla="*/ 0 w 12"/>
                    <a:gd name="T15" fmla="*/ 2147483646 h 54"/>
                    <a:gd name="T16" fmla="*/ 0 w 12"/>
                    <a:gd name="T17" fmla="*/ 2147483646 h 54"/>
                    <a:gd name="T18" fmla="*/ 0 w 12"/>
                    <a:gd name="T19" fmla="*/ 2147483646 h 54"/>
                    <a:gd name="T20" fmla="*/ 2147483646 w 12"/>
                    <a:gd name="T21" fmla="*/ 2147483646 h 54"/>
                    <a:gd name="T22" fmla="*/ 2147483646 w 12"/>
                    <a:gd name="T23" fmla="*/ 2147483646 h 54"/>
                    <a:gd name="T24" fmla="*/ 2147483646 w 12"/>
                    <a:gd name="T25" fmla="*/ 2147483646 h 54"/>
                    <a:gd name="T26" fmla="*/ 2147483646 w 12"/>
                    <a:gd name="T27" fmla="*/ 2147483646 h 54"/>
                    <a:gd name="T28" fmla="*/ 2147483646 w 12"/>
                    <a:gd name="T29" fmla="*/ 2147483646 h 54"/>
                    <a:gd name="T30" fmla="*/ 2147483646 w 12"/>
                    <a:gd name="T31" fmla="*/ 2147483646 h 54"/>
                    <a:gd name="T32" fmla="*/ 2147483646 w 12"/>
                    <a:gd name="T33" fmla="*/ 2147483646 h 54"/>
                    <a:gd name="T34" fmla="*/ 2147483646 w 12"/>
                    <a:gd name="T35" fmla="*/ 2147483646 h 54"/>
                    <a:gd name="T36" fmla="*/ 2147483646 w 12"/>
                    <a:gd name="T37" fmla="*/ 2147483646 h 54"/>
                    <a:gd name="T38" fmla="*/ 2147483646 w 12"/>
                    <a:gd name="T39" fmla="*/ 2147483646 h 54"/>
                    <a:gd name="T40" fmla="*/ 2147483646 w 12"/>
                    <a:gd name="T41" fmla="*/ 2147483646 h 54"/>
                    <a:gd name="T42" fmla="*/ 2147483646 w 12"/>
                    <a:gd name="T43" fmla="*/ 2147483646 h 54"/>
                    <a:gd name="T44" fmla="*/ 2147483646 w 12"/>
                    <a:gd name="T45" fmla="*/ 2147483646 h 54"/>
                    <a:gd name="T46" fmla="*/ 2147483646 w 12"/>
                    <a:gd name="T47" fmla="*/ 2147483646 h 54"/>
                    <a:gd name="T48" fmla="*/ 2147483646 w 12"/>
                    <a:gd name="T49" fmla="*/ 0 h 5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
                    <a:gd name="T76" fmla="*/ 0 h 54"/>
                    <a:gd name="T77" fmla="*/ 12 w 12"/>
                    <a:gd name="T78" fmla="*/ 54 h 5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 h="54">
                      <a:moveTo>
                        <a:pt x="8" y="0"/>
                      </a:moveTo>
                      <a:lnTo>
                        <a:pt x="7" y="0"/>
                      </a:lnTo>
                      <a:lnTo>
                        <a:pt x="5" y="1"/>
                      </a:lnTo>
                      <a:lnTo>
                        <a:pt x="4" y="2"/>
                      </a:lnTo>
                      <a:lnTo>
                        <a:pt x="2" y="3"/>
                      </a:lnTo>
                      <a:lnTo>
                        <a:pt x="1" y="15"/>
                      </a:lnTo>
                      <a:lnTo>
                        <a:pt x="0" y="26"/>
                      </a:lnTo>
                      <a:lnTo>
                        <a:pt x="0" y="38"/>
                      </a:lnTo>
                      <a:lnTo>
                        <a:pt x="0" y="49"/>
                      </a:lnTo>
                      <a:lnTo>
                        <a:pt x="0" y="50"/>
                      </a:lnTo>
                      <a:lnTo>
                        <a:pt x="1" y="53"/>
                      </a:lnTo>
                      <a:lnTo>
                        <a:pt x="4" y="54"/>
                      </a:lnTo>
                      <a:lnTo>
                        <a:pt x="5" y="54"/>
                      </a:lnTo>
                      <a:lnTo>
                        <a:pt x="6" y="54"/>
                      </a:lnTo>
                      <a:lnTo>
                        <a:pt x="8" y="53"/>
                      </a:lnTo>
                      <a:lnTo>
                        <a:pt x="9" y="50"/>
                      </a:lnTo>
                      <a:lnTo>
                        <a:pt x="9" y="49"/>
                      </a:lnTo>
                      <a:lnTo>
                        <a:pt x="9" y="38"/>
                      </a:lnTo>
                      <a:lnTo>
                        <a:pt x="9" y="27"/>
                      </a:lnTo>
                      <a:lnTo>
                        <a:pt x="9" y="16"/>
                      </a:lnTo>
                      <a:lnTo>
                        <a:pt x="12" y="5"/>
                      </a:lnTo>
                      <a:lnTo>
                        <a:pt x="12" y="4"/>
                      </a:lnTo>
                      <a:lnTo>
                        <a:pt x="10" y="2"/>
                      </a:lnTo>
                      <a:lnTo>
                        <a:pt x="9" y="1"/>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57" name="Freeform 436">
                  <a:extLst>
                    <a:ext uri="{FF2B5EF4-FFF2-40B4-BE49-F238E27FC236}">
                      <a16:creationId xmlns:a16="http://schemas.microsoft.com/office/drawing/2014/main" id="{78A78E2A-9052-40DF-BC73-03674CF31A63}"/>
                    </a:ext>
                  </a:extLst>
                </p:cNvPr>
                <p:cNvSpPr>
                  <a:spLocks/>
                </p:cNvSpPr>
                <p:nvPr/>
              </p:nvSpPr>
              <p:spPr bwMode="auto">
                <a:xfrm>
                  <a:off x="3570288" y="4621213"/>
                  <a:ext cx="111125" cy="257175"/>
                </a:xfrm>
                <a:custGeom>
                  <a:avLst/>
                  <a:gdLst>
                    <a:gd name="T0" fmla="*/ 2147483646 w 141"/>
                    <a:gd name="T1" fmla="*/ 2147483646 h 325"/>
                    <a:gd name="T2" fmla="*/ 2147483646 w 141"/>
                    <a:gd name="T3" fmla="*/ 2147483646 h 325"/>
                    <a:gd name="T4" fmla="*/ 2147483646 w 141"/>
                    <a:gd name="T5" fmla="*/ 2147483646 h 325"/>
                    <a:gd name="T6" fmla="*/ 2147483646 w 141"/>
                    <a:gd name="T7" fmla="*/ 2147483646 h 325"/>
                    <a:gd name="T8" fmla="*/ 2147483646 w 141"/>
                    <a:gd name="T9" fmla="*/ 2147483646 h 325"/>
                    <a:gd name="T10" fmla="*/ 2147483646 w 141"/>
                    <a:gd name="T11" fmla="*/ 2147483646 h 325"/>
                    <a:gd name="T12" fmla="*/ 2147483646 w 141"/>
                    <a:gd name="T13" fmla="*/ 2147483646 h 325"/>
                    <a:gd name="T14" fmla="*/ 2147483646 w 141"/>
                    <a:gd name="T15" fmla="*/ 2147483646 h 325"/>
                    <a:gd name="T16" fmla="*/ 2147483646 w 141"/>
                    <a:gd name="T17" fmla="*/ 2147483646 h 325"/>
                    <a:gd name="T18" fmla="*/ 2147483646 w 141"/>
                    <a:gd name="T19" fmla="*/ 0 h 325"/>
                    <a:gd name="T20" fmla="*/ 2147483646 w 141"/>
                    <a:gd name="T21" fmla="*/ 0 h 325"/>
                    <a:gd name="T22" fmla="*/ 2147483646 w 141"/>
                    <a:gd name="T23" fmla="*/ 2147483646 h 325"/>
                    <a:gd name="T24" fmla="*/ 2147483646 w 141"/>
                    <a:gd name="T25" fmla="*/ 2147483646 h 325"/>
                    <a:gd name="T26" fmla="*/ 2147483646 w 141"/>
                    <a:gd name="T27" fmla="*/ 2147483646 h 325"/>
                    <a:gd name="T28" fmla="*/ 2147483646 w 141"/>
                    <a:gd name="T29" fmla="*/ 2147483646 h 325"/>
                    <a:gd name="T30" fmla="*/ 2147483646 w 141"/>
                    <a:gd name="T31" fmla="*/ 2147483646 h 325"/>
                    <a:gd name="T32" fmla="*/ 2147483646 w 141"/>
                    <a:gd name="T33" fmla="*/ 2147483646 h 325"/>
                    <a:gd name="T34" fmla="*/ 2147483646 w 141"/>
                    <a:gd name="T35" fmla="*/ 2147483646 h 325"/>
                    <a:gd name="T36" fmla="*/ 2147483646 w 141"/>
                    <a:gd name="T37" fmla="*/ 2147483646 h 325"/>
                    <a:gd name="T38" fmla="*/ 2147483646 w 141"/>
                    <a:gd name="T39" fmla="*/ 2147483646 h 325"/>
                    <a:gd name="T40" fmla="*/ 2147483646 w 141"/>
                    <a:gd name="T41" fmla="*/ 2147483646 h 325"/>
                    <a:gd name="T42" fmla="*/ 2147483646 w 141"/>
                    <a:gd name="T43" fmla="*/ 2147483646 h 325"/>
                    <a:gd name="T44" fmla="*/ 2147483646 w 141"/>
                    <a:gd name="T45" fmla="*/ 2147483646 h 325"/>
                    <a:gd name="T46" fmla="*/ 2147483646 w 141"/>
                    <a:gd name="T47" fmla="*/ 2147483646 h 325"/>
                    <a:gd name="T48" fmla="*/ 2147483646 w 141"/>
                    <a:gd name="T49" fmla="*/ 2147483646 h 325"/>
                    <a:gd name="T50" fmla="*/ 2147483646 w 141"/>
                    <a:gd name="T51" fmla="*/ 2147483646 h 325"/>
                    <a:gd name="T52" fmla="*/ 2147483646 w 141"/>
                    <a:gd name="T53" fmla="*/ 2147483646 h 325"/>
                    <a:gd name="T54" fmla="*/ 2147483646 w 141"/>
                    <a:gd name="T55" fmla="*/ 2147483646 h 325"/>
                    <a:gd name="T56" fmla="*/ 2147483646 w 141"/>
                    <a:gd name="T57" fmla="*/ 2147483646 h 325"/>
                    <a:gd name="T58" fmla="*/ 2147483646 w 141"/>
                    <a:gd name="T59" fmla="*/ 2147483646 h 325"/>
                    <a:gd name="T60" fmla="*/ 2147483646 w 141"/>
                    <a:gd name="T61" fmla="*/ 2147483646 h 325"/>
                    <a:gd name="T62" fmla="*/ 2147483646 w 141"/>
                    <a:gd name="T63" fmla="*/ 2147483646 h 325"/>
                    <a:gd name="T64" fmla="*/ 2147483646 w 141"/>
                    <a:gd name="T65" fmla="*/ 2147483646 h 325"/>
                    <a:gd name="T66" fmla="*/ 2147483646 w 141"/>
                    <a:gd name="T67" fmla="*/ 2147483646 h 325"/>
                    <a:gd name="T68" fmla="*/ 2147483646 w 141"/>
                    <a:gd name="T69" fmla="*/ 2147483646 h 325"/>
                    <a:gd name="T70" fmla="*/ 2147483646 w 141"/>
                    <a:gd name="T71" fmla="*/ 2147483646 h 325"/>
                    <a:gd name="T72" fmla="*/ 2147483646 w 141"/>
                    <a:gd name="T73" fmla="*/ 2147483646 h 325"/>
                    <a:gd name="T74" fmla="*/ 2147483646 w 141"/>
                    <a:gd name="T75" fmla="*/ 2147483646 h 325"/>
                    <a:gd name="T76" fmla="*/ 0 w 141"/>
                    <a:gd name="T77" fmla="*/ 2147483646 h 325"/>
                    <a:gd name="T78" fmla="*/ 0 w 141"/>
                    <a:gd name="T79" fmla="*/ 2147483646 h 325"/>
                    <a:gd name="T80" fmla="*/ 0 w 141"/>
                    <a:gd name="T81" fmla="*/ 2147483646 h 325"/>
                    <a:gd name="T82" fmla="*/ 2147483646 w 141"/>
                    <a:gd name="T83" fmla="*/ 2147483646 h 325"/>
                    <a:gd name="T84" fmla="*/ 2147483646 w 141"/>
                    <a:gd name="T85" fmla="*/ 2147483646 h 325"/>
                    <a:gd name="T86" fmla="*/ 2147483646 w 141"/>
                    <a:gd name="T87" fmla="*/ 2147483646 h 325"/>
                    <a:gd name="T88" fmla="*/ 2147483646 w 141"/>
                    <a:gd name="T89" fmla="*/ 2147483646 h 325"/>
                    <a:gd name="T90" fmla="*/ 2147483646 w 141"/>
                    <a:gd name="T91" fmla="*/ 2147483646 h 325"/>
                    <a:gd name="T92" fmla="*/ 2147483646 w 141"/>
                    <a:gd name="T93" fmla="*/ 2147483646 h 325"/>
                    <a:gd name="T94" fmla="*/ 2147483646 w 141"/>
                    <a:gd name="T95" fmla="*/ 2147483646 h 325"/>
                    <a:gd name="T96" fmla="*/ 2147483646 w 141"/>
                    <a:gd name="T97" fmla="*/ 2147483646 h 325"/>
                    <a:gd name="T98" fmla="*/ 2147483646 w 141"/>
                    <a:gd name="T99" fmla="*/ 2147483646 h 325"/>
                    <a:gd name="T100" fmla="*/ 2147483646 w 141"/>
                    <a:gd name="T101" fmla="*/ 2147483646 h 325"/>
                    <a:gd name="T102" fmla="*/ 2147483646 w 141"/>
                    <a:gd name="T103" fmla="*/ 2147483646 h 325"/>
                    <a:gd name="T104" fmla="*/ 2147483646 w 141"/>
                    <a:gd name="T105" fmla="*/ 2147483646 h 325"/>
                    <a:gd name="T106" fmla="*/ 2147483646 w 141"/>
                    <a:gd name="T107" fmla="*/ 2147483646 h 325"/>
                    <a:gd name="T108" fmla="*/ 2147483646 w 141"/>
                    <a:gd name="T109" fmla="*/ 2147483646 h 325"/>
                    <a:gd name="T110" fmla="*/ 2147483646 w 141"/>
                    <a:gd name="T111" fmla="*/ 2147483646 h 325"/>
                    <a:gd name="T112" fmla="*/ 2147483646 w 141"/>
                    <a:gd name="T113" fmla="*/ 2147483646 h 3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1"/>
                    <a:gd name="T172" fmla="*/ 0 h 325"/>
                    <a:gd name="T173" fmla="*/ 141 w 141"/>
                    <a:gd name="T174" fmla="*/ 325 h 3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1" h="325">
                      <a:moveTo>
                        <a:pt x="123" y="66"/>
                      </a:moveTo>
                      <a:lnTo>
                        <a:pt x="117" y="55"/>
                      </a:lnTo>
                      <a:lnTo>
                        <a:pt x="110" y="45"/>
                      </a:lnTo>
                      <a:lnTo>
                        <a:pt x="102" y="36"/>
                      </a:lnTo>
                      <a:lnTo>
                        <a:pt x="94" y="28"/>
                      </a:lnTo>
                      <a:lnTo>
                        <a:pt x="84" y="20"/>
                      </a:lnTo>
                      <a:lnTo>
                        <a:pt x="75" y="13"/>
                      </a:lnTo>
                      <a:lnTo>
                        <a:pt x="65" y="7"/>
                      </a:lnTo>
                      <a:lnTo>
                        <a:pt x="54" y="1"/>
                      </a:lnTo>
                      <a:lnTo>
                        <a:pt x="53" y="0"/>
                      </a:lnTo>
                      <a:lnTo>
                        <a:pt x="51" y="0"/>
                      </a:lnTo>
                      <a:lnTo>
                        <a:pt x="50" y="1"/>
                      </a:lnTo>
                      <a:lnTo>
                        <a:pt x="49" y="2"/>
                      </a:lnTo>
                      <a:lnTo>
                        <a:pt x="47" y="3"/>
                      </a:lnTo>
                      <a:lnTo>
                        <a:pt x="47" y="6"/>
                      </a:lnTo>
                      <a:lnTo>
                        <a:pt x="49" y="7"/>
                      </a:lnTo>
                      <a:lnTo>
                        <a:pt x="50" y="8"/>
                      </a:lnTo>
                      <a:lnTo>
                        <a:pt x="59" y="13"/>
                      </a:lnTo>
                      <a:lnTo>
                        <a:pt x="68" y="18"/>
                      </a:lnTo>
                      <a:lnTo>
                        <a:pt x="76" y="24"/>
                      </a:lnTo>
                      <a:lnTo>
                        <a:pt x="84" y="31"/>
                      </a:lnTo>
                      <a:lnTo>
                        <a:pt x="92" y="38"/>
                      </a:lnTo>
                      <a:lnTo>
                        <a:pt x="99" y="46"/>
                      </a:lnTo>
                      <a:lnTo>
                        <a:pt x="106" y="54"/>
                      </a:lnTo>
                      <a:lnTo>
                        <a:pt x="112" y="63"/>
                      </a:lnTo>
                      <a:lnTo>
                        <a:pt x="126" y="93"/>
                      </a:lnTo>
                      <a:lnTo>
                        <a:pt x="131" y="124"/>
                      </a:lnTo>
                      <a:lnTo>
                        <a:pt x="130" y="157"/>
                      </a:lnTo>
                      <a:lnTo>
                        <a:pt x="123" y="187"/>
                      </a:lnTo>
                      <a:lnTo>
                        <a:pt x="114" y="208"/>
                      </a:lnTo>
                      <a:lnTo>
                        <a:pt x="103" y="228"/>
                      </a:lnTo>
                      <a:lnTo>
                        <a:pt x="89" y="245"/>
                      </a:lnTo>
                      <a:lnTo>
                        <a:pt x="74" y="261"/>
                      </a:lnTo>
                      <a:lnTo>
                        <a:pt x="57" y="276"/>
                      </a:lnTo>
                      <a:lnTo>
                        <a:pt x="39" y="290"/>
                      </a:lnTo>
                      <a:lnTo>
                        <a:pt x="21" y="304"/>
                      </a:lnTo>
                      <a:lnTo>
                        <a:pt x="3" y="317"/>
                      </a:lnTo>
                      <a:lnTo>
                        <a:pt x="1" y="318"/>
                      </a:lnTo>
                      <a:lnTo>
                        <a:pt x="0" y="320"/>
                      </a:lnTo>
                      <a:lnTo>
                        <a:pt x="0" y="321"/>
                      </a:lnTo>
                      <a:lnTo>
                        <a:pt x="0" y="324"/>
                      </a:lnTo>
                      <a:lnTo>
                        <a:pt x="1" y="325"/>
                      </a:lnTo>
                      <a:lnTo>
                        <a:pt x="4" y="325"/>
                      </a:lnTo>
                      <a:lnTo>
                        <a:pt x="5" y="325"/>
                      </a:lnTo>
                      <a:lnTo>
                        <a:pt x="7" y="325"/>
                      </a:lnTo>
                      <a:lnTo>
                        <a:pt x="26" y="312"/>
                      </a:lnTo>
                      <a:lnTo>
                        <a:pt x="45" y="297"/>
                      </a:lnTo>
                      <a:lnTo>
                        <a:pt x="64" y="283"/>
                      </a:lnTo>
                      <a:lnTo>
                        <a:pt x="81" y="267"/>
                      </a:lnTo>
                      <a:lnTo>
                        <a:pt x="97" y="250"/>
                      </a:lnTo>
                      <a:lnTo>
                        <a:pt x="111" y="232"/>
                      </a:lnTo>
                      <a:lnTo>
                        <a:pt x="123" y="211"/>
                      </a:lnTo>
                      <a:lnTo>
                        <a:pt x="133" y="189"/>
                      </a:lnTo>
                      <a:lnTo>
                        <a:pt x="140" y="158"/>
                      </a:lnTo>
                      <a:lnTo>
                        <a:pt x="141" y="127"/>
                      </a:lnTo>
                      <a:lnTo>
                        <a:pt x="135" y="96"/>
                      </a:lnTo>
                      <a:lnTo>
                        <a:pt x="123"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58" name="Freeform 437">
                  <a:extLst>
                    <a:ext uri="{FF2B5EF4-FFF2-40B4-BE49-F238E27FC236}">
                      <a16:creationId xmlns:a16="http://schemas.microsoft.com/office/drawing/2014/main" id="{EEE4859B-51C3-46C3-A291-B131A281AC53}"/>
                    </a:ext>
                  </a:extLst>
                </p:cNvPr>
                <p:cNvSpPr>
                  <a:spLocks/>
                </p:cNvSpPr>
                <p:nvPr/>
              </p:nvSpPr>
              <p:spPr bwMode="auto">
                <a:xfrm>
                  <a:off x="3548063" y="4846638"/>
                  <a:ext cx="47625" cy="55562"/>
                </a:xfrm>
                <a:custGeom>
                  <a:avLst/>
                  <a:gdLst>
                    <a:gd name="T0" fmla="*/ 2147483646 w 60"/>
                    <a:gd name="T1" fmla="*/ 2147483646 h 69"/>
                    <a:gd name="T2" fmla="*/ 2147483646 w 60"/>
                    <a:gd name="T3" fmla="*/ 2147483646 h 69"/>
                    <a:gd name="T4" fmla="*/ 2147483646 w 60"/>
                    <a:gd name="T5" fmla="*/ 2147483646 h 69"/>
                    <a:gd name="T6" fmla="*/ 2147483646 w 60"/>
                    <a:gd name="T7" fmla="*/ 2147483646 h 69"/>
                    <a:gd name="T8" fmla="*/ 2147483646 w 60"/>
                    <a:gd name="T9" fmla="*/ 2147483646 h 69"/>
                    <a:gd name="T10" fmla="*/ 2147483646 w 60"/>
                    <a:gd name="T11" fmla="*/ 2147483646 h 69"/>
                    <a:gd name="T12" fmla="*/ 2147483646 w 60"/>
                    <a:gd name="T13" fmla="*/ 2147483646 h 69"/>
                    <a:gd name="T14" fmla="*/ 2147483646 w 60"/>
                    <a:gd name="T15" fmla="*/ 2147483646 h 69"/>
                    <a:gd name="T16" fmla="*/ 2147483646 w 60"/>
                    <a:gd name="T17" fmla="*/ 2147483646 h 69"/>
                    <a:gd name="T18" fmla="*/ 2147483646 w 60"/>
                    <a:gd name="T19" fmla="*/ 2147483646 h 69"/>
                    <a:gd name="T20" fmla="*/ 2147483646 w 60"/>
                    <a:gd name="T21" fmla="*/ 2147483646 h 69"/>
                    <a:gd name="T22" fmla="*/ 2147483646 w 60"/>
                    <a:gd name="T23" fmla="*/ 2147483646 h 69"/>
                    <a:gd name="T24" fmla="*/ 2147483646 w 60"/>
                    <a:gd name="T25" fmla="*/ 2147483646 h 69"/>
                    <a:gd name="T26" fmla="*/ 2147483646 w 60"/>
                    <a:gd name="T27" fmla="*/ 2147483646 h 69"/>
                    <a:gd name="T28" fmla="*/ 2147483646 w 60"/>
                    <a:gd name="T29" fmla="*/ 2147483646 h 69"/>
                    <a:gd name="T30" fmla="*/ 2147483646 w 60"/>
                    <a:gd name="T31" fmla="*/ 2147483646 h 69"/>
                    <a:gd name="T32" fmla="*/ 2147483646 w 60"/>
                    <a:gd name="T33" fmla="*/ 2147483646 h 69"/>
                    <a:gd name="T34" fmla="*/ 2147483646 w 60"/>
                    <a:gd name="T35" fmla="*/ 2147483646 h 69"/>
                    <a:gd name="T36" fmla="*/ 2147483646 w 60"/>
                    <a:gd name="T37" fmla="*/ 2147483646 h 69"/>
                    <a:gd name="T38" fmla="*/ 2147483646 w 60"/>
                    <a:gd name="T39" fmla="*/ 2147483646 h 69"/>
                    <a:gd name="T40" fmla="*/ 2147483646 w 60"/>
                    <a:gd name="T41" fmla="*/ 2147483646 h 69"/>
                    <a:gd name="T42" fmla="*/ 2147483646 w 60"/>
                    <a:gd name="T43" fmla="*/ 0 h 69"/>
                    <a:gd name="T44" fmla="*/ 2147483646 w 60"/>
                    <a:gd name="T45" fmla="*/ 0 h 69"/>
                    <a:gd name="T46" fmla="*/ 2147483646 w 60"/>
                    <a:gd name="T47" fmla="*/ 0 h 69"/>
                    <a:gd name="T48" fmla="*/ 2147483646 w 60"/>
                    <a:gd name="T49" fmla="*/ 2147483646 h 69"/>
                    <a:gd name="T50" fmla="*/ 2147483646 w 60"/>
                    <a:gd name="T51" fmla="*/ 2147483646 h 69"/>
                    <a:gd name="T52" fmla="*/ 2147483646 w 60"/>
                    <a:gd name="T53" fmla="*/ 2147483646 h 69"/>
                    <a:gd name="T54" fmla="*/ 2147483646 w 60"/>
                    <a:gd name="T55" fmla="*/ 2147483646 h 69"/>
                    <a:gd name="T56" fmla="*/ 2147483646 w 60"/>
                    <a:gd name="T57" fmla="*/ 2147483646 h 69"/>
                    <a:gd name="T58" fmla="*/ 2147483646 w 60"/>
                    <a:gd name="T59" fmla="*/ 2147483646 h 69"/>
                    <a:gd name="T60" fmla="*/ 0 w 60"/>
                    <a:gd name="T61" fmla="*/ 2147483646 h 69"/>
                    <a:gd name="T62" fmla="*/ 0 w 60"/>
                    <a:gd name="T63" fmla="*/ 2147483646 h 69"/>
                    <a:gd name="T64" fmla="*/ 0 w 60"/>
                    <a:gd name="T65" fmla="*/ 2147483646 h 69"/>
                    <a:gd name="T66" fmla="*/ 0 w 60"/>
                    <a:gd name="T67" fmla="*/ 2147483646 h 69"/>
                    <a:gd name="T68" fmla="*/ 0 w 60"/>
                    <a:gd name="T69" fmla="*/ 2147483646 h 69"/>
                    <a:gd name="T70" fmla="*/ 2147483646 w 60"/>
                    <a:gd name="T71" fmla="*/ 2147483646 h 69"/>
                    <a:gd name="T72" fmla="*/ 2147483646 w 60"/>
                    <a:gd name="T73" fmla="*/ 2147483646 h 69"/>
                    <a:gd name="T74" fmla="*/ 2147483646 w 60"/>
                    <a:gd name="T75" fmla="*/ 2147483646 h 69"/>
                    <a:gd name="T76" fmla="*/ 2147483646 w 60"/>
                    <a:gd name="T77" fmla="*/ 2147483646 h 69"/>
                    <a:gd name="T78" fmla="*/ 2147483646 w 60"/>
                    <a:gd name="T79" fmla="*/ 2147483646 h 69"/>
                    <a:gd name="T80" fmla="*/ 2147483646 w 60"/>
                    <a:gd name="T81" fmla="*/ 2147483646 h 69"/>
                    <a:gd name="T82" fmla="*/ 2147483646 w 60"/>
                    <a:gd name="T83" fmla="*/ 2147483646 h 69"/>
                    <a:gd name="T84" fmla="*/ 2147483646 w 60"/>
                    <a:gd name="T85" fmla="*/ 2147483646 h 69"/>
                    <a:gd name="T86" fmla="*/ 2147483646 w 60"/>
                    <a:gd name="T87" fmla="*/ 2147483646 h 69"/>
                    <a:gd name="T88" fmla="*/ 2147483646 w 60"/>
                    <a:gd name="T89" fmla="*/ 2147483646 h 69"/>
                    <a:gd name="T90" fmla="*/ 2147483646 w 60"/>
                    <a:gd name="T91" fmla="*/ 2147483646 h 69"/>
                    <a:gd name="T92" fmla="*/ 2147483646 w 60"/>
                    <a:gd name="T93" fmla="*/ 2147483646 h 69"/>
                    <a:gd name="T94" fmla="*/ 2147483646 w 60"/>
                    <a:gd name="T95" fmla="*/ 2147483646 h 69"/>
                    <a:gd name="T96" fmla="*/ 2147483646 w 60"/>
                    <a:gd name="T97" fmla="*/ 2147483646 h 69"/>
                    <a:gd name="T98" fmla="*/ 2147483646 w 60"/>
                    <a:gd name="T99" fmla="*/ 2147483646 h 69"/>
                    <a:gd name="T100" fmla="*/ 2147483646 w 60"/>
                    <a:gd name="T101" fmla="*/ 2147483646 h 69"/>
                    <a:gd name="T102" fmla="*/ 2147483646 w 60"/>
                    <a:gd name="T103" fmla="*/ 2147483646 h 6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0"/>
                    <a:gd name="T157" fmla="*/ 0 h 69"/>
                    <a:gd name="T158" fmla="*/ 60 w 60"/>
                    <a:gd name="T159" fmla="*/ 69 h 6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0" h="69">
                      <a:moveTo>
                        <a:pt x="60" y="44"/>
                      </a:moveTo>
                      <a:lnTo>
                        <a:pt x="58" y="43"/>
                      </a:lnTo>
                      <a:lnTo>
                        <a:pt x="57" y="42"/>
                      </a:lnTo>
                      <a:lnTo>
                        <a:pt x="55" y="41"/>
                      </a:lnTo>
                      <a:lnTo>
                        <a:pt x="54" y="41"/>
                      </a:lnTo>
                      <a:lnTo>
                        <a:pt x="49" y="43"/>
                      </a:lnTo>
                      <a:lnTo>
                        <a:pt x="44" y="44"/>
                      </a:lnTo>
                      <a:lnTo>
                        <a:pt x="39" y="47"/>
                      </a:lnTo>
                      <a:lnTo>
                        <a:pt x="33" y="49"/>
                      </a:lnTo>
                      <a:lnTo>
                        <a:pt x="29" y="50"/>
                      </a:lnTo>
                      <a:lnTo>
                        <a:pt x="23" y="53"/>
                      </a:lnTo>
                      <a:lnTo>
                        <a:pt x="18" y="55"/>
                      </a:lnTo>
                      <a:lnTo>
                        <a:pt x="12" y="57"/>
                      </a:lnTo>
                      <a:lnTo>
                        <a:pt x="19" y="44"/>
                      </a:lnTo>
                      <a:lnTo>
                        <a:pt x="26" y="32"/>
                      </a:lnTo>
                      <a:lnTo>
                        <a:pt x="32" y="19"/>
                      </a:lnTo>
                      <a:lnTo>
                        <a:pt x="38" y="5"/>
                      </a:lnTo>
                      <a:lnTo>
                        <a:pt x="38" y="4"/>
                      </a:lnTo>
                      <a:lnTo>
                        <a:pt x="38" y="2"/>
                      </a:lnTo>
                      <a:lnTo>
                        <a:pt x="37" y="1"/>
                      </a:lnTo>
                      <a:lnTo>
                        <a:pt x="35" y="0"/>
                      </a:lnTo>
                      <a:lnTo>
                        <a:pt x="34" y="0"/>
                      </a:lnTo>
                      <a:lnTo>
                        <a:pt x="32" y="0"/>
                      </a:lnTo>
                      <a:lnTo>
                        <a:pt x="31" y="1"/>
                      </a:lnTo>
                      <a:lnTo>
                        <a:pt x="30" y="2"/>
                      </a:lnTo>
                      <a:lnTo>
                        <a:pt x="24" y="17"/>
                      </a:lnTo>
                      <a:lnTo>
                        <a:pt x="17" y="31"/>
                      </a:lnTo>
                      <a:lnTo>
                        <a:pt x="9" y="46"/>
                      </a:lnTo>
                      <a:lnTo>
                        <a:pt x="1" y="59"/>
                      </a:lnTo>
                      <a:lnTo>
                        <a:pt x="0" y="63"/>
                      </a:lnTo>
                      <a:lnTo>
                        <a:pt x="0" y="64"/>
                      </a:lnTo>
                      <a:lnTo>
                        <a:pt x="0" y="65"/>
                      </a:lnTo>
                      <a:lnTo>
                        <a:pt x="1" y="66"/>
                      </a:lnTo>
                      <a:lnTo>
                        <a:pt x="2" y="68"/>
                      </a:lnTo>
                      <a:lnTo>
                        <a:pt x="4" y="69"/>
                      </a:lnTo>
                      <a:lnTo>
                        <a:pt x="6" y="69"/>
                      </a:lnTo>
                      <a:lnTo>
                        <a:pt x="11" y="66"/>
                      </a:lnTo>
                      <a:lnTo>
                        <a:pt x="17" y="64"/>
                      </a:lnTo>
                      <a:lnTo>
                        <a:pt x="23" y="62"/>
                      </a:lnTo>
                      <a:lnTo>
                        <a:pt x="29" y="59"/>
                      </a:lnTo>
                      <a:lnTo>
                        <a:pt x="34" y="58"/>
                      </a:lnTo>
                      <a:lnTo>
                        <a:pt x="39" y="56"/>
                      </a:lnTo>
                      <a:lnTo>
                        <a:pt x="45" y="54"/>
                      </a:lnTo>
                      <a:lnTo>
                        <a:pt x="50" y="53"/>
                      </a:lnTo>
                      <a:lnTo>
                        <a:pt x="56" y="50"/>
                      </a:lnTo>
                      <a:lnTo>
                        <a:pt x="57" y="49"/>
                      </a:lnTo>
                      <a:lnTo>
                        <a:pt x="58" y="48"/>
                      </a:lnTo>
                      <a:lnTo>
                        <a:pt x="60" y="46"/>
                      </a:lnTo>
                      <a:lnTo>
                        <a:pt x="6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59" name="Freeform 438">
                  <a:extLst>
                    <a:ext uri="{FF2B5EF4-FFF2-40B4-BE49-F238E27FC236}">
                      <a16:creationId xmlns:a16="http://schemas.microsoft.com/office/drawing/2014/main" id="{35F263CC-C979-4621-BFDA-95DB615EE7BE}"/>
                    </a:ext>
                  </a:extLst>
                </p:cNvPr>
                <p:cNvSpPr>
                  <a:spLocks/>
                </p:cNvSpPr>
                <p:nvPr/>
              </p:nvSpPr>
              <p:spPr bwMode="auto">
                <a:xfrm>
                  <a:off x="3284538" y="4857750"/>
                  <a:ext cx="257175" cy="163512"/>
                </a:xfrm>
                <a:custGeom>
                  <a:avLst/>
                  <a:gdLst>
                    <a:gd name="T0" fmla="*/ 2147483646 w 324"/>
                    <a:gd name="T1" fmla="*/ 2147483646 h 208"/>
                    <a:gd name="T2" fmla="*/ 2147483646 w 324"/>
                    <a:gd name="T3" fmla="*/ 2147483646 h 208"/>
                    <a:gd name="T4" fmla="*/ 2147483646 w 324"/>
                    <a:gd name="T5" fmla="*/ 2147483646 h 208"/>
                    <a:gd name="T6" fmla="*/ 2147483646 w 324"/>
                    <a:gd name="T7" fmla="*/ 2147483646 h 208"/>
                    <a:gd name="T8" fmla="*/ 2147483646 w 324"/>
                    <a:gd name="T9" fmla="*/ 2147483646 h 208"/>
                    <a:gd name="T10" fmla="*/ 2147483646 w 324"/>
                    <a:gd name="T11" fmla="*/ 2147483646 h 208"/>
                    <a:gd name="T12" fmla="*/ 2147483646 w 324"/>
                    <a:gd name="T13" fmla="*/ 2147483646 h 208"/>
                    <a:gd name="T14" fmla="*/ 2147483646 w 324"/>
                    <a:gd name="T15" fmla="*/ 2147483646 h 208"/>
                    <a:gd name="T16" fmla="*/ 2147483646 w 324"/>
                    <a:gd name="T17" fmla="*/ 2147483646 h 208"/>
                    <a:gd name="T18" fmla="*/ 2147483646 w 324"/>
                    <a:gd name="T19" fmla="*/ 2147483646 h 208"/>
                    <a:gd name="T20" fmla="*/ 2147483646 w 324"/>
                    <a:gd name="T21" fmla="*/ 2147483646 h 208"/>
                    <a:gd name="T22" fmla="*/ 2147483646 w 324"/>
                    <a:gd name="T23" fmla="*/ 2147483646 h 208"/>
                    <a:gd name="T24" fmla="*/ 2147483646 w 324"/>
                    <a:gd name="T25" fmla="*/ 2147483646 h 208"/>
                    <a:gd name="T26" fmla="*/ 2147483646 w 324"/>
                    <a:gd name="T27" fmla="*/ 2147483646 h 208"/>
                    <a:gd name="T28" fmla="*/ 2147483646 w 324"/>
                    <a:gd name="T29" fmla="*/ 2147483646 h 208"/>
                    <a:gd name="T30" fmla="*/ 2147483646 w 324"/>
                    <a:gd name="T31" fmla="*/ 2147483646 h 208"/>
                    <a:gd name="T32" fmla="*/ 2147483646 w 324"/>
                    <a:gd name="T33" fmla="*/ 2147483646 h 208"/>
                    <a:gd name="T34" fmla="*/ 2147483646 w 324"/>
                    <a:gd name="T35" fmla="*/ 2147483646 h 208"/>
                    <a:gd name="T36" fmla="*/ 2147483646 w 324"/>
                    <a:gd name="T37" fmla="*/ 2147483646 h 208"/>
                    <a:gd name="T38" fmla="*/ 2147483646 w 324"/>
                    <a:gd name="T39" fmla="*/ 2147483646 h 208"/>
                    <a:gd name="T40" fmla="*/ 2147483646 w 324"/>
                    <a:gd name="T41" fmla="*/ 2147483646 h 208"/>
                    <a:gd name="T42" fmla="*/ 2147483646 w 324"/>
                    <a:gd name="T43" fmla="*/ 2147483646 h 208"/>
                    <a:gd name="T44" fmla="*/ 2147483646 w 324"/>
                    <a:gd name="T45" fmla="*/ 2147483646 h 208"/>
                    <a:gd name="T46" fmla="*/ 2147483646 w 324"/>
                    <a:gd name="T47" fmla="*/ 2147483646 h 208"/>
                    <a:gd name="T48" fmla="*/ 2147483646 w 324"/>
                    <a:gd name="T49" fmla="*/ 2147483646 h 208"/>
                    <a:gd name="T50" fmla="*/ 2147483646 w 324"/>
                    <a:gd name="T51" fmla="*/ 2147483646 h 208"/>
                    <a:gd name="T52" fmla="*/ 2147483646 w 324"/>
                    <a:gd name="T53" fmla="*/ 2147483646 h 208"/>
                    <a:gd name="T54" fmla="*/ 2147483646 w 324"/>
                    <a:gd name="T55" fmla="*/ 2147483646 h 208"/>
                    <a:gd name="T56" fmla="*/ 2147483646 w 324"/>
                    <a:gd name="T57" fmla="*/ 2147483646 h 208"/>
                    <a:gd name="T58" fmla="*/ 2147483646 w 324"/>
                    <a:gd name="T59" fmla="*/ 2147483646 h 208"/>
                    <a:gd name="T60" fmla="*/ 2147483646 w 324"/>
                    <a:gd name="T61" fmla="*/ 2147483646 h 208"/>
                    <a:gd name="T62" fmla="*/ 2147483646 w 324"/>
                    <a:gd name="T63" fmla="*/ 2147483646 h 208"/>
                    <a:gd name="T64" fmla="*/ 2147483646 w 324"/>
                    <a:gd name="T65" fmla="*/ 2147483646 h 208"/>
                    <a:gd name="T66" fmla="*/ 2147483646 w 324"/>
                    <a:gd name="T67" fmla="*/ 2147483646 h 208"/>
                    <a:gd name="T68" fmla="*/ 2147483646 w 324"/>
                    <a:gd name="T69" fmla="*/ 2147483646 h 208"/>
                    <a:gd name="T70" fmla="*/ 2147483646 w 324"/>
                    <a:gd name="T71" fmla="*/ 2147483646 h 208"/>
                    <a:gd name="T72" fmla="*/ 2147483646 w 324"/>
                    <a:gd name="T73" fmla="*/ 2147483646 h 208"/>
                    <a:gd name="T74" fmla="*/ 2147483646 w 324"/>
                    <a:gd name="T75" fmla="*/ 2147483646 h 208"/>
                    <a:gd name="T76" fmla="*/ 2147483646 w 324"/>
                    <a:gd name="T77" fmla="*/ 2147483646 h 208"/>
                    <a:gd name="T78" fmla="*/ 2147483646 w 324"/>
                    <a:gd name="T79" fmla="*/ 2147483646 h 208"/>
                    <a:gd name="T80" fmla="*/ 2147483646 w 324"/>
                    <a:gd name="T81" fmla="*/ 0 h 208"/>
                    <a:gd name="T82" fmla="*/ 2147483646 w 324"/>
                    <a:gd name="T83" fmla="*/ 2147483646 h 208"/>
                    <a:gd name="T84" fmla="*/ 2147483646 w 324"/>
                    <a:gd name="T85" fmla="*/ 2147483646 h 208"/>
                    <a:gd name="T86" fmla="*/ 2147483646 w 324"/>
                    <a:gd name="T87" fmla="*/ 2147483646 h 208"/>
                    <a:gd name="T88" fmla="*/ 2147483646 w 324"/>
                    <a:gd name="T89" fmla="*/ 2147483646 h 208"/>
                    <a:gd name="T90" fmla="*/ 2147483646 w 324"/>
                    <a:gd name="T91" fmla="*/ 2147483646 h 208"/>
                    <a:gd name="T92" fmla="*/ 2147483646 w 324"/>
                    <a:gd name="T93" fmla="*/ 2147483646 h 208"/>
                    <a:gd name="T94" fmla="*/ 0 w 324"/>
                    <a:gd name="T95" fmla="*/ 2147483646 h 208"/>
                    <a:gd name="T96" fmla="*/ 2147483646 w 324"/>
                    <a:gd name="T97" fmla="*/ 2147483646 h 208"/>
                    <a:gd name="T98" fmla="*/ 2147483646 w 324"/>
                    <a:gd name="T99" fmla="*/ 2147483646 h 208"/>
                    <a:gd name="T100" fmla="*/ 2147483646 w 324"/>
                    <a:gd name="T101" fmla="*/ 2147483646 h 208"/>
                    <a:gd name="T102" fmla="*/ 2147483646 w 324"/>
                    <a:gd name="T103" fmla="*/ 2147483646 h 208"/>
                    <a:gd name="T104" fmla="*/ 2147483646 w 324"/>
                    <a:gd name="T105" fmla="*/ 2147483646 h 208"/>
                    <a:gd name="T106" fmla="*/ 2147483646 w 324"/>
                    <a:gd name="T107" fmla="*/ 2147483646 h 208"/>
                    <a:gd name="T108" fmla="*/ 2147483646 w 324"/>
                    <a:gd name="T109" fmla="*/ 2147483646 h 208"/>
                    <a:gd name="T110" fmla="*/ 2147483646 w 324"/>
                    <a:gd name="T111" fmla="*/ 2147483646 h 208"/>
                    <a:gd name="T112" fmla="*/ 2147483646 w 324"/>
                    <a:gd name="T113" fmla="*/ 2147483646 h 208"/>
                    <a:gd name="T114" fmla="*/ 2147483646 w 324"/>
                    <a:gd name="T115" fmla="*/ 2147483646 h 208"/>
                    <a:gd name="T116" fmla="*/ 2147483646 w 324"/>
                    <a:gd name="T117" fmla="*/ 2147483646 h 208"/>
                    <a:gd name="T118" fmla="*/ 2147483646 w 324"/>
                    <a:gd name="T119" fmla="*/ 2147483646 h 2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24"/>
                    <a:gd name="T181" fmla="*/ 0 h 208"/>
                    <a:gd name="T182" fmla="*/ 324 w 324"/>
                    <a:gd name="T183" fmla="*/ 208 h 2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24" h="208">
                      <a:moveTo>
                        <a:pt x="305" y="69"/>
                      </a:moveTo>
                      <a:lnTo>
                        <a:pt x="297" y="65"/>
                      </a:lnTo>
                      <a:lnTo>
                        <a:pt x="289" y="61"/>
                      </a:lnTo>
                      <a:lnTo>
                        <a:pt x="282" y="58"/>
                      </a:lnTo>
                      <a:lnTo>
                        <a:pt x="274" y="54"/>
                      </a:lnTo>
                      <a:lnTo>
                        <a:pt x="266" y="52"/>
                      </a:lnTo>
                      <a:lnTo>
                        <a:pt x="258" y="49"/>
                      </a:lnTo>
                      <a:lnTo>
                        <a:pt x="249" y="47"/>
                      </a:lnTo>
                      <a:lnTo>
                        <a:pt x="241" y="45"/>
                      </a:lnTo>
                      <a:lnTo>
                        <a:pt x="240" y="45"/>
                      </a:lnTo>
                      <a:lnTo>
                        <a:pt x="237" y="46"/>
                      </a:lnTo>
                      <a:lnTo>
                        <a:pt x="236" y="47"/>
                      </a:lnTo>
                      <a:lnTo>
                        <a:pt x="236" y="49"/>
                      </a:lnTo>
                      <a:lnTo>
                        <a:pt x="236" y="50"/>
                      </a:lnTo>
                      <a:lnTo>
                        <a:pt x="237" y="52"/>
                      </a:lnTo>
                      <a:lnTo>
                        <a:pt x="238" y="53"/>
                      </a:lnTo>
                      <a:lnTo>
                        <a:pt x="240" y="54"/>
                      </a:lnTo>
                      <a:lnTo>
                        <a:pt x="249" y="57"/>
                      </a:lnTo>
                      <a:lnTo>
                        <a:pt x="258" y="59"/>
                      </a:lnTo>
                      <a:lnTo>
                        <a:pt x="266" y="61"/>
                      </a:lnTo>
                      <a:lnTo>
                        <a:pt x="275" y="65"/>
                      </a:lnTo>
                      <a:lnTo>
                        <a:pt x="284" y="68"/>
                      </a:lnTo>
                      <a:lnTo>
                        <a:pt x="292" y="72"/>
                      </a:lnTo>
                      <a:lnTo>
                        <a:pt x="301" y="76"/>
                      </a:lnTo>
                      <a:lnTo>
                        <a:pt x="309" y="82"/>
                      </a:lnTo>
                      <a:lnTo>
                        <a:pt x="313" y="94"/>
                      </a:lnTo>
                      <a:lnTo>
                        <a:pt x="315" y="105"/>
                      </a:lnTo>
                      <a:lnTo>
                        <a:pt x="314" y="117"/>
                      </a:lnTo>
                      <a:lnTo>
                        <a:pt x="310" y="128"/>
                      </a:lnTo>
                      <a:lnTo>
                        <a:pt x="304" y="138"/>
                      </a:lnTo>
                      <a:lnTo>
                        <a:pt x="297" y="148"/>
                      </a:lnTo>
                      <a:lnTo>
                        <a:pt x="289" y="157"/>
                      </a:lnTo>
                      <a:lnTo>
                        <a:pt x="280" y="165"/>
                      </a:lnTo>
                      <a:lnTo>
                        <a:pt x="260" y="179"/>
                      </a:lnTo>
                      <a:lnTo>
                        <a:pt x="241" y="188"/>
                      </a:lnTo>
                      <a:lnTo>
                        <a:pt x="220" y="195"/>
                      </a:lnTo>
                      <a:lnTo>
                        <a:pt x="198" y="198"/>
                      </a:lnTo>
                      <a:lnTo>
                        <a:pt x="176" y="200"/>
                      </a:lnTo>
                      <a:lnTo>
                        <a:pt x="153" y="198"/>
                      </a:lnTo>
                      <a:lnTo>
                        <a:pt x="131" y="196"/>
                      </a:lnTo>
                      <a:lnTo>
                        <a:pt x="108" y="191"/>
                      </a:lnTo>
                      <a:lnTo>
                        <a:pt x="92" y="187"/>
                      </a:lnTo>
                      <a:lnTo>
                        <a:pt x="76" y="182"/>
                      </a:lnTo>
                      <a:lnTo>
                        <a:pt x="60" y="175"/>
                      </a:lnTo>
                      <a:lnTo>
                        <a:pt x="45" y="167"/>
                      </a:lnTo>
                      <a:lnTo>
                        <a:pt x="31" y="158"/>
                      </a:lnTo>
                      <a:lnTo>
                        <a:pt x="21" y="147"/>
                      </a:lnTo>
                      <a:lnTo>
                        <a:pt x="13" y="133"/>
                      </a:lnTo>
                      <a:lnTo>
                        <a:pt x="9" y="115"/>
                      </a:lnTo>
                      <a:lnTo>
                        <a:pt x="8" y="103"/>
                      </a:lnTo>
                      <a:lnTo>
                        <a:pt x="10" y="91"/>
                      </a:lnTo>
                      <a:lnTo>
                        <a:pt x="15" y="80"/>
                      </a:lnTo>
                      <a:lnTo>
                        <a:pt x="22" y="70"/>
                      </a:lnTo>
                      <a:lnTo>
                        <a:pt x="33" y="60"/>
                      </a:lnTo>
                      <a:lnTo>
                        <a:pt x="45" y="50"/>
                      </a:lnTo>
                      <a:lnTo>
                        <a:pt x="58" y="42"/>
                      </a:lnTo>
                      <a:lnTo>
                        <a:pt x="70" y="35"/>
                      </a:lnTo>
                      <a:lnTo>
                        <a:pt x="84" y="29"/>
                      </a:lnTo>
                      <a:lnTo>
                        <a:pt x="99" y="24"/>
                      </a:lnTo>
                      <a:lnTo>
                        <a:pt x="114" y="20"/>
                      </a:lnTo>
                      <a:lnTo>
                        <a:pt x="129" y="16"/>
                      </a:lnTo>
                      <a:lnTo>
                        <a:pt x="147" y="13"/>
                      </a:lnTo>
                      <a:lnTo>
                        <a:pt x="166" y="9"/>
                      </a:lnTo>
                      <a:lnTo>
                        <a:pt x="185" y="8"/>
                      </a:lnTo>
                      <a:lnTo>
                        <a:pt x="205" y="8"/>
                      </a:lnTo>
                      <a:lnTo>
                        <a:pt x="223" y="11"/>
                      </a:lnTo>
                      <a:lnTo>
                        <a:pt x="241" y="16"/>
                      </a:lnTo>
                      <a:lnTo>
                        <a:pt x="258" y="23"/>
                      </a:lnTo>
                      <a:lnTo>
                        <a:pt x="273" y="35"/>
                      </a:lnTo>
                      <a:lnTo>
                        <a:pt x="274" y="36"/>
                      </a:lnTo>
                      <a:lnTo>
                        <a:pt x="276" y="36"/>
                      </a:lnTo>
                      <a:lnTo>
                        <a:pt x="278" y="36"/>
                      </a:lnTo>
                      <a:lnTo>
                        <a:pt x="279" y="35"/>
                      </a:lnTo>
                      <a:lnTo>
                        <a:pt x="280" y="34"/>
                      </a:lnTo>
                      <a:lnTo>
                        <a:pt x="281" y="31"/>
                      </a:lnTo>
                      <a:lnTo>
                        <a:pt x="280" y="30"/>
                      </a:lnTo>
                      <a:lnTo>
                        <a:pt x="279" y="29"/>
                      </a:lnTo>
                      <a:lnTo>
                        <a:pt x="263" y="16"/>
                      </a:lnTo>
                      <a:lnTo>
                        <a:pt x="245" y="8"/>
                      </a:lnTo>
                      <a:lnTo>
                        <a:pt x="226" y="3"/>
                      </a:lnTo>
                      <a:lnTo>
                        <a:pt x="206" y="0"/>
                      </a:lnTo>
                      <a:lnTo>
                        <a:pt x="187" y="0"/>
                      </a:lnTo>
                      <a:lnTo>
                        <a:pt x="167" y="1"/>
                      </a:lnTo>
                      <a:lnTo>
                        <a:pt x="146" y="5"/>
                      </a:lnTo>
                      <a:lnTo>
                        <a:pt x="127" y="8"/>
                      </a:lnTo>
                      <a:lnTo>
                        <a:pt x="112" y="12"/>
                      </a:lnTo>
                      <a:lnTo>
                        <a:pt x="96" y="16"/>
                      </a:lnTo>
                      <a:lnTo>
                        <a:pt x="82" y="22"/>
                      </a:lnTo>
                      <a:lnTo>
                        <a:pt x="67" y="28"/>
                      </a:lnTo>
                      <a:lnTo>
                        <a:pt x="53" y="35"/>
                      </a:lnTo>
                      <a:lnTo>
                        <a:pt x="40" y="43"/>
                      </a:lnTo>
                      <a:lnTo>
                        <a:pt x="28" y="53"/>
                      </a:lnTo>
                      <a:lnTo>
                        <a:pt x="16" y="64"/>
                      </a:lnTo>
                      <a:lnTo>
                        <a:pt x="8" y="75"/>
                      </a:lnTo>
                      <a:lnTo>
                        <a:pt x="3" y="88"/>
                      </a:lnTo>
                      <a:lnTo>
                        <a:pt x="0" y="100"/>
                      </a:lnTo>
                      <a:lnTo>
                        <a:pt x="0" y="114"/>
                      </a:lnTo>
                      <a:lnTo>
                        <a:pt x="2" y="128"/>
                      </a:lnTo>
                      <a:lnTo>
                        <a:pt x="7" y="141"/>
                      </a:lnTo>
                      <a:lnTo>
                        <a:pt x="14" y="152"/>
                      </a:lnTo>
                      <a:lnTo>
                        <a:pt x="24" y="162"/>
                      </a:lnTo>
                      <a:lnTo>
                        <a:pt x="40" y="174"/>
                      </a:lnTo>
                      <a:lnTo>
                        <a:pt x="56" y="183"/>
                      </a:lnTo>
                      <a:lnTo>
                        <a:pt x="74" y="191"/>
                      </a:lnTo>
                      <a:lnTo>
                        <a:pt x="92" y="197"/>
                      </a:lnTo>
                      <a:lnTo>
                        <a:pt x="112" y="202"/>
                      </a:lnTo>
                      <a:lnTo>
                        <a:pt x="130" y="205"/>
                      </a:lnTo>
                      <a:lnTo>
                        <a:pt x="150" y="206"/>
                      </a:lnTo>
                      <a:lnTo>
                        <a:pt x="169" y="208"/>
                      </a:lnTo>
                      <a:lnTo>
                        <a:pt x="191" y="208"/>
                      </a:lnTo>
                      <a:lnTo>
                        <a:pt x="213" y="204"/>
                      </a:lnTo>
                      <a:lnTo>
                        <a:pt x="235" y="200"/>
                      </a:lnTo>
                      <a:lnTo>
                        <a:pt x="256" y="191"/>
                      </a:lnTo>
                      <a:lnTo>
                        <a:pt x="275" y="181"/>
                      </a:lnTo>
                      <a:lnTo>
                        <a:pt x="292" y="167"/>
                      </a:lnTo>
                      <a:lnTo>
                        <a:pt x="307" y="151"/>
                      </a:lnTo>
                      <a:lnTo>
                        <a:pt x="319" y="132"/>
                      </a:lnTo>
                      <a:lnTo>
                        <a:pt x="324" y="115"/>
                      </a:lnTo>
                      <a:lnTo>
                        <a:pt x="324" y="97"/>
                      </a:lnTo>
                      <a:lnTo>
                        <a:pt x="318" y="82"/>
                      </a:lnTo>
                      <a:lnTo>
                        <a:pt x="305"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60" name="Freeform 439">
                  <a:extLst>
                    <a:ext uri="{FF2B5EF4-FFF2-40B4-BE49-F238E27FC236}">
                      <a16:creationId xmlns:a16="http://schemas.microsoft.com/office/drawing/2014/main" id="{3A0C74FB-B603-4EE4-B2AD-8AAC9F45EC51}"/>
                    </a:ext>
                  </a:extLst>
                </p:cNvPr>
                <p:cNvSpPr>
                  <a:spLocks/>
                </p:cNvSpPr>
                <p:nvPr/>
              </p:nvSpPr>
              <p:spPr bwMode="auto">
                <a:xfrm>
                  <a:off x="3325813" y="4953000"/>
                  <a:ext cx="161925" cy="11112"/>
                </a:xfrm>
                <a:custGeom>
                  <a:avLst/>
                  <a:gdLst>
                    <a:gd name="T0" fmla="*/ 2147483646 w 204"/>
                    <a:gd name="T1" fmla="*/ 0 h 14"/>
                    <a:gd name="T2" fmla="*/ 2147483646 w 204"/>
                    <a:gd name="T3" fmla="*/ 0 h 14"/>
                    <a:gd name="T4" fmla="*/ 2147483646 w 204"/>
                    <a:gd name="T5" fmla="*/ 0 h 14"/>
                    <a:gd name="T6" fmla="*/ 2147483646 w 204"/>
                    <a:gd name="T7" fmla="*/ 0 h 14"/>
                    <a:gd name="T8" fmla="*/ 2147483646 w 204"/>
                    <a:gd name="T9" fmla="*/ 0 h 14"/>
                    <a:gd name="T10" fmla="*/ 2147483646 w 204"/>
                    <a:gd name="T11" fmla="*/ 0 h 14"/>
                    <a:gd name="T12" fmla="*/ 2147483646 w 204"/>
                    <a:gd name="T13" fmla="*/ 0 h 14"/>
                    <a:gd name="T14" fmla="*/ 2147483646 w 204"/>
                    <a:gd name="T15" fmla="*/ 0 h 14"/>
                    <a:gd name="T16" fmla="*/ 2147483646 w 204"/>
                    <a:gd name="T17" fmla="*/ 0 h 14"/>
                    <a:gd name="T18" fmla="*/ 2147483646 w 204"/>
                    <a:gd name="T19" fmla="*/ 0 h 14"/>
                    <a:gd name="T20" fmla="*/ 2147483646 w 204"/>
                    <a:gd name="T21" fmla="*/ 0 h 14"/>
                    <a:gd name="T22" fmla="*/ 2147483646 w 204"/>
                    <a:gd name="T23" fmla="*/ 0 h 14"/>
                    <a:gd name="T24" fmla="*/ 2147483646 w 204"/>
                    <a:gd name="T25" fmla="*/ 2147483646 h 14"/>
                    <a:gd name="T26" fmla="*/ 2147483646 w 204"/>
                    <a:gd name="T27" fmla="*/ 2147483646 h 14"/>
                    <a:gd name="T28" fmla="*/ 2147483646 w 204"/>
                    <a:gd name="T29" fmla="*/ 2147483646 h 14"/>
                    <a:gd name="T30" fmla="*/ 2147483646 w 204"/>
                    <a:gd name="T31" fmla="*/ 2147483646 h 14"/>
                    <a:gd name="T32" fmla="*/ 2147483646 w 204"/>
                    <a:gd name="T33" fmla="*/ 2147483646 h 14"/>
                    <a:gd name="T34" fmla="*/ 2147483646 w 204"/>
                    <a:gd name="T35" fmla="*/ 2147483646 h 14"/>
                    <a:gd name="T36" fmla="*/ 0 w 204"/>
                    <a:gd name="T37" fmla="*/ 2147483646 h 14"/>
                    <a:gd name="T38" fmla="*/ 0 w 204"/>
                    <a:gd name="T39" fmla="*/ 2147483646 h 14"/>
                    <a:gd name="T40" fmla="*/ 0 w 204"/>
                    <a:gd name="T41" fmla="*/ 2147483646 h 14"/>
                    <a:gd name="T42" fmla="*/ 0 w 204"/>
                    <a:gd name="T43" fmla="*/ 2147483646 h 14"/>
                    <a:gd name="T44" fmla="*/ 2147483646 w 204"/>
                    <a:gd name="T45" fmla="*/ 2147483646 h 14"/>
                    <a:gd name="T46" fmla="*/ 2147483646 w 204"/>
                    <a:gd name="T47" fmla="*/ 2147483646 h 14"/>
                    <a:gd name="T48" fmla="*/ 2147483646 w 204"/>
                    <a:gd name="T49" fmla="*/ 2147483646 h 14"/>
                    <a:gd name="T50" fmla="*/ 2147483646 w 204"/>
                    <a:gd name="T51" fmla="*/ 2147483646 h 14"/>
                    <a:gd name="T52" fmla="*/ 2147483646 w 204"/>
                    <a:gd name="T53" fmla="*/ 2147483646 h 14"/>
                    <a:gd name="T54" fmla="*/ 2147483646 w 204"/>
                    <a:gd name="T55" fmla="*/ 2147483646 h 14"/>
                    <a:gd name="T56" fmla="*/ 2147483646 w 204"/>
                    <a:gd name="T57" fmla="*/ 2147483646 h 14"/>
                    <a:gd name="T58" fmla="*/ 2147483646 w 204"/>
                    <a:gd name="T59" fmla="*/ 2147483646 h 14"/>
                    <a:gd name="T60" fmla="*/ 2147483646 w 204"/>
                    <a:gd name="T61" fmla="*/ 2147483646 h 14"/>
                    <a:gd name="T62" fmla="*/ 2147483646 w 204"/>
                    <a:gd name="T63" fmla="*/ 2147483646 h 14"/>
                    <a:gd name="T64" fmla="*/ 2147483646 w 204"/>
                    <a:gd name="T65" fmla="*/ 2147483646 h 14"/>
                    <a:gd name="T66" fmla="*/ 2147483646 w 204"/>
                    <a:gd name="T67" fmla="*/ 2147483646 h 14"/>
                    <a:gd name="T68" fmla="*/ 2147483646 w 204"/>
                    <a:gd name="T69" fmla="*/ 2147483646 h 14"/>
                    <a:gd name="T70" fmla="*/ 2147483646 w 204"/>
                    <a:gd name="T71" fmla="*/ 2147483646 h 14"/>
                    <a:gd name="T72" fmla="*/ 2147483646 w 204"/>
                    <a:gd name="T73" fmla="*/ 2147483646 h 14"/>
                    <a:gd name="T74" fmla="*/ 2147483646 w 204"/>
                    <a:gd name="T75" fmla="*/ 2147483646 h 14"/>
                    <a:gd name="T76" fmla="*/ 2147483646 w 204"/>
                    <a:gd name="T77" fmla="*/ 2147483646 h 14"/>
                    <a:gd name="T78" fmla="*/ 2147483646 w 204"/>
                    <a:gd name="T79" fmla="*/ 2147483646 h 14"/>
                    <a:gd name="T80" fmla="*/ 2147483646 w 204"/>
                    <a:gd name="T81" fmla="*/ 2147483646 h 14"/>
                    <a:gd name="T82" fmla="*/ 2147483646 w 204"/>
                    <a:gd name="T83" fmla="*/ 2147483646 h 14"/>
                    <a:gd name="T84" fmla="*/ 2147483646 w 204"/>
                    <a:gd name="T85" fmla="*/ 2147483646 h 14"/>
                    <a:gd name="T86" fmla="*/ 2147483646 w 204"/>
                    <a:gd name="T87" fmla="*/ 2147483646 h 14"/>
                    <a:gd name="T88" fmla="*/ 2147483646 w 204"/>
                    <a:gd name="T89" fmla="*/ 2147483646 h 14"/>
                    <a:gd name="T90" fmla="*/ 2147483646 w 204"/>
                    <a:gd name="T91" fmla="*/ 2147483646 h 14"/>
                    <a:gd name="T92" fmla="*/ 2147483646 w 204"/>
                    <a:gd name="T93" fmla="*/ 2147483646 h 14"/>
                    <a:gd name="T94" fmla="*/ 2147483646 w 204"/>
                    <a:gd name="T95" fmla="*/ 0 h 14"/>
                    <a:gd name="T96" fmla="*/ 2147483646 w 204"/>
                    <a:gd name="T97" fmla="*/ 0 h 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4"/>
                    <a:gd name="T148" fmla="*/ 0 h 14"/>
                    <a:gd name="T149" fmla="*/ 204 w 204"/>
                    <a:gd name="T150" fmla="*/ 14 h 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4" h="14">
                      <a:moveTo>
                        <a:pt x="199" y="0"/>
                      </a:moveTo>
                      <a:lnTo>
                        <a:pt x="186" y="0"/>
                      </a:lnTo>
                      <a:lnTo>
                        <a:pt x="175" y="0"/>
                      </a:lnTo>
                      <a:lnTo>
                        <a:pt x="162" y="0"/>
                      </a:lnTo>
                      <a:lnTo>
                        <a:pt x="150" y="0"/>
                      </a:lnTo>
                      <a:lnTo>
                        <a:pt x="138" y="0"/>
                      </a:lnTo>
                      <a:lnTo>
                        <a:pt x="125" y="0"/>
                      </a:lnTo>
                      <a:lnTo>
                        <a:pt x="113" y="0"/>
                      </a:lnTo>
                      <a:lnTo>
                        <a:pt x="101" y="0"/>
                      </a:lnTo>
                      <a:lnTo>
                        <a:pt x="88" y="0"/>
                      </a:lnTo>
                      <a:lnTo>
                        <a:pt x="76" y="0"/>
                      </a:lnTo>
                      <a:lnTo>
                        <a:pt x="63" y="0"/>
                      </a:lnTo>
                      <a:lnTo>
                        <a:pt x="52" y="1"/>
                      </a:lnTo>
                      <a:lnTo>
                        <a:pt x="39" y="1"/>
                      </a:lnTo>
                      <a:lnTo>
                        <a:pt x="26" y="2"/>
                      </a:lnTo>
                      <a:lnTo>
                        <a:pt x="15" y="4"/>
                      </a:lnTo>
                      <a:lnTo>
                        <a:pt x="2" y="5"/>
                      </a:lnTo>
                      <a:lnTo>
                        <a:pt x="1" y="6"/>
                      </a:lnTo>
                      <a:lnTo>
                        <a:pt x="0" y="7"/>
                      </a:lnTo>
                      <a:lnTo>
                        <a:pt x="0" y="9"/>
                      </a:lnTo>
                      <a:lnTo>
                        <a:pt x="0" y="11"/>
                      </a:lnTo>
                      <a:lnTo>
                        <a:pt x="0" y="12"/>
                      </a:lnTo>
                      <a:lnTo>
                        <a:pt x="1" y="13"/>
                      </a:lnTo>
                      <a:lnTo>
                        <a:pt x="3" y="14"/>
                      </a:lnTo>
                      <a:lnTo>
                        <a:pt x="4" y="14"/>
                      </a:lnTo>
                      <a:lnTo>
                        <a:pt x="17" y="13"/>
                      </a:lnTo>
                      <a:lnTo>
                        <a:pt x="29" y="12"/>
                      </a:lnTo>
                      <a:lnTo>
                        <a:pt x="41" y="11"/>
                      </a:lnTo>
                      <a:lnTo>
                        <a:pt x="54" y="9"/>
                      </a:lnTo>
                      <a:lnTo>
                        <a:pt x="65" y="9"/>
                      </a:lnTo>
                      <a:lnTo>
                        <a:pt x="78" y="9"/>
                      </a:lnTo>
                      <a:lnTo>
                        <a:pt x="90" y="8"/>
                      </a:lnTo>
                      <a:lnTo>
                        <a:pt x="102" y="8"/>
                      </a:lnTo>
                      <a:lnTo>
                        <a:pt x="114" y="8"/>
                      </a:lnTo>
                      <a:lnTo>
                        <a:pt x="126" y="8"/>
                      </a:lnTo>
                      <a:lnTo>
                        <a:pt x="138" y="9"/>
                      </a:lnTo>
                      <a:lnTo>
                        <a:pt x="151" y="9"/>
                      </a:lnTo>
                      <a:lnTo>
                        <a:pt x="162" y="9"/>
                      </a:lnTo>
                      <a:lnTo>
                        <a:pt x="175" y="9"/>
                      </a:lnTo>
                      <a:lnTo>
                        <a:pt x="186" y="9"/>
                      </a:lnTo>
                      <a:lnTo>
                        <a:pt x="199" y="9"/>
                      </a:lnTo>
                      <a:lnTo>
                        <a:pt x="200" y="9"/>
                      </a:lnTo>
                      <a:lnTo>
                        <a:pt x="202" y="8"/>
                      </a:lnTo>
                      <a:lnTo>
                        <a:pt x="204" y="6"/>
                      </a:lnTo>
                      <a:lnTo>
                        <a:pt x="204" y="5"/>
                      </a:lnTo>
                      <a:lnTo>
                        <a:pt x="204" y="4"/>
                      </a:lnTo>
                      <a:lnTo>
                        <a:pt x="202" y="1"/>
                      </a:lnTo>
                      <a:lnTo>
                        <a:pt x="200" y="0"/>
                      </a:lnTo>
                      <a:lnTo>
                        <a:pt x="19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61" name="Freeform 440">
                  <a:extLst>
                    <a:ext uri="{FF2B5EF4-FFF2-40B4-BE49-F238E27FC236}">
                      <a16:creationId xmlns:a16="http://schemas.microsoft.com/office/drawing/2014/main" id="{E94ED1D5-50DB-4156-85E1-6C7B78A7296D}"/>
                    </a:ext>
                  </a:extLst>
                </p:cNvPr>
                <p:cNvSpPr>
                  <a:spLocks/>
                </p:cNvSpPr>
                <p:nvPr/>
              </p:nvSpPr>
              <p:spPr bwMode="auto">
                <a:xfrm>
                  <a:off x="3398838" y="4927600"/>
                  <a:ext cx="3175" cy="4762"/>
                </a:xfrm>
                <a:custGeom>
                  <a:avLst/>
                  <a:gdLst>
                    <a:gd name="T0" fmla="*/ 2147483646 w 5"/>
                    <a:gd name="T1" fmla="*/ 2147483646 h 7"/>
                    <a:gd name="T2" fmla="*/ 2147483646 w 5"/>
                    <a:gd name="T3" fmla="*/ 2147483646 h 7"/>
                    <a:gd name="T4" fmla="*/ 2147483646 w 5"/>
                    <a:gd name="T5" fmla="*/ 0 h 7"/>
                    <a:gd name="T6" fmla="*/ 2147483646 w 5"/>
                    <a:gd name="T7" fmla="*/ 2147483646 h 7"/>
                    <a:gd name="T8" fmla="*/ 0 w 5"/>
                    <a:gd name="T9" fmla="*/ 2147483646 h 7"/>
                    <a:gd name="T10" fmla="*/ 0 w 5"/>
                    <a:gd name="T11" fmla="*/ 2147483646 h 7"/>
                    <a:gd name="T12" fmla="*/ 0 w 5"/>
                    <a:gd name="T13" fmla="*/ 2147483646 h 7"/>
                    <a:gd name="T14" fmla="*/ 0 w 5"/>
                    <a:gd name="T15" fmla="*/ 2147483646 h 7"/>
                    <a:gd name="T16" fmla="*/ 2147483646 w 5"/>
                    <a:gd name="T17" fmla="*/ 2147483646 h 7"/>
                    <a:gd name="T18" fmla="*/ 2147483646 w 5"/>
                    <a:gd name="T19" fmla="*/ 2147483646 h 7"/>
                    <a:gd name="T20" fmla="*/ 2147483646 w 5"/>
                    <a:gd name="T21" fmla="*/ 2147483646 h 7"/>
                    <a:gd name="T22" fmla="*/ 2147483646 w 5"/>
                    <a:gd name="T23" fmla="*/ 2147483646 h 7"/>
                    <a:gd name="T24" fmla="*/ 2147483646 w 5"/>
                    <a:gd name="T25" fmla="*/ 2147483646 h 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7"/>
                    <a:gd name="T41" fmla="*/ 5 w 5"/>
                    <a:gd name="T42" fmla="*/ 7 h 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7">
                      <a:moveTo>
                        <a:pt x="3" y="7"/>
                      </a:moveTo>
                      <a:lnTo>
                        <a:pt x="5" y="1"/>
                      </a:lnTo>
                      <a:lnTo>
                        <a:pt x="5" y="0"/>
                      </a:lnTo>
                      <a:lnTo>
                        <a:pt x="2" y="2"/>
                      </a:lnTo>
                      <a:lnTo>
                        <a:pt x="0" y="5"/>
                      </a:lnTo>
                      <a:lnTo>
                        <a:pt x="1" y="6"/>
                      </a:lnTo>
                      <a:lnTo>
                        <a:pt x="2" y="6"/>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62" name="Freeform 441">
                  <a:extLst>
                    <a:ext uri="{FF2B5EF4-FFF2-40B4-BE49-F238E27FC236}">
                      <a16:creationId xmlns:a16="http://schemas.microsoft.com/office/drawing/2014/main" id="{BB60D878-BC1D-496A-8695-E5322A7CA11A}"/>
                    </a:ext>
                  </a:extLst>
                </p:cNvPr>
                <p:cNvSpPr>
                  <a:spLocks/>
                </p:cNvSpPr>
                <p:nvPr/>
              </p:nvSpPr>
              <p:spPr bwMode="auto">
                <a:xfrm>
                  <a:off x="3330575" y="4902200"/>
                  <a:ext cx="73025" cy="46037"/>
                </a:xfrm>
                <a:custGeom>
                  <a:avLst/>
                  <a:gdLst>
                    <a:gd name="T0" fmla="*/ 2147483646 w 92"/>
                    <a:gd name="T1" fmla="*/ 2147483646 h 56"/>
                    <a:gd name="T2" fmla="*/ 2147483646 w 92"/>
                    <a:gd name="T3" fmla="*/ 2147483646 h 56"/>
                    <a:gd name="T4" fmla="*/ 2147483646 w 92"/>
                    <a:gd name="T5" fmla="*/ 2147483646 h 56"/>
                    <a:gd name="T6" fmla="*/ 2147483646 w 92"/>
                    <a:gd name="T7" fmla="*/ 2147483646 h 56"/>
                    <a:gd name="T8" fmla="*/ 2147483646 w 92"/>
                    <a:gd name="T9" fmla="*/ 2147483646 h 56"/>
                    <a:gd name="T10" fmla="*/ 2147483646 w 92"/>
                    <a:gd name="T11" fmla="*/ 2147483646 h 56"/>
                    <a:gd name="T12" fmla="*/ 2147483646 w 92"/>
                    <a:gd name="T13" fmla="*/ 2147483646 h 56"/>
                    <a:gd name="T14" fmla="*/ 2147483646 w 92"/>
                    <a:gd name="T15" fmla="*/ 2147483646 h 56"/>
                    <a:gd name="T16" fmla="*/ 2147483646 w 92"/>
                    <a:gd name="T17" fmla="*/ 2147483646 h 56"/>
                    <a:gd name="T18" fmla="*/ 2147483646 w 92"/>
                    <a:gd name="T19" fmla="*/ 2147483646 h 56"/>
                    <a:gd name="T20" fmla="*/ 2147483646 w 92"/>
                    <a:gd name="T21" fmla="*/ 2147483646 h 56"/>
                    <a:gd name="T22" fmla="*/ 2147483646 w 92"/>
                    <a:gd name="T23" fmla="*/ 2147483646 h 56"/>
                    <a:gd name="T24" fmla="*/ 2147483646 w 92"/>
                    <a:gd name="T25" fmla="*/ 2147483646 h 56"/>
                    <a:gd name="T26" fmla="*/ 2147483646 w 92"/>
                    <a:gd name="T27" fmla="*/ 2147483646 h 56"/>
                    <a:gd name="T28" fmla="*/ 2147483646 w 92"/>
                    <a:gd name="T29" fmla="*/ 2147483646 h 56"/>
                    <a:gd name="T30" fmla="*/ 2147483646 w 92"/>
                    <a:gd name="T31" fmla="*/ 2147483646 h 56"/>
                    <a:gd name="T32" fmla="*/ 2147483646 w 92"/>
                    <a:gd name="T33" fmla="*/ 2147483646 h 56"/>
                    <a:gd name="T34" fmla="*/ 2147483646 w 92"/>
                    <a:gd name="T35" fmla="*/ 2147483646 h 56"/>
                    <a:gd name="T36" fmla="*/ 2147483646 w 92"/>
                    <a:gd name="T37" fmla="*/ 2147483646 h 56"/>
                    <a:gd name="T38" fmla="*/ 2147483646 w 92"/>
                    <a:gd name="T39" fmla="*/ 2147483646 h 56"/>
                    <a:gd name="T40" fmla="*/ 2147483646 w 92"/>
                    <a:gd name="T41" fmla="*/ 2147483646 h 56"/>
                    <a:gd name="T42" fmla="*/ 2147483646 w 92"/>
                    <a:gd name="T43" fmla="*/ 2147483646 h 56"/>
                    <a:gd name="T44" fmla="*/ 2147483646 w 92"/>
                    <a:gd name="T45" fmla="*/ 2147483646 h 56"/>
                    <a:gd name="T46" fmla="*/ 2147483646 w 92"/>
                    <a:gd name="T47" fmla="*/ 2147483646 h 56"/>
                    <a:gd name="T48" fmla="*/ 2147483646 w 92"/>
                    <a:gd name="T49" fmla="*/ 2147483646 h 56"/>
                    <a:gd name="T50" fmla="*/ 2147483646 w 92"/>
                    <a:gd name="T51" fmla="*/ 2147483646 h 56"/>
                    <a:gd name="T52" fmla="*/ 2147483646 w 92"/>
                    <a:gd name="T53" fmla="*/ 2147483646 h 56"/>
                    <a:gd name="T54" fmla="*/ 2147483646 w 92"/>
                    <a:gd name="T55" fmla="*/ 2147483646 h 56"/>
                    <a:gd name="T56" fmla="*/ 2147483646 w 92"/>
                    <a:gd name="T57" fmla="*/ 2147483646 h 56"/>
                    <a:gd name="T58" fmla="*/ 2147483646 w 92"/>
                    <a:gd name="T59" fmla="*/ 2147483646 h 56"/>
                    <a:gd name="T60" fmla="*/ 2147483646 w 92"/>
                    <a:gd name="T61" fmla="*/ 2147483646 h 56"/>
                    <a:gd name="T62" fmla="*/ 2147483646 w 92"/>
                    <a:gd name="T63" fmla="*/ 2147483646 h 56"/>
                    <a:gd name="T64" fmla="*/ 2147483646 w 92"/>
                    <a:gd name="T65" fmla="*/ 0 h 56"/>
                    <a:gd name="T66" fmla="*/ 2147483646 w 92"/>
                    <a:gd name="T67" fmla="*/ 2147483646 h 56"/>
                    <a:gd name="T68" fmla="*/ 2147483646 w 92"/>
                    <a:gd name="T69" fmla="*/ 2147483646 h 56"/>
                    <a:gd name="T70" fmla="*/ 0 w 92"/>
                    <a:gd name="T71" fmla="*/ 2147483646 h 56"/>
                    <a:gd name="T72" fmla="*/ 0 w 92"/>
                    <a:gd name="T73" fmla="*/ 2147483646 h 56"/>
                    <a:gd name="T74" fmla="*/ 2147483646 w 92"/>
                    <a:gd name="T75" fmla="*/ 2147483646 h 56"/>
                    <a:gd name="T76" fmla="*/ 2147483646 w 92"/>
                    <a:gd name="T77" fmla="*/ 2147483646 h 56"/>
                    <a:gd name="T78" fmla="*/ 2147483646 w 92"/>
                    <a:gd name="T79" fmla="*/ 2147483646 h 56"/>
                    <a:gd name="T80" fmla="*/ 2147483646 w 92"/>
                    <a:gd name="T81" fmla="*/ 2147483646 h 56"/>
                    <a:gd name="T82" fmla="*/ 2147483646 w 92"/>
                    <a:gd name="T83" fmla="*/ 2147483646 h 56"/>
                    <a:gd name="T84" fmla="*/ 2147483646 w 92"/>
                    <a:gd name="T85" fmla="*/ 2147483646 h 56"/>
                    <a:gd name="T86" fmla="*/ 2147483646 w 92"/>
                    <a:gd name="T87" fmla="*/ 2147483646 h 56"/>
                    <a:gd name="T88" fmla="*/ 2147483646 w 92"/>
                    <a:gd name="T89" fmla="*/ 2147483646 h 56"/>
                    <a:gd name="T90" fmla="*/ 2147483646 w 92"/>
                    <a:gd name="T91" fmla="*/ 2147483646 h 56"/>
                    <a:gd name="T92" fmla="*/ 2147483646 w 92"/>
                    <a:gd name="T93" fmla="*/ 2147483646 h 56"/>
                    <a:gd name="T94" fmla="*/ 2147483646 w 92"/>
                    <a:gd name="T95" fmla="*/ 2147483646 h 56"/>
                    <a:gd name="T96" fmla="*/ 2147483646 w 92"/>
                    <a:gd name="T97" fmla="*/ 2147483646 h 56"/>
                    <a:gd name="T98" fmla="*/ 2147483646 w 92"/>
                    <a:gd name="T99" fmla="*/ 2147483646 h 56"/>
                    <a:gd name="T100" fmla="*/ 2147483646 w 92"/>
                    <a:gd name="T101" fmla="*/ 2147483646 h 56"/>
                    <a:gd name="T102" fmla="*/ 2147483646 w 92"/>
                    <a:gd name="T103" fmla="*/ 2147483646 h 56"/>
                    <a:gd name="T104" fmla="*/ 2147483646 w 92"/>
                    <a:gd name="T105" fmla="*/ 2147483646 h 56"/>
                    <a:gd name="T106" fmla="*/ 2147483646 w 92"/>
                    <a:gd name="T107" fmla="*/ 2147483646 h 56"/>
                    <a:gd name="T108" fmla="*/ 2147483646 w 92"/>
                    <a:gd name="T109" fmla="*/ 2147483646 h 56"/>
                    <a:gd name="T110" fmla="*/ 2147483646 w 92"/>
                    <a:gd name="T111" fmla="*/ 2147483646 h 56"/>
                    <a:gd name="T112" fmla="*/ 2147483646 w 92"/>
                    <a:gd name="T113" fmla="*/ 2147483646 h 56"/>
                    <a:gd name="T114" fmla="*/ 2147483646 w 92"/>
                    <a:gd name="T115" fmla="*/ 2147483646 h 56"/>
                    <a:gd name="T116" fmla="*/ 2147483646 w 92"/>
                    <a:gd name="T117" fmla="*/ 2147483646 h 5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2"/>
                    <a:gd name="T178" fmla="*/ 0 h 56"/>
                    <a:gd name="T179" fmla="*/ 92 w 92"/>
                    <a:gd name="T180" fmla="*/ 56 h 5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2" h="56">
                      <a:moveTo>
                        <a:pt x="89" y="38"/>
                      </a:moveTo>
                      <a:lnTo>
                        <a:pt x="89" y="38"/>
                      </a:lnTo>
                      <a:lnTo>
                        <a:pt x="89" y="39"/>
                      </a:lnTo>
                      <a:lnTo>
                        <a:pt x="88" y="40"/>
                      </a:lnTo>
                      <a:lnTo>
                        <a:pt x="88" y="42"/>
                      </a:lnTo>
                      <a:lnTo>
                        <a:pt x="87" y="45"/>
                      </a:lnTo>
                      <a:lnTo>
                        <a:pt x="87" y="42"/>
                      </a:lnTo>
                      <a:lnTo>
                        <a:pt x="87" y="40"/>
                      </a:lnTo>
                      <a:lnTo>
                        <a:pt x="87" y="39"/>
                      </a:lnTo>
                      <a:lnTo>
                        <a:pt x="87" y="37"/>
                      </a:lnTo>
                      <a:lnTo>
                        <a:pt x="86" y="37"/>
                      </a:lnTo>
                      <a:lnTo>
                        <a:pt x="86" y="36"/>
                      </a:lnTo>
                      <a:lnTo>
                        <a:pt x="85" y="30"/>
                      </a:lnTo>
                      <a:lnTo>
                        <a:pt x="84" y="23"/>
                      </a:lnTo>
                      <a:lnTo>
                        <a:pt x="81" y="17"/>
                      </a:lnTo>
                      <a:lnTo>
                        <a:pt x="80" y="11"/>
                      </a:lnTo>
                      <a:lnTo>
                        <a:pt x="78" y="4"/>
                      </a:lnTo>
                      <a:lnTo>
                        <a:pt x="77" y="3"/>
                      </a:lnTo>
                      <a:lnTo>
                        <a:pt x="77" y="2"/>
                      </a:lnTo>
                      <a:lnTo>
                        <a:pt x="76" y="2"/>
                      </a:lnTo>
                      <a:lnTo>
                        <a:pt x="73" y="1"/>
                      </a:lnTo>
                      <a:lnTo>
                        <a:pt x="72" y="1"/>
                      </a:lnTo>
                      <a:lnTo>
                        <a:pt x="70" y="1"/>
                      </a:lnTo>
                      <a:lnTo>
                        <a:pt x="69" y="1"/>
                      </a:lnTo>
                      <a:lnTo>
                        <a:pt x="68" y="2"/>
                      </a:lnTo>
                      <a:lnTo>
                        <a:pt x="65" y="8"/>
                      </a:lnTo>
                      <a:lnTo>
                        <a:pt x="62" y="14"/>
                      </a:lnTo>
                      <a:lnTo>
                        <a:pt x="61" y="21"/>
                      </a:lnTo>
                      <a:lnTo>
                        <a:pt x="58" y="26"/>
                      </a:lnTo>
                      <a:lnTo>
                        <a:pt x="58" y="33"/>
                      </a:lnTo>
                      <a:lnTo>
                        <a:pt x="56" y="39"/>
                      </a:lnTo>
                      <a:lnTo>
                        <a:pt x="54" y="34"/>
                      </a:lnTo>
                      <a:lnTo>
                        <a:pt x="53" y="34"/>
                      </a:lnTo>
                      <a:lnTo>
                        <a:pt x="51" y="32"/>
                      </a:lnTo>
                      <a:lnTo>
                        <a:pt x="50" y="31"/>
                      </a:lnTo>
                      <a:lnTo>
                        <a:pt x="49" y="31"/>
                      </a:lnTo>
                      <a:lnTo>
                        <a:pt x="47" y="31"/>
                      </a:lnTo>
                      <a:lnTo>
                        <a:pt x="46" y="31"/>
                      </a:lnTo>
                      <a:lnTo>
                        <a:pt x="42" y="34"/>
                      </a:lnTo>
                      <a:lnTo>
                        <a:pt x="42" y="29"/>
                      </a:lnTo>
                      <a:lnTo>
                        <a:pt x="42" y="23"/>
                      </a:lnTo>
                      <a:lnTo>
                        <a:pt x="42" y="17"/>
                      </a:lnTo>
                      <a:lnTo>
                        <a:pt x="42" y="11"/>
                      </a:lnTo>
                      <a:lnTo>
                        <a:pt x="40" y="4"/>
                      </a:lnTo>
                      <a:lnTo>
                        <a:pt x="40" y="3"/>
                      </a:lnTo>
                      <a:lnTo>
                        <a:pt x="39" y="3"/>
                      </a:lnTo>
                      <a:lnTo>
                        <a:pt x="36" y="2"/>
                      </a:lnTo>
                      <a:lnTo>
                        <a:pt x="35" y="2"/>
                      </a:lnTo>
                      <a:lnTo>
                        <a:pt x="33" y="3"/>
                      </a:lnTo>
                      <a:lnTo>
                        <a:pt x="32" y="3"/>
                      </a:lnTo>
                      <a:lnTo>
                        <a:pt x="32" y="4"/>
                      </a:lnTo>
                      <a:lnTo>
                        <a:pt x="28" y="6"/>
                      </a:lnTo>
                      <a:lnTo>
                        <a:pt x="27" y="7"/>
                      </a:lnTo>
                      <a:lnTo>
                        <a:pt x="27" y="8"/>
                      </a:lnTo>
                      <a:lnTo>
                        <a:pt x="24" y="14"/>
                      </a:lnTo>
                      <a:lnTo>
                        <a:pt x="21" y="19"/>
                      </a:lnTo>
                      <a:lnTo>
                        <a:pt x="20" y="25"/>
                      </a:lnTo>
                      <a:lnTo>
                        <a:pt x="18" y="32"/>
                      </a:lnTo>
                      <a:lnTo>
                        <a:pt x="16" y="38"/>
                      </a:lnTo>
                      <a:lnTo>
                        <a:pt x="10" y="47"/>
                      </a:lnTo>
                      <a:lnTo>
                        <a:pt x="8" y="44"/>
                      </a:lnTo>
                      <a:lnTo>
                        <a:pt x="9" y="45"/>
                      </a:lnTo>
                      <a:lnTo>
                        <a:pt x="8" y="44"/>
                      </a:lnTo>
                      <a:lnTo>
                        <a:pt x="9" y="38"/>
                      </a:lnTo>
                      <a:lnTo>
                        <a:pt x="9" y="39"/>
                      </a:lnTo>
                      <a:lnTo>
                        <a:pt x="11" y="31"/>
                      </a:lnTo>
                      <a:lnTo>
                        <a:pt x="13" y="22"/>
                      </a:lnTo>
                      <a:lnTo>
                        <a:pt x="15" y="14"/>
                      </a:lnTo>
                      <a:lnTo>
                        <a:pt x="18" y="6"/>
                      </a:lnTo>
                      <a:lnTo>
                        <a:pt x="18" y="4"/>
                      </a:lnTo>
                      <a:lnTo>
                        <a:pt x="18" y="2"/>
                      </a:lnTo>
                      <a:lnTo>
                        <a:pt x="17" y="1"/>
                      </a:lnTo>
                      <a:lnTo>
                        <a:pt x="16" y="0"/>
                      </a:lnTo>
                      <a:lnTo>
                        <a:pt x="15" y="0"/>
                      </a:lnTo>
                      <a:lnTo>
                        <a:pt x="12" y="0"/>
                      </a:lnTo>
                      <a:lnTo>
                        <a:pt x="11" y="1"/>
                      </a:lnTo>
                      <a:lnTo>
                        <a:pt x="10" y="2"/>
                      </a:lnTo>
                      <a:lnTo>
                        <a:pt x="7" y="11"/>
                      </a:lnTo>
                      <a:lnTo>
                        <a:pt x="4" y="21"/>
                      </a:lnTo>
                      <a:lnTo>
                        <a:pt x="2" y="30"/>
                      </a:lnTo>
                      <a:lnTo>
                        <a:pt x="0" y="39"/>
                      </a:lnTo>
                      <a:lnTo>
                        <a:pt x="0" y="45"/>
                      </a:lnTo>
                      <a:lnTo>
                        <a:pt x="0" y="46"/>
                      </a:lnTo>
                      <a:lnTo>
                        <a:pt x="0" y="47"/>
                      </a:lnTo>
                      <a:lnTo>
                        <a:pt x="1" y="49"/>
                      </a:lnTo>
                      <a:lnTo>
                        <a:pt x="5" y="54"/>
                      </a:lnTo>
                      <a:lnTo>
                        <a:pt x="5" y="55"/>
                      </a:lnTo>
                      <a:lnTo>
                        <a:pt x="7" y="56"/>
                      </a:lnTo>
                      <a:lnTo>
                        <a:pt x="9" y="56"/>
                      </a:lnTo>
                      <a:lnTo>
                        <a:pt x="10" y="56"/>
                      </a:lnTo>
                      <a:lnTo>
                        <a:pt x="13" y="55"/>
                      </a:lnTo>
                      <a:lnTo>
                        <a:pt x="15" y="55"/>
                      </a:lnTo>
                      <a:lnTo>
                        <a:pt x="15" y="54"/>
                      </a:lnTo>
                      <a:lnTo>
                        <a:pt x="16" y="54"/>
                      </a:lnTo>
                      <a:lnTo>
                        <a:pt x="19" y="49"/>
                      </a:lnTo>
                      <a:lnTo>
                        <a:pt x="24" y="41"/>
                      </a:lnTo>
                      <a:lnTo>
                        <a:pt x="27" y="33"/>
                      </a:lnTo>
                      <a:lnTo>
                        <a:pt x="30" y="24"/>
                      </a:lnTo>
                      <a:lnTo>
                        <a:pt x="32" y="16"/>
                      </a:lnTo>
                      <a:lnTo>
                        <a:pt x="33" y="14"/>
                      </a:lnTo>
                      <a:lnTo>
                        <a:pt x="33" y="22"/>
                      </a:lnTo>
                      <a:lnTo>
                        <a:pt x="34" y="29"/>
                      </a:lnTo>
                      <a:lnTo>
                        <a:pt x="34" y="37"/>
                      </a:lnTo>
                      <a:lnTo>
                        <a:pt x="35" y="45"/>
                      </a:lnTo>
                      <a:lnTo>
                        <a:pt x="36" y="47"/>
                      </a:lnTo>
                      <a:lnTo>
                        <a:pt x="38" y="48"/>
                      </a:lnTo>
                      <a:lnTo>
                        <a:pt x="39" y="48"/>
                      </a:lnTo>
                      <a:lnTo>
                        <a:pt x="39" y="49"/>
                      </a:lnTo>
                      <a:lnTo>
                        <a:pt x="40" y="49"/>
                      </a:lnTo>
                      <a:lnTo>
                        <a:pt x="41" y="49"/>
                      </a:lnTo>
                      <a:lnTo>
                        <a:pt x="43" y="49"/>
                      </a:lnTo>
                      <a:lnTo>
                        <a:pt x="44" y="48"/>
                      </a:lnTo>
                      <a:lnTo>
                        <a:pt x="44" y="47"/>
                      </a:lnTo>
                      <a:lnTo>
                        <a:pt x="46" y="45"/>
                      </a:lnTo>
                      <a:lnTo>
                        <a:pt x="47" y="44"/>
                      </a:lnTo>
                      <a:lnTo>
                        <a:pt x="47" y="42"/>
                      </a:lnTo>
                      <a:lnTo>
                        <a:pt x="47" y="41"/>
                      </a:lnTo>
                      <a:lnTo>
                        <a:pt x="50" y="46"/>
                      </a:lnTo>
                      <a:lnTo>
                        <a:pt x="51" y="47"/>
                      </a:lnTo>
                      <a:lnTo>
                        <a:pt x="51" y="48"/>
                      </a:lnTo>
                      <a:lnTo>
                        <a:pt x="53" y="48"/>
                      </a:lnTo>
                      <a:lnTo>
                        <a:pt x="55" y="49"/>
                      </a:lnTo>
                      <a:lnTo>
                        <a:pt x="56" y="49"/>
                      </a:lnTo>
                      <a:lnTo>
                        <a:pt x="58" y="49"/>
                      </a:lnTo>
                      <a:lnTo>
                        <a:pt x="59" y="49"/>
                      </a:lnTo>
                      <a:lnTo>
                        <a:pt x="61" y="48"/>
                      </a:lnTo>
                      <a:lnTo>
                        <a:pt x="63" y="46"/>
                      </a:lnTo>
                      <a:lnTo>
                        <a:pt x="64" y="45"/>
                      </a:lnTo>
                      <a:lnTo>
                        <a:pt x="64" y="44"/>
                      </a:lnTo>
                      <a:lnTo>
                        <a:pt x="65" y="39"/>
                      </a:lnTo>
                      <a:lnTo>
                        <a:pt x="66" y="33"/>
                      </a:lnTo>
                      <a:lnTo>
                        <a:pt x="68" y="26"/>
                      </a:lnTo>
                      <a:lnTo>
                        <a:pt x="70" y="19"/>
                      </a:lnTo>
                      <a:lnTo>
                        <a:pt x="72" y="14"/>
                      </a:lnTo>
                      <a:lnTo>
                        <a:pt x="74" y="21"/>
                      </a:lnTo>
                      <a:lnTo>
                        <a:pt x="76" y="27"/>
                      </a:lnTo>
                      <a:lnTo>
                        <a:pt x="78" y="34"/>
                      </a:lnTo>
                      <a:lnTo>
                        <a:pt x="79" y="42"/>
                      </a:lnTo>
                      <a:lnTo>
                        <a:pt x="80" y="45"/>
                      </a:lnTo>
                      <a:lnTo>
                        <a:pt x="81" y="46"/>
                      </a:lnTo>
                      <a:lnTo>
                        <a:pt x="85" y="46"/>
                      </a:lnTo>
                      <a:lnTo>
                        <a:pt x="89" y="44"/>
                      </a:lnTo>
                      <a:lnTo>
                        <a:pt x="91" y="42"/>
                      </a:lnTo>
                      <a:lnTo>
                        <a:pt x="92" y="40"/>
                      </a:lnTo>
                      <a:lnTo>
                        <a:pt x="91" y="39"/>
                      </a:lnTo>
                      <a:lnTo>
                        <a:pt x="8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63" name="Freeform 442">
                  <a:extLst>
                    <a:ext uri="{FF2B5EF4-FFF2-40B4-BE49-F238E27FC236}">
                      <a16:creationId xmlns:a16="http://schemas.microsoft.com/office/drawing/2014/main" id="{C3D84A3A-8D82-46CD-9895-9B2AE61ABEAF}"/>
                    </a:ext>
                  </a:extLst>
                </p:cNvPr>
                <p:cNvSpPr>
                  <a:spLocks/>
                </p:cNvSpPr>
                <p:nvPr/>
              </p:nvSpPr>
              <p:spPr bwMode="auto">
                <a:xfrm>
                  <a:off x="3425825" y="4910138"/>
                  <a:ext cx="1588" cy="1587"/>
                </a:xfrm>
                <a:custGeom>
                  <a:avLst/>
                  <a:gdLst>
                    <a:gd name="T0" fmla="*/ 0 w 2"/>
                    <a:gd name="T1" fmla="*/ 0 h 1587"/>
                    <a:gd name="T2" fmla="*/ 2147483646 w 2"/>
                    <a:gd name="T3" fmla="*/ 0 h 1587"/>
                    <a:gd name="T4" fmla="*/ 2147483646 w 2"/>
                    <a:gd name="T5" fmla="*/ 0 h 1587"/>
                    <a:gd name="T6" fmla="*/ 2147483646 w 2"/>
                    <a:gd name="T7" fmla="*/ 0 h 1587"/>
                    <a:gd name="T8" fmla="*/ 2147483646 w 2"/>
                    <a:gd name="T9" fmla="*/ 0 h 1587"/>
                    <a:gd name="T10" fmla="*/ 2147483646 w 2"/>
                    <a:gd name="T11" fmla="*/ 0 h 1587"/>
                    <a:gd name="T12" fmla="*/ 2147483646 w 2"/>
                    <a:gd name="T13" fmla="*/ 0 h 1587"/>
                    <a:gd name="T14" fmla="*/ 2147483646 w 2"/>
                    <a:gd name="T15" fmla="*/ 0 h 1587"/>
                    <a:gd name="T16" fmla="*/ 2147483646 w 2"/>
                    <a:gd name="T17" fmla="*/ 0 h 1587"/>
                    <a:gd name="T18" fmla="*/ 0 w 2"/>
                    <a:gd name="T19" fmla="*/ 0 h 158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1587"/>
                    <a:gd name="T32" fmla="*/ 2 w 2"/>
                    <a:gd name="T33" fmla="*/ 1587 h 158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1587">
                      <a:moveTo>
                        <a:pt x="0" y="0"/>
                      </a:moveTo>
                      <a:lnTo>
                        <a:pt x="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64" name="Freeform 443">
                  <a:extLst>
                    <a:ext uri="{FF2B5EF4-FFF2-40B4-BE49-F238E27FC236}">
                      <a16:creationId xmlns:a16="http://schemas.microsoft.com/office/drawing/2014/main" id="{254316C1-29E1-49FA-B3AC-AC086F158569}"/>
                    </a:ext>
                  </a:extLst>
                </p:cNvPr>
                <p:cNvSpPr>
                  <a:spLocks/>
                </p:cNvSpPr>
                <p:nvPr/>
              </p:nvSpPr>
              <p:spPr bwMode="auto">
                <a:xfrm>
                  <a:off x="3413125" y="4903788"/>
                  <a:ext cx="49213" cy="42862"/>
                </a:xfrm>
                <a:custGeom>
                  <a:avLst/>
                  <a:gdLst>
                    <a:gd name="T0" fmla="*/ 2147483646 w 61"/>
                    <a:gd name="T1" fmla="*/ 2147483646 h 54"/>
                    <a:gd name="T2" fmla="*/ 2147483646 w 61"/>
                    <a:gd name="T3" fmla="*/ 2147483646 h 54"/>
                    <a:gd name="T4" fmla="*/ 2147483646 w 61"/>
                    <a:gd name="T5" fmla="*/ 2147483646 h 54"/>
                    <a:gd name="T6" fmla="*/ 2147483646 w 61"/>
                    <a:gd name="T7" fmla="*/ 2147483646 h 54"/>
                    <a:gd name="T8" fmla="*/ 2147483646 w 61"/>
                    <a:gd name="T9" fmla="*/ 2147483646 h 54"/>
                    <a:gd name="T10" fmla="*/ 2147483646 w 61"/>
                    <a:gd name="T11" fmla="*/ 2147483646 h 54"/>
                    <a:gd name="T12" fmla="*/ 2147483646 w 61"/>
                    <a:gd name="T13" fmla="*/ 2147483646 h 54"/>
                    <a:gd name="T14" fmla="*/ 2147483646 w 61"/>
                    <a:gd name="T15" fmla="*/ 2147483646 h 54"/>
                    <a:gd name="T16" fmla="*/ 2147483646 w 61"/>
                    <a:gd name="T17" fmla="*/ 2147483646 h 54"/>
                    <a:gd name="T18" fmla="*/ 2147483646 w 61"/>
                    <a:gd name="T19" fmla="*/ 2147483646 h 54"/>
                    <a:gd name="T20" fmla="*/ 2147483646 w 61"/>
                    <a:gd name="T21" fmla="*/ 2147483646 h 54"/>
                    <a:gd name="T22" fmla="*/ 2147483646 w 61"/>
                    <a:gd name="T23" fmla="*/ 2147483646 h 54"/>
                    <a:gd name="T24" fmla="*/ 2147483646 w 61"/>
                    <a:gd name="T25" fmla="*/ 2147483646 h 54"/>
                    <a:gd name="T26" fmla="*/ 2147483646 w 61"/>
                    <a:gd name="T27" fmla="*/ 2147483646 h 54"/>
                    <a:gd name="T28" fmla="*/ 2147483646 w 61"/>
                    <a:gd name="T29" fmla="*/ 0 h 54"/>
                    <a:gd name="T30" fmla="*/ 2147483646 w 61"/>
                    <a:gd name="T31" fmla="*/ 2147483646 h 54"/>
                    <a:gd name="T32" fmla="*/ 2147483646 w 61"/>
                    <a:gd name="T33" fmla="*/ 2147483646 h 54"/>
                    <a:gd name="T34" fmla="*/ 2147483646 w 61"/>
                    <a:gd name="T35" fmla="*/ 2147483646 h 54"/>
                    <a:gd name="T36" fmla="*/ 0 w 61"/>
                    <a:gd name="T37" fmla="*/ 2147483646 h 54"/>
                    <a:gd name="T38" fmla="*/ 2147483646 w 61"/>
                    <a:gd name="T39" fmla="*/ 2147483646 h 54"/>
                    <a:gd name="T40" fmla="*/ 2147483646 w 61"/>
                    <a:gd name="T41" fmla="*/ 2147483646 h 54"/>
                    <a:gd name="T42" fmla="*/ 2147483646 w 61"/>
                    <a:gd name="T43" fmla="*/ 2147483646 h 54"/>
                    <a:gd name="T44" fmla="*/ 2147483646 w 61"/>
                    <a:gd name="T45" fmla="*/ 2147483646 h 54"/>
                    <a:gd name="T46" fmla="*/ 2147483646 w 61"/>
                    <a:gd name="T47" fmla="*/ 2147483646 h 54"/>
                    <a:gd name="T48" fmla="*/ 2147483646 w 61"/>
                    <a:gd name="T49" fmla="*/ 2147483646 h 54"/>
                    <a:gd name="T50" fmla="*/ 2147483646 w 61"/>
                    <a:gd name="T51" fmla="*/ 2147483646 h 54"/>
                    <a:gd name="T52" fmla="*/ 2147483646 w 61"/>
                    <a:gd name="T53" fmla="*/ 2147483646 h 54"/>
                    <a:gd name="T54" fmla="*/ 2147483646 w 61"/>
                    <a:gd name="T55" fmla="*/ 2147483646 h 54"/>
                    <a:gd name="T56" fmla="*/ 2147483646 w 61"/>
                    <a:gd name="T57" fmla="*/ 2147483646 h 54"/>
                    <a:gd name="T58" fmla="*/ 2147483646 w 61"/>
                    <a:gd name="T59" fmla="*/ 2147483646 h 54"/>
                    <a:gd name="T60" fmla="*/ 2147483646 w 61"/>
                    <a:gd name="T61" fmla="*/ 2147483646 h 54"/>
                    <a:gd name="T62" fmla="*/ 2147483646 w 61"/>
                    <a:gd name="T63" fmla="*/ 2147483646 h 54"/>
                    <a:gd name="T64" fmla="*/ 2147483646 w 61"/>
                    <a:gd name="T65" fmla="*/ 2147483646 h 54"/>
                    <a:gd name="T66" fmla="*/ 2147483646 w 61"/>
                    <a:gd name="T67" fmla="*/ 2147483646 h 54"/>
                    <a:gd name="T68" fmla="*/ 2147483646 w 61"/>
                    <a:gd name="T69" fmla="*/ 2147483646 h 54"/>
                    <a:gd name="T70" fmla="*/ 2147483646 w 61"/>
                    <a:gd name="T71" fmla="*/ 2147483646 h 54"/>
                    <a:gd name="T72" fmla="*/ 2147483646 w 61"/>
                    <a:gd name="T73" fmla="*/ 2147483646 h 54"/>
                    <a:gd name="T74" fmla="*/ 2147483646 w 61"/>
                    <a:gd name="T75" fmla="*/ 2147483646 h 54"/>
                    <a:gd name="T76" fmla="*/ 2147483646 w 61"/>
                    <a:gd name="T77" fmla="*/ 2147483646 h 54"/>
                    <a:gd name="T78" fmla="*/ 2147483646 w 61"/>
                    <a:gd name="T79" fmla="*/ 2147483646 h 54"/>
                    <a:gd name="T80" fmla="*/ 2147483646 w 61"/>
                    <a:gd name="T81" fmla="*/ 2147483646 h 54"/>
                    <a:gd name="T82" fmla="*/ 2147483646 w 61"/>
                    <a:gd name="T83" fmla="*/ 2147483646 h 5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1"/>
                    <a:gd name="T127" fmla="*/ 0 h 54"/>
                    <a:gd name="T128" fmla="*/ 61 w 61"/>
                    <a:gd name="T129" fmla="*/ 54 h 5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1" h="54">
                      <a:moveTo>
                        <a:pt x="61" y="39"/>
                      </a:moveTo>
                      <a:lnTo>
                        <a:pt x="60" y="36"/>
                      </a:lnTo>
                      <a:lnTo>
                        <a:pt x="59" y="32"/>
                      </a:lnTo>
                      <a:lnTo>
                        <a:pt x="58" y="30"/>
                      </a:lnTo>
                      <a:lnTo>
                        <a:pt x="57" y="26"/>
                      </a:lnTo>
                      <a:lnTo>
                        <a:pt x="51" y="17"/>
                      </a:lnTo>
                      <a:lnTo>
                        <a:pt x="51" y="16"/>
                      </a:lnTo>
                      <a:lnTo>
                        <a:pt x="50" y="15"/>
                      </a:lnTo>
                      <a:lnTo>
                        <a:pt x="48" y="14"/>
                      </a:lnTo>
                      <a:lnTo>
                        <a:pt x="46" y="15"/>
                      </a:lnTo>
                      <a:lnTo>
                        <a:pt x="44" y="16"/>
                      </a:lnTo>
                      <a:lnTo>
                        <a:pt x="40" y="22"/>
                      </a:lnTo>
                      <a:lnTo>
                        <a:pt x="38" y="25"/>
                      </a:lnTo>
                      <a:lnTo>
                        <a:pt x="37" y="28"/>
                      </a:lnTo>
                      <a:lnTo>
                        <a:pt x="35" y="31"/>
                      </a:lnTo>
                      <a:lnTo>
                        <a:pt x="34" y="35"/>
                      </a:lnTo>
                      <a:lnTo>
                        <a:pt x="33" y="29"/>
                      </a:lnTo>
                      <a:lnTo>
                        <a:pt x="33" y="23"/>
                      </a:lnTo>
                      <a:lnTo>
                        <a:pt x="31" y="17"/>
                      </a:lnTo>
                      <a:lnTo>
                        <a:pt x="31" y="11"/>
                      </a:lnTo>
                      <a:lnTo>
                        <a:pt x="29" y="3"/>
                      </a:lnTo>
                      <a:lnTo>
                        <a:pt x="29" y="2"/>
                      </a:lnTo>
                      <a:lnTo>
                        <a:pt x="28" y="1"/>
                      </a:lnTo>
                      <a:lnTo>
                        <a:pt x="27" y="0"/>
                      </a:lnTo>
                      <a:lnTo>
                        <a:pt x="25" y="0"/>
                      </a:lnTo>
                      <a:lnTo>
                        <a:pt x="23" y="1"/>
                      </a:lnTo>
                      <a:lnTo>
                        <a:pt x="22" y="2"/>
                      </a:lnTo>
                      <a:lnTo>
                        <a:pt x="18" y="8"/>
                      </a:lnTo>
                      <a:lnTo>
                        <a:pt x="13" y="16"/>
                      </a:lnTo>
                      <a:lnTo>
                        <a:pt x="10" y="23"/>
                      </a:lnTo>
                      <a:lnTo>
                        <a:pt x="6" y="30"/>
                      </a:lnTo>
                      <a:lnTo>
                        <a:pt x="2" y="37"/>
                      </a:lnTo>
                      <a:lnTo>
                        <a:pt x="0" y="39"/>
                      </a:lnTo>
                      <a:lnTo>
                        <a:pt x="0" y="40"/>
                      </a:lnTo>
                      <a:lnTo>
                        <a:pt x="2" y="43"/>
                      </a:lnTo>
                      <a:lnTo>
                        <a:pt x="3" y="44"/>
                      </a:lnTo>
                      <a:lnTo>
                        <a:pt x="4" y="44"/>
                      </a:lnTo>
                      <a:lnTo>
                        <a:pt x="6" y="44"/>
                      </a:lnTo>
                      <a:lnTo>
                        <a:pt x="7" y="43"/>
                      </a:lnTo>
                      <a:lnTo>
                        <a:pt x="8" y="41"/>
                      </a:lnTo>
                      <a:lnTo>
                        <a:pt x="12" y="36"/>
                      </a:lnTo>
                      <a:lnTo>
                        <a:pt x="16" y="29"/>
                      </a:lnTo>
                      <a:lnTo>
                        <a:pt x="20" y="22"/>
                      </a:lnTo>
                      <a:lnTo>
                        <a:pt x="23" y="16"/>
                      </a:lnTo>
                      <a:lnTo>
                        <a:pt x="25" y="24"/>
                      </a:lnTo>
                      <a:lnTo>
                        <a:pt x="25" y="31"/>
                      </a:lnTo>
                      <a:lnTo>
                        <a:pt x="26" y="39"/>
                      </a:lnTo>
                      <a:lnTo>
                        <a:pt x="26" y="47"/>
                      </a:lnTo>
                      <a:lnTo>
                        <a:pt x="27" y="51"/>
                      </a:lnTo>
                      <a:lnTo>
                        <a:pt x="27" y="52"/>
                      </a:lnTo>
                      <a:lnTo>
                        <a:pt x="27" y="53"/>
                      </a:lnTo>
                      <a:lnTo>
                        <a:pt x="28" y="54"/>
                      </a:lnTo>
                      <a:lnTo>
                        <a:pt x="30" y="54"/>
                      </a:lnTo>
                      <a:lnTo>
                        <a:pt x="31" y="54"/>
                      </a:lnTo>
                      <a:lnTo>
                        <a:pt x="33" y="54"/>
                      </a:lnTo>
                      <a:lnTo>
                        <a:pt x="36" y="52"/>
                      </a:lnTo>
                      <a:lnTo>
                        <a:pt x="37" y="51"/>
                      </a:lnTo>
                      <a:lnTo>
                        <a:pt x="37" y="50"/>
                      </a:lnTo>
                      <a:lnTo>
                        <a:pt x="38" y="48"/>
                      </a:lnTo>
                      <a:lnTo>
                        <a:pt x="38" y="46"/>
                      </a:lnTo>
                      <a:lnTo>
                        <a:pt x="41" y="41"/>
                      </a:lnTo>
                      <a:lnTo>
                        <a:pt x="43" y="37"/>
                      </a:lnTo>
                      <a:lnTo>
                        <a:pt x="44" y="32"/>
                      </a:lnTo>
                      <a:lnTo>
                        <a:pt x="46" y="28"/>
                      </a:lnTo>
                      <a:lnTo>
                        <a:pt x="49" y="31"/>
                      </a:lnTo>
                      <a:lnTo>
                        <a:pt x="51" y="35"/>
                      </a:lnTo>
                      <a:lnTo>
                        <a:pt x="52" y="38"/>
                      </a:lnTo>
                      <a:lnTo>
                        <a:pt x="53" y="41"/>
                      </a:lnTo>
                      <a:lnTo>
                        <a:pt x="54" y="43"/>
                      </a:lnTo>
                      <a:lnTo>
                        <a:pt x="56" y="44"/>
                      </a:lnTo>
                      <a:lnTo>
                        <a:pt x="58" y="45"/>
                      </a:lnTo>
                      <a:lnTo>
                        <a:pt x="59" y="45"/>
                      </a:lnTo>
                      <a:lnTo>
                        <a:pt x="60" y="44"/>
                      </a:lnTo>
                      <a:lnTo>
                        <a:pt x="61" y="43"/>
                      </a:lnTo>
                      <a:lnTo>
                        <a:pt x="61" y="40"/>
                      </a:lnTo>
                      <a:lnTo>
                        <a:pt x="61"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65" name="Freeform 444">
                  <a:extLst>
                    <a:ext uri="{FF2B5EF4-FFF2-40B4-BE49-F238E27FC236}">
                      <a16:creationId xmlns:a16="http://schemas.microsoft.com/office/drawing/2014/main" id="{3AA05593-D0BE-48BD-A4D5-1293010858F7}"/>
                    </a:ext>
                  </a:extLst>
                </p:cNvPr>
                <p:cNvSpPr>
                  <a:spLocks/>
                </p:cNvSpPr>
                <p:nvPr/>
              </p:nvSpPr>
              <p:spPr bwMode="auto">
                <a:xfrm>
                  <a:off x="3343275" y="4822825"/>
                  <a:ext cx="23813" cy="34925"/>
                </a:xfrm>
                <a:custGeom>
                  <a:avLst/>
                  <a:gdLst>
                    <a:gd name="T0" fmla="*/ 2147483646 w 29"/>
                    <a:gd name="T1" fmla="*/ 2147483646 h 42"/>
                    <a:gd name="T2" fmla="*/ 2147483646 w 29"/>
                    <a:gd name="T3" fmla="*/ 2147483646 h 42"/>
                    <a:gd name="T4" fmla="*/ 2147483646 w 29"/>
                    <a:gd name="T5" fmla="*/ 2147483646 h 42"/>
                    <a:gd name="T6" fmla="*/ 2147483646 w 29"/>
                    <a:gd name="T7" fmla="*/ 2147483646 h 42"/>
                    <a:gd name="T8" fmla="*/ 2147483646 w 29"/>
                    <a:gd name="T9" fmla="*/ 2147483646 h 42"/>
                    <a:gd name="T10" fmla="*/ 2147483646 w 29"/>
                    <a:gd name="T11" fmla="*/ 2147483646 h 42"/>
                    <a:gd name="T12" fmla="*/ 2147483646 w 29"/>
                    <a:gd name="T13" fmla="*/ 2147483646 h 42"/>
                    <a:gd name="T14" fmla="*/ 2147483646 w 29"/>
                    <a:gd name="T15" fmla="*/ 2147483646 h 42"/>
                    <a:gd name="T16" fmla="*/ 2147483646 w 29"/>
                    <a:gd name="T17" fmla="*/ 2147483646 h 42"/>
                    <a:gd name="T18" fmla="*/ 2147483646 w 29"/>
                    <a:gd name="T19" fmla="*/ 2147483646 h 42"/>
                    <a:gd name="T20" fmla="*/ 2147483646 w 29"/>
                    <a:gd name="T21" fmla="*/ 2147483646 h 42"/>
                    <a:gd name="T22" fmla="*/ 2147483646 w 29"/>
                    <a:gd name="T23" fmla="*/ 2147483646 h 42"/>
                    <a:gd name="T24" fmla="*/ 2147483646 w 29"/>
                    <a:gd name="T25" fmla="*/ 0 h 42"/>
                    <a:gd name="T26" fmla="*/ 2147483646 w 29"/>
                    <a:gd name="T27" fmla="*/ 2147483646 h 42"/>
                    <a:gd name="T28" fmla="*/ 2147483646 w 29"/>
                    <a:gd name="T29" fmla="*/ 2147483646 h 42"/>
                    <a:gd name="T30" fmla="*/ 2147483646 w 29"/>
                    <a:gd name="T31" fmla="*/ 2147483646 h 42"/>
                    <a:gd name="T32" fmla="*/ 0 w 29"/>
                    <a:gd name="T33" fmla="*/ 2147483646 h 42"/>
                    <a:gd name="T34" fmla="*/ 0 w 29"/>
                    <a:gd name="T35" fmla="*/ 2147483646 h 42"/>
                    <a:gd name="T36" fmla="*/ 2147483646 w 29"/>
                    <a:gd name="T37" fmla="*/ 2147483646 h 42"/>
                    <a:gd name="T38" fmla="*/ 2147483646 w 29"/>
                    <a:gd name="T39" fmla="*/ 2147483646 h 42"/>
                    <a:gd name="T40" fmla="*/ 2147483646 w 29"/>
                    <a:gd name="T41" fmla="*/ 2147483646 h 42"/>
                    <a:gd name="T42" fmla="*/ 2147483646 w 29"/>
                    <a:gd name="T43" fmla="*/ 2147483646 h 42"/>
                    <a:gd name="T44" fmla="*/ 2147483646 w 29"/>
                    <a:gd name="T45" fmla="*/ 2147483646 h 42"/>
                    <a:gd name="T46" fmla="*/ 2147483646 w 29"/>
                    <a:gd name="T47" fmla="*/ 2147483646 h 42"/>
                    <a:gd name="T48" fmla="*/ 2147483646 w 29"/>
                    <a:gd name="T49" fmla="*/ 2147483646 h 42"/>
                    <a:gd name="T50" fmla="*/ 2147483646 w 29"/>
                    <a:gd name="T51" fmla="*/ 2147483646 h 42"/>
                    <a:gd name="T52" fmla="*/ 2147483646 w 29"/>
                    <a:gd name="T53" fmla="*/ 2147483646 h 42"/>
                    <a:gd name="T54" fmla="*/ 2147483646 w 29"/>
                    <a:gd name="T55" fmla="*/ 2147483646 h 42"/>
                    <a:gd name="T56" fmla="*/ 2147483646 w 29"/>
                    <a:gd name="T57" fmla="*/ 2147483646 h 42"/>
                    <a:gd name="T58" fmla="*/ 2147483646 w 29"/>
                    <a:gd name="T59" fmla="*/ 2147483646 h 42"/>
                    <a:gd name="T60" fmla="*/ 2147483646 w 29"/>
                    <a:gd name="T61" fmla="*/ 2147483646 h 42"/>
                    <a:gd name="T62" fmla="*/ 2147483646 w 29"/>
                    <a:gd name="T63" fmla="*/ 2147483646 h 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
                    <a:gd name="T97" fmla="*/ 0 h 42"/>
                    <a:gd name="T98" fmla="*/ 29 w 29"/>
                    <a:gd name="T99" fmla="*/ 42 h 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 h="42">
                      <a:moveTo>
                        <a:pt x="27" y="34"/>
                      </a:moveTo>
                      <a:lnTo>
                        <a:pt x="26" y="33"/>
                      </a:lnTo>
                      <a:lnTo>
                        <a:pt x="26" y="32"/>
                      </a:lnTo>
                      <a:lnTo>
                        <a:pt x="26" y="31"/>
                      </a:lnTo>
                      <a:lnTo>
                        <a:pt x="25" y="30"/>
                      </a:lnTo>
                      <a:lnTo>
                        <a:pt x="24" y="19"/>
                      </a:lnTo>
                      <a:lnTo>
                        <a:pt x="24" y="18"/>
                      </a:lnTo>
                      <a:lnTo>
                        <a:pt x="23" y="17"/>
                      </a:lnTo>
                      <a:lnTo>
                        <a:pt x="21" y="16"/>
                      </a:lnTo>
                      <a:lnTo>
                        <a:pt x="19" y="16"/>
                      </a:lnTo>
                      <a:lnTo>
                        <a:pt x="13" y="17"/>
                      </a:lnTo>
                      <a:lnTo>
                        <a:pt x="9" y="17"/>
                      </a:lnTo>
                      <a:lnTo>
                        <a:pt x="9" y="15"/>
                      </a:lnTo>
                      <a:lnTo>
                        <a:pt x="9" y="12"/>
                      </a:lnTo>
                      <a:lnTo>
                        <a:pt x="10" y="10"/>
                      </a:lnTo>
                      <a:lnTo>
                        <a:pt x="13" y="9"/>
                      </a:lnTo>
                      <a:lnTo>
                        <a:pt x="14" y="6"/>
                      </a:lnTo>
                      <a:lnTo>
                        <a:pt x="15" y="5"/>
                      </a:lnTo>
                      <a:lnTo>
                        <a:pt x="15" y="3"/>
                      </a:lnTo>
                      <a:lnTo>
                        <a:pt x="14" y="2"/>
                      </a:lnTo>
                      <a:lnTo>
                        <a:pt x="13" y="1"/>
                      </a:lnTo>
                      <a:lnTo>
                        <a:pt x="11" y="0"/>
                      </a:lnTo>
                      <a:lnTo>
                        <a:pt x="9" y="0"/>
                      </a:lnTo>
                      <a:lnTo>
                        <a:pt x="8" y="1"/>
                      </a:lnTo>
                      <a:lnTo>
                        <a:pt x="7" y="2"/>
                      </a:lnTo>
                      <a:lnTo>
                        <a:pt x="4" y="5"/>
                      </a:lnTo>
                      <a:lnTo>
                        <a:pt x="2" y="9"/>
                      </a:lnTo>
                      <a:lnTo>
                        <a:pt x="1" y="13"/>
                      </a:lnTo>
                      <a:lnTo>
                        <a:pt x="0" y="19"/>
                      </a:lnTo>
                      <a:lnTo>
                        <a:pt x="0" y="20"/>
                      </a:lnTo>
                      <a:lnTo>
                        <a:pt x="0" y="21"/>
                      </a:lnTo>
                      <a:lnTo>
                        <a:pt x="0" y="23"/>
                      </a:lnTo>
                      <a:lnTo>
                        <a:pt x="1" y="24"/>
                      </a:lnTo>
                      <a:lnTo>
                        <a:pt x="4" y="26"/>
                      </a:lnTo>
                      <a:lnTo>
                        <a:pt x="6" y="26"/>
                      </a:lnTo>
                      <a:lnTo>
                        <a:pt x="7" y="26"/>
                      </a:lnTo>
                      <a:lnTo>
                        <a:pt x="10" y="26"/>
                      </a:lnTo>
                      <a:lnTo>
                        <a:pt x="11" y="26"/>
                      </a:lnTo>
                      <a:lnTo>
                        <a:pt x="14" y="25"/>
                      </a:lnTo>
                      <a:lnTo>
                        <a:pt x="15" y="25"/>
                      </a:lnTo>
                      <a:lnTo>
                        <a:pt x="16" y="25"/>
                      </a:lnTo>
                      <a:lnTo>
                        <a:pt x="16" y="28"/>
                      </a:lnTo>
                      <a:lnTo>
                        <a:pt x="16" y="32"/>
                      </a:lnTo>
                      <a:lnTo>
                        <a:pt x="17" y="36"/>
                      </a:lnTo>
                      <a:lnTo>
                        <a:pt x="18" y="40"/>
                      </a:lnTo>
                      <a:lnTo>
                        <a:pt x="19" y="40"/>
                      </a:lnTo>
                      <a:lnTo>
                        <a:pt x="21" y="40"/>
                      </a:lnTo>
                      <a:lnTo>
                        <a:pt x="22" y="41"/>
                      </a:lnTo>
                      <a:lnTo>
                        <a:pt x="24" y="42"/>
                      </a:lnTo>
                      <a:lnTo>
                        <a:pt x="25" y="42"/>
                      </a:lnTo>
                      <a:lnTo>
                        <a:pt x="26" y="41"/>
                      </a:lnTo>
                      <a:lnTo>
                        <a:pt x="27" y="39"/>
                      </a:lnTo>
                      <a:lnTo>
                        <a:pt x="29" y="38"/>
                      </a:lnTo>
                      <a:lnTo>
                        <a:pt x="29" y="35"/>
                      </a:lnTo>
                      <a:lnTo>
                        <a:pt x="27"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66" name="Freeform 445">
                  <a:extLst>
                    <a:ext uri="{FF2B5EF4-FFF2-40B4-BE49-F238E27FC236}">
                      <a16:creationId xmlns:a16="http://schemas.microsoft.com/office/drawing/2014/main" id="{C447FE5D-85E2-44AF-B42D-FAFF7FE4E6DC}"/>
                    </a:ext>
                  </a:extLst>
                </p:cNvPr>
                <p:cNvSpPr>
                  <a:spLocks/>
                </p:cNvSpPr>
                <p:nvPr/>
              </p:nvSpPr>
              <p:spPr bwMode="auto">
                <a:xfrm>
                  <a:off x="3371850" y="4816475"/>
                  <a:ext cx="7938" cy="44450"/>
                </a:xfrm>
                <a:custGeom>
                  <a:avLst/>
                  <a:gdLst>
                    <a:gd name="T0" fmla="*/ 2147483646 w 9"/>
                    <a:gd name="T1" fmla="*/ 0 h 55"/>
                    <a:gd name="T2" fmla="*/ 2147483646 w 9"/>
                    <a:gd name="T3" fmla="*/ 0 h 55"/>
                    <a:gd name="T4" fmla="*/ 2147483646 w 9"/>
                    <a:gd name="T5" fmla="*/ 2147483646 h 55"/>
                    <a:gd name="T6" fmla="*/ 0 w 9"/>
                    <a:gd name="T7" fmla="*/ 2147483646 h 55"/>
                    <a:gd name="T8" fmla="*/ 0 w 9"/>
                    <a:gd name="T9" fmla="*/ 2147483646 h 55"/>
                    <a:gd name="T10" fmla="*/ 0 w 9"/>
                    <a:gd name="T11" fmla="*/ 2147483646 h 55"/>
                    <a:gd name="T12" fmla="*/ 0 w 9"/>
                    <a:gd name="T13" fmla="*/ 2147483646 h 55"/>
                    <a:gd name="T14" fmla="*/ 0 w 9"/>
                    <a:gd name="T15" fmla="*/ 2147483646 h 55"/>
                    <a:gd name="T16" fmla="*/ 0 w 9"/>
                    <a:gd name="T17" fmla="*/ 2147483646 h 55"/>
                    <a:gd name="T18" fmla="*/ 0 w 9"/>
                    <a:gd name="T19" fmla="*/ 2147483646 h 55"/>
                    <a:gd name="T20" fmla="*/ 2147483646 w 9"/>
                    <a:gd name="T21" fmla="*/ 2147483646 h 55"/>
                    <a:gd name="T22" fmla="*/ 2147483646 w 9"/>
                    <a:gd name="T23" fmla="*/ 2147483646 h 55"/>
                    <a:gd name="T24" fmla="*/ 2147483646 w 9"/>
                    <a:gd name="T25" fmla="*/ 2147483646 h 55"/>
                    <a:gd name="T26" fmla="*/ 2147483646 w 9"/>
                    <a:gd name="T27" fmla="*/ 2147483646 h 55"/>
                    <a:gd name="T28" fmla="*/ 2147483646 w 9"/>
                    <a:gd name="T29" fmla="*/ 2147483646 h 55"/>
                    <a:gd name="T30" fmla="*/ 2147483646 w 9"/>
                    <a:gd name="T31" fmla="*/ 2147483646 h 55"/>
                    <a:gd name="T32" fmla="*/ 2147483646 w 9"/>
                    <a:gd name="T33" fmla="*/ 2147483646 h 55"/>
                    <a:gd name="T34" fmla="*/ 2147483646 w 9"/>
                    <a:gd name="T35" fmla="*/ 2147483646 h 55"/>
                    <a:gd name="T36" fmla="*/ 2147483646 w 9"/>
                    <a:gd name="T37" fmla="*/ 2147483646 h 55"/>
                    <a:gd name="T38" fmla="*/ 2147483646 w 9"/>
                    <a:gd name="T39" fmla="*/ 2147483646 h 55"/>
                    <a:gd name="T40" fmla="*/ 2147483646 w 9"/>
                    <a:gd name="T41" fmla="*/ 2147483646 h 55"/>
                    <a:gd name="T42" fmla="*/ 2147483646 w 9"/>
                    <a:gd name="T43" fmla="*/ 2147483646 h 55"/>
                    <a:gd name="T44" fmla="*/ 2147483646 w 9"/>
                    <a:gd name="T45" fmla="*/ 2147483646 h 55"/>
                    <a:gd name="T46" fmla="*/ 2147483646 w 9"/>
                    <a:gd name="T47" fmla="*/ 0 h 55"/>
                    <a:gd name="T48" fmla="*/ 2147483646 w 9"/>
                    <a:gd name="T49" fmla="*/ 0 h 5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
                    <a:gd name="T76" fmla="*/ 0 h 55"/>
                    <a:gd name="T77" fmla="*/ 9 w 9"/>
                    <a:gd name="T78" fmla="*/ 55 h 5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 h="55">
                      <a:moveTo>
                        <a:pt x="4" y="0"/>
                      </a:moveTo>
                      <a:lnTo>
                        <a:pt x="3" y="0"/>
                      </a:lnTo>
                      <a:lnTo>
                        <a:pt x="1" y="1"/>
                      </a:lnTo>
                      <a:lnTo>
                        <a:pt x="0" y="3"/>
                      </a:lnTo>
                      <a:lnTo>
                        <a:pt x="0" y="4"/>
                      </a:lnTo>
                      <a:lnTo>
                        <a:pt x="0" y="16"/>
                      </a:lnTo>
                      <a:lnTo>
                        <a:pt x="0" y="27"/>
                      </a:lnTo>
                      <a:lnTo>
                        <a:pt x="0" y="39"/>
                      </a:lnTo>
                      <a:lnTo>
                        <a:pt x="0" y="50"/>
                      </a:lnTo>
                      <a:lnTo>
                        <a:pt x="0" y="51"/>
                      </a:lnTo>
                      <a:lnTo>
                        <a:pt x="1" y="54"/>
                      </a:lnTo>
                      <a:lnTo>
                        <a:pt x="3" y="55"/>
                      </a:lnTo>
                      <a:lnTo>
                        <a:pt x="4" y="55"/>
                      </a:lnTo>
                      <a:lnTo>
                        <a:pt x="5" y="55"/>
                      </a:lnTo>
                      <a:lnTo>
                        <a:pt x="8" y="54"/>
                      </a:lnTo>
                      <a:lnTo>
                        <a:pt x="9" y="51"/>
                      </a:lnTo>
                      <a:lnTo>
                        <a:pt x="9" y="50"/>
                      </a:lnTo>
                      <a:lnTo>
                        <a:pt x="9" y="39"/>
                      </a:lnTo>
                      <a:lnTo>
                        <a:pt x="9" y="27"/>
                      </a:lnTo>
                      <a:lnTo>
                        <a:pt x="9" y="16"/>
                      </a:lnTo>
                      <a:lnTo>
                        <a:pt x="9" y="4"/>
                      </a:lnTo>
                      <a:lnTo>
                        <a:pt x="9" y="3"/>
                      </a:lnTo>
                      <a:lnTo>
                        <a:pt x="8" y="1"/>
                      </a:lnTo>
                      <a:lnTo>
                        <a:pt x="5"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67" name="Freeform 446">
                  <a:extLst>
                    <a:ext uri="{FF2B5EF4-FFF2-40B4-BE49-F238E27FC236}">
                      <a16:creationId xmlns:a16="http://schemas.microsoft.com/office/drawing/2014/main" id="{09B231C1-9C5D-45AB-8C3C-2F6DCC1D9D25}"/>
                    </a:ext>
                  </a:extLst>
                </p:cNvPr>
                <p:cNvSpPr>
                  <a:spLocks/>
                </p:cNvSpPr>
                <p:nvPr/>
              </p:nvSpPr>
              <p:spPr bwMode="auto">
                <a:xfrm>
                  <a:off x="3341688" y="4752975"/>
                  <a:ext cx="31750" cy="38100"/>
                </a:xfrm>
                <a:custGeom>
                  <a:avLst/>
                  <a:gdLst>
                    <a:gd name="T0" fmla="*/ 2147483646 w 42"/>
                    <a:gd name="T1" fmla="*/ 2147483646 h 48"/>
                    <a:gd name="T2" fmla="*/ 2147483646 w 42"/>
                    <a:gd name="T3" fmla="*/ 2147483646 h 48"/>
                    <a:gd name="T4" fmla="*/ 2147483646 w 42"/>
                    <a:gd name="T5" fmla="*/ 2147483646 h 48"/>
                    <a:gd name="T6" fmla="*/ 2147483646 w 42"/>
                    <a:gd name="T7" fmla="*/ 2147483646 h 48"/>
                    <a:gd name="T8" fmla="*/ 2147483646 w 42"/>
                    <a:gd name="T9" fmla="*/ 2147483646 h 48"/>
                    <a:gd name="T10" fmla="*/ 2147483646 w 42"/>
                    <a:gd name="T11" fmla="*/ 2147483646 h 48"/>
                    <a:gd name="T12" fmla="*/ 2147483646 w 42"/>
                    <a:gd name="T13" fmla="*/ 2147483646 h 48"/>
                    <a:gd name="T14" fmla="*/ 2147483646 w 42"/>
                    <a:gd name="T15" fmla="*/ 2147483646 h 48"/>
                    <a:gd name="T16" fmla="*/ 2147483646 w 42"/>
                    <a:gd name="T17" fmla="*/ 2147483646 h 48"/>
                    <a:gd name="T18" fmla="*/ 2147483646 w 42"/>
                    <a:gd name="T19" fmla="*/ 2147483646 h 48"/>
                    <a:gd name="T20" fmla="*/ 2147483646 w 42"/>
                    <a:gd name="T21" fmla="*/ 2147483646 h 48"/>
                    <a:gd name="T22" fmla="*/ 2147483646 w 42"/>
                    <a:gd name="T23" fmla="*/ 2147483646 h 48"/>
                    <a:gd name="T24" fmla="*/ 2147483646 w 42"/>
                    <a:gd name="T25" fmla="*/ 0 h 48"/>
                    <a:gd name="T26" fmla="*/ 2147483646 w 42"/>
                    <a:gd name="T27" fmla="*/ 0 h 48"/>
                    <a:gd name="T28" fmla="*/ 2147483646 w 42"/>
                    <a:gd name="T29" fmla="*/ 2147483646 h 48"/>
                    <a:gd name="T30" fmla="*/ 2147483646 w 42"/>
                    <a:gd name="T31" fmla="*/ 2147483646 h 48"/>
                    <a:gd name="T32" fmla="*/ 2147483646 w 42"/>
                    <a:gd name="T33" fmla="*/ 2147483646 h 48"/>
                    <a:gd name="T34" fmla="*/ 2147483646 w 42"/>
                    <a:gd name="T35" fmla="*/ 2147483646 h 48"/>
                    <a:gd name="T36" fmla="*/ 2147483646 w 42"/>
                    <a:gd name="T37" fmla="*/ 2147483646 h 48"/>
                    <a:gd name="T38" fmla="*/ 2147483646 w 42"/>
                    <a:gd name="T39" fmla="*/ 2147483646 h 48"/>
                    <a:gd name="T40" fmla="*/ 2147483646 w 42"/>
                    <a:gd name="T41" fmla="*/ 2147483646 h 48"/>
                    <a:gd name="T42" fmla="*/ 2147483646 w 42"/>
                    <a:gd name="T43" fmla="*/ 2147483646 h 48"/>
                    <a:gd name="T44" fmla="*/ 2147483646 w 42"/>
                    <a:gd name="T45" fmla="*/ 2147483646 h 48"/>
                    <a:gd name="T46" fmla="*/ 2147483646 w 42"/>
                    <a:gd name="T47" fmla="*/ 2147483646 h 48"/>
                    <a:gd name="T48" fmla="*/ 2147483646 w 42"/>
                    <a:gd name="T49" fmla="*/ 2147483646 h 48"/>
                    <a:gd name="T50" fmla="*/ 2147483646 w 42"/>
                    <a:gd name="T51" fmla="*/ 2147483646 h 48"/>
                    <a:gd name="T52" fmla="*/ 2147483646 w 42"/>
                    <a:gd name="T53" fmla="*/ 2147483646 h 48"/>
                    <a:gd name="T54" fmla="*/ 2147483646 w 42"/>
                    <a:gd name="T55" fmla="*/ 2147483646 h 48"/>
                    <a:gd name="T56" fmla="*/ 2147483646 w 42"/>
                    <a:gd name="T57" fmla="*/ 2147483646 h 48"/>
                    <a:gd name="T58" fmla="*/ 2147483646 w 42"/>
                    <a:gd name="T59" fmla="*/ 2147483646 h 48"/>
                    <a:gd name="T60" fmla="*/ 2147483646 w 42"/>
                    <a:gd name="T61" fmla="*/ 2147483646 h 48"/>
                    <a:gd name="T62" fmla="*/ 2147483646 w 42"/>
                    <a:gd name="T63" fmla="*/ 2147483646 h 48"/>
                    <a:gd name="T64" fmla="*/ 2147483646 w 42"/>
                    <a:gd name="T65" fmla="*/ 2147483646 h 48"/>
                    <a:gd name="T66" fmla="*/ 2147483646 w 42"/>
                    <a:gd name="T67" fmla="*/ 2147483646 h 48"/>
                    <a:gd name="T68" fmla="*/ 2147483646 w 42"/>
                    <a:gd name="T69" fmla="*/ 2147483646 h 48"/>
                    <a:gd name="T70" fmla="*/ 2147483646 w 42"/>
                    <a:gd name="T71" fmla="*/ 2147483646 h 48"/>
                    <a:gd name="T72" fmla="*/ 2147483646 w 42"/>
                    <a:gd name="T73" fmla="*/ 2147483646 h 48"/>
                    <a:gd name="T74" fmla="*/ 2147483646 w 42"/>
                    <a:gd name="T75" fmla="*/ 2147483646 h 48"/>
                    <a:gd name="T76" fmla="*/ 2147483646 w 42"/>
                    <a:gd name="T77" fmla="*/ 2147483646 h 48"/>
                    <a:gd name="T78" fmla="*/ 2147483646 w 42"/>
                    <a:gd name="T79" fmla="*/ 2147483646 h 48"/>
                    <a:gd name="T80" fmla="*/ 0 w 42"/>
                    <a:gd name="T81" fmla="*/ 2147483646 h 48"/>
                    <a:gd name="T82" fmla="*/ 0 w 42"/>
                    <a:gd name="T83" fmla="*/ 2147483646 h 48"/>
                    <a:gd name="T84" fmla="*/ 0 w 42"/>
                    <a:gd name="T85" fmla="*/ 2147483646 h 48"/>
                    <a:gd name="T86" fmla="*/ 0 w 42"/>
                    <a:gd name="T87" fmla="*/ 2147483646 h 48"/>
                    <a:gd name="T88" fmla="*/ 0 w 42"/>
                    <a:gd name="T89" fmla="*/ 2147483646 h 48"/>
                    <a:gd name="T90" fmla="*/ 0 w 42"/>
                    <a:gd name="T91" fmla="*/ 2147483646 h 48"/>
                    <a:gd name="T92" fmla="*/ 2147483646 w 42"/>
                    <a:gd name="T93" fmla="*/ 2147483646 h 48"/>
                    <a:gd name="T94" fmla="*/ 2147483646 w 42"/>
                    <a:gd name="T95" fmla="*/ 2147483646 h 48"/>
                    <a:gd name="T96" fmla="*/ 2147483646 w 42"/>
                    <a:gd name="T97" fmla="*/ 2147483646 h 48"/>
                    <a:gd name="T98" fmla="*/ 2147483646 w 42"/>
                    <a:gd name="T99" fmla="*/ 2147483646 h 48"/>
                    <a:gd name="T100" fmla="*/ 2147483646 w 42"/>
                    <a:gd name="T101" fmla="*/ 2147483646 h 48"/>
                    <a:gd name="T102" fmla="*/ 2147483646 w 42"/>
                    <a:gd name="T103" fmla="*/ 2147483646 h 48"/>
                    <a:gd name="T104" fmla="*/ 2147483646 w 42"/>
                    <a:gd name="T105" fmla="*/ 2147483646 h 48"/>
                    <a:gd name="T106" fmla="*/ 2147483646 w 42"/>
                    <a:gd name="T107" fmla="*/ 2147483646 h 48"/>
                    <a:gd name="T108" fmla="*/ 2147483646 w 42"/>
                    <a:gd name="T109" fmla="*/ 2147483646 h 48"/>
                    <a:gd name="T110" fmla="*/ 2147483646 w 42"/>
                    <a:gd name="T111" fmla="*/ 2147483646 h 48"/>
                    <a:gd name="T112" fmla="*/ 2147483646 w 42"/>
                    <a:gd name="T113" fmla="*/ 2147483646 h 48"/>
                    <a:gd name="T114" fmla="*/ 2147483646 w 42"/>
                    <a:gd name="T115" fmla="*/ 2147483646 h 48"/>
                    <a:gd name="T116" fmla="*/ 2147483646 w 42"/>
                    <a:gd name="T117" fmla="*/ 2147483646 h 48"/>
                    <a:gd name="T118" fmla="*/ 2147483646 w 42"/>
                    <a:gd name="T119" fmla="*/ 2147483646 h 48"/>
                    <a:gd name="T120" fmla="*/ 2147483646 w 42"/>
                    <a:gd name="T121" fmla="*/ 2147483646 h 48"/>
                    <a:gd name="T122" fmla="*/ 2147483646 w 42"/>
                    <a:gd name="T123" fmla="*/ 2147483646 h 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2"/>
                    <a:gd name="T187" fmla="*/ 0 h 48"/>
                    <a:gd name="T188" fmla="*/ 42 w 42"/>
                    <a:gd name="T189" fmla="*/ 48 h 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2" h="48">
                      <a:moveTo>
                        <a:pt x="36" y="33"/>
                      </a:moveTo>
                      <a:lnTo>
                        <a:pt x="30" y="34"/>
                      </a:lnTo>
                      <a:lnTo>
                        <a:pt x="25" y="36"/>
                      </a:lnTo>
                      <a:lnTo>
                        <a:pt x="19" y="37"/>
                      </a:lnTo>
                      <a:lnTo>
                        <a:pt x="13" y="38"/>
                      </a:lnTo>
                      <a:lnTo>
                        <a:pt x="17" y="32"/>
                      </a:lnTo>
                      <a:lnTo>
                        <a:pt x="20" y="25"/>
                      </a:lnTo>
                      <a:lnTo>
                        <a:pt x="23" y="19"/>
                      </a:lnTo>
                      <a:lnTo>
                        <a:pt x="27" y="13"/>
                      </a:lnTo>
                      <a:lnTo>
                        <a:pt x="25" y="2"/>
                      </a:lnTo>
                      <a:lnTo>
                        <a:pt x="25" y="1"/>
                      </a:lnTo>
                      <a:lnTo>
                        <a:pt x="23" y="1"/>
                      </a:lnTo>
                      <a:lnTo>
                        <a:pt x="22" y="0"/>
                      </a:lnTo>
                      <a:lnTo>
                        <a:pt x="21" y="0"/>
                      </a:lnTo>
                      <a:lnTo>
                        <a:pt x="18" y="1"/>
                      </a:lnTo>
                      <a:lnTo>
                        <a:pt x="19" y="1"/>
                      </a:lnTo>
                      <a:lnTo>
                        <a:pt x="20" y="1"/>
                      </a:lnTo>
                      <a:lnTo>
                        <a:pt x="18" y="1"/>
                      </a:lnTo>
                      <a:lnTo>
                        <a:pt x="15" y="1"/>
                      </a:lnTo>
                      <a:lnTo>
                        <a:pt x="13" y="1"/>
                      </a:lnTo>
                      <a:lnTo>
                        <a:pt x="11" y="1"/>
                      </a:lnTo>
                      <a:lnTo>
                        <a:pt x="8" y="2"/>
                      </a:lnTo>
                      <a:lnTo>
                        <a:pt x="7" y="3"/>
                      </a:lnTo>
                      <a:lnTo>
                        <a:pt x="6" y="6"/>
                      </a:lnTo>
                      <a:lnTo>
                        <a:pt x="6" y="7"/>
                      </a:lnTo>
                      <a:lnTo>
                        <a:pt x="6" y="8"/>
                      </a:lnTo>
                      <a:lnTo>
                        <a:pt x="7" y="9"/>
                      </a:lnTo>
                      <a:lnTo>
                        <a:pt x="10" y="10"/>
                      </a:lnTo>
                      <a:lnTo>
                        <a:pt x="11" y="10"/>
                      </a:lnTo>
                      <a:lnTo>
                        <a:pt x="12" y="10"/>
                      </a:lnTo>
                      <a:lnTo>
                        <a:pt x="14" y="10"/>
                      </a:lnTo>
                      <a:lnTo>
                        <a:pt x="15" y="10"/>
                      </a:lnTo>
                      <a:lnTo>
                        <a:pt x="17" y="10"/>
                      </a:lnTo>
                      <a:lnTo>
                        <a:pt x="18" y="9"/>
                      </a:lnTo>
                      <a:lnTo>
                        <a:pt x="15" y="16"/>
                      </a:lnTo>
                      <a:lnTo>
                        <a:pt x="12" y="23"/>
                      </a:lnTo>
                      <a:lnTo>
                        <a:pt x="7" y="30"/>
                      </a:lnTo>
                      <a:lnTo>
                        <a:pt x="4" y="36"/>
                      </a:lnTo>
                      <a:lnTo>
                        <a:pt x="0" y="42"/>
                      </a:lnTo>
                      <a:lnTo>
                        <a:pt x="0" y="44"/>
                      </a:lnTo>
                      <a:lnTo>
                        <a:pt x="0" y="46"/>
                      </a:lnTo>
                      <a:lnTo>
                        <a:pt x="2" y="47"/>
                      </a:lnTo>
                      <a:lnTo>
                        <a:pt x="4" y="48"/>
                      </a:lnTo>
                      <a:lnTo>
                        <a:pt x="5" y="48"/>
                      </a:lnTo>
                      <a:lnTo>
                        <a:pt x="10" y="48"/>
                      </a:lnTo>
                      <a:lnTo>
                        <a:pt x="17" y="46"/>
                      </a:lnTo>
                      <a:lnTo>
                        <a:pt x="23" y="44"/>
                      </a:lnTo>
                      <a:lnTo>
                        <a:pt x="30" y="42"/>
                      </a:lnTo>
                      <a:lnTo>
                        <a:pt x="37" y="42"/>
                      </a:lnTo>
                      <a:lnTo>
                        <a:pt x="38" y="42"/>
                      </a:lnTo>
                      <a:lnTo>
                        <a:pt x="41" y="41"/>
                      </a:lnTo>
                      <a:lnTo>
                        <a:pt x="42" y="39"/>
                      </a:lnTo>
                      <a:lnTo>
                        <a:pt x="42" y="38"/>
                      </a:lnTo>
                      <a:lnTo>
                        <a:pt x="41" y="37"/>
                      </a:lnTo>
                      <a:lnTo>
                        <a:pt x="40" y="34"/>
                      </a:lnTo>
                      <a:lnTo>
                        <a:pt x="38" y="33"/>
                      </a:lnTo>
                      <a:lnTo>
                        <a:pt x="36"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68" name="Freeform 447">
                  <a:extLst>
                    <a:ext uri="{FF2B5EF4-FFF2-40B4-BE49-F238E27FC236}">
                      <a16:creationId xmlns:a16="http://schemas.microsoft.com/office/drawing/2014/main" id="{1C498676-BE7D-425F-A6DA-17C5DE1B5E46}"/>
                    </a:ext>
                  </a:extLst>
                </p:cNvPr>
                <p:cNvSpPr>
                  <a:spLocks/>
                </p:cNvSpPr>
                <p:nvPr/>
              </p:nvSpPr>
              <p:spPr bwMode="auto">
                <a:xfrm>
                  <a:off x="3354388" y="4757738"/>
                  <a:ext cx="1588" cy="1587"/>
                </a:xfrm>
                <a:custGeom>
                  <a:avLst/>
                  <a:gdLst>
                    <a:gd name="T0" fmla="*/ 0 w 1"/>
                    <a:gd name="T1" fmla="*/ 0 h 1"/>
                    <a:gd name="T2" fmla="*/ 2147483646 w 1"/>
                    <a:gd name="T3" fmla="*/ 2147483646 h 1"/>
                    <a:gd name="T4" fmla="*/ 2147483646 w 1"/>
                    <a:gd name="T5" fmla="*/ 2147483646 h 1"/>
                    <a:gd name="T6" fmla="*/ 2147483646 w 1"/>
                    <a:gd name="T7" fmla="*/ 2147483646 h 1"/>
                    <a:gd name="T8" fmla="*/ 2147483646 w 1"/>
                    <a:gd name="T9" fmla="*/ 2147483646 h 1"/>
                    <a:gd name="T10" fmla="*/ 2147483646 w 1"/>
                    <a:gd name="T11" fmla="*/ 2147483646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1" y="1"/>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69" name="Freeform 448">
                  <a:extLst>
                    <a:ext uri="{FF2B5EF4-FFF2-40B4-BE49-F238E27FC236}">
                      <a16:creationId xmlns:a16="http://schemas.microsoft.com/office/drawing/2014/main" id="{689E5B89-A20E-4704-83A2-38D62B62D478}"/>
                    </a:ext>
                  </a:extLst>
                </p:cNvPr>
                <p:cNvSpPr>
                  <a:spLocks/>
                </p:cNvSpPr>
                <p:nvPr/>
              </p:nvSpPr>
              <p:spPr bwMode="auto">
                <a:xfrm>
                  <a:off x="3343275" y="4692650"/>
                  <a:ext cx="17463" cy="34925"/>
                </a:xfrm>
                <a:custGeom>
                  <a:avLst/>
                  <a:gdLst>
                    <a:gd name="T0" fmla="*/ 2147483646 w 21"/>
                    <a:gd name="T1" fmla="*/ 2147483646 h 43"/>
                    <a:gd name="T2" fmla="*/ 2147483646 w 21"/>
                    <a:gd name="T3" fmla="*/ 2147483646 h 43"/>
                    <a:gd name="T4" fmla="*/ 2147483646 w 21"/>
                    <a:gd name="T5" fmla="*/ 2147483646 h 43"/>
                    <a:gd name="T6" fmla="*/ 2147483646 w 21"/>
                    <a:gd name="T7" fmla="*/ 2147483646 h 43"/>
                    <a:gd name="T8" fmla="*/ 2147483646 w 21"/>
                    <a:gd name="T9" fmla="*/ 2147483646 h 43"/>
                    <a:gd name="T10" fmla="*/ 2147483646 w 21"/>
                    <a:gd name="T11" fmla="*/ 2147483646 h 43"/>
                    <a:gd name="T12" fmla="*/ 2147483646 w 21"/>
                    <a:gd name="T13" fmla="*/ 2147483646 h 43"/>
                    <a:gd name="T14" fmla="*/ 2147483646 w 21"/>
                    <a:gd name="T15" fmla="*/ 2147483646 h 43"/>
                    <a:gd name="T16" fmla="*/ 2147483646 w 21"/>
                    <a:gd name="T17" fmla="*/ 2147483646 h 43"/>
                    <a:gd name="T18" fmla="*/ 2147483646 w 21"/>
                    <a:gd name="T19" fmla="*/ 2147483646 h 43"/>
                    <a:gd name="T20" fmla="*/ 2147483646 w 21"/>
                    <a:gd name="T21" fmla="*/ 2147483646 h 43"/>
                    <a:gd name="T22" fmla="*/ 2147483646 w 21"/>
                    <a:gd name="T23" fmla="*/ 2147483646 h 43"/>
                    <a:gd name="T24" fmla="*/ 2147483646 w 21"/>
                    <a:gd name="T25" fmla="*/ 2147483646 h 43"/>
                    <a:gd name="T26" fmla="*/ 2147483646 w 21"/>
                    <a:gd name="T27" fmla="*/ 0 h 43"/>
                    <a:gd name="T28" fmla="*/ 2147483646 w 21"/>
                    <a:gd name="T29" fmla="*/ 0 h 43"/>
                    <a:gd name="T30" fmla="*/ 2147483646 w 21"/>
                    <a:gd name="T31" fmla="*/ 0 h 43"/>
                    <a:gd name="T32" fmla="*/ 2147483646 w 21"/>
                    <a:gd name="T33" fmla="*/ 2147483646 h 43"/>
                    <a:gd name="T34" fmla="*/ 2147483646 w 21"/>
                    <a:gd name="T35" fmla="*/ 2147483646 h 43"/>
                    <a:gd name="T36" fmla="*/ 2147483646 w 21"/>
                    <a:gd name="T37" fmla="*/ 2147483646 h 43"/>
                    <a:gd name="T38" fmla="*/ 2147483646 w 21"/>
                    <a:gd name="T39" fmla="*/ 2147483646 h 43"/>
                    <a:gd name="T40" fmla="*/ 2147483646 w 21"/>
                    <a:gd name="T41" fmla="*/ 2147483646 h 43"/>
                    <a:gd name="T42" fmla="*/ 2147483646 w 21"/>
                    <a:gd name="T43" fmla="*/ 2147483646 h 43"/>
                    <a:gd name="T44" fmla="*/ 0 w 21"/>
                    <a:gd name="T45" fmla="*/ 2147483646 h 43"/>
                    <a:gd name="T46" fmla="*/ 0 w 21"/>
                    <a:gd name="T47" fmla="*/ 2147483646 h 43"/>
                    <a:gd name="T48" fmla="*/ 0 w 21"/>
                    <a:gd name="T49" fmla="*/ 2147483646 h 43"/>
                    <a:gd name="T50" fmla="*/ 0 w 21"/>
                    <a:gd name="T51" fmla="*/ 2147483646 h 43"/>
                    <a:gd name="T52" fmla="*/ 0 w 21"/>
                    <a:gd name="T53" fmla="*/ 2147483646 h 43"/>
                    <a:gd name="T54" fmla="*/ 0 w 21"/>
                    <a:gd name="T55" fmla="*/ 2147483646 h 43"/>
                    <a:gd name="T56" fmla="*/ 2147483646 w 21"/>
                    <a:gd name="T57" fmla="*/ 2147483646 h 43"/>
                    <a:gd name="T58" fmla="*/ 2147483646 w 21"/>
                    <a:gd name="T59" fmla="*/ 2147483646 h 43"/>
                    <a:gd name="T60" fmla="*/ 2147483646 w 21"/>
                    <a:gd name="T61" fmla="*/ 2147483646 h 43"/>
                    <a:gd name="T62" fmla="*/ 2147483646 w 21"/>
                    <a:gd name="T63" fmla="*/ 2147483646 h 43"/>
                    <a:gd name="T64" fmla="*/ 2147483646 w 21"/>
                    <a:gd name="T65" fmla="*/ 2147483646 h 43"/>
                    <a:gd name="T66" fmla="*/ 2147483646 w 21"/>
                    <a:gd name="T67" fmla="*/ 2147483646 h 43"/>
                    <a:gd name="T68" fmla="*/ 2147483646 w 21"/>
                    <a:gd name="T69" fmla="*/ 2147483646 h 43"/>
                    <a:gd name="T70" fmla="*/ 2147483646 w 21"/>
                    <a:gd name="T71" fmla="*/ 2147483646 h 43"/>
                    <a:gd name="T72" fmla="*/ 2147483646 w 21"/>
                    <a:gd name="T73" fmla="*/ 2147483646 h 43"/>
                    <a:gd name="T74" fmla="*/ 2147483646 w 21"/>
                    <a:gd name="T75" fmla="*/ 2147483646 h 43"/>
                    <a:gd name="T76" fmla="*/ 2147483646 w 21"/>
                    <a:gd name="T77" fmla="*/ 2147483646 h 43"/>
                    <a:gd name="T78" fmla="*/ 2147483646 w 21"/>
                    <a:gd name="T79" fmla="*/ 2147483646 h 43"/>
                    <a:gd name="T80" fmla="*/ 2147483646 w 21"/>
                    <a:gd name="T81" fmla="*/ 2147483646 h 43"/>
                    <a:gd name="T82" fmla="*/ 2147483646 w 21"/>
                    <a:gd name="T83" fmla="*/ 2147483646 h 43"/>
                    <a:gd name="T84" fmla="*/ 2147483646 w 21"/>
                    <a:gd name="T85" fmla="*/ 2147483646 h 43"/>
                    <a:gd name="T86" fmla="*/ 2147483646 w 21"/>
                    <a:gd name="T87" fmla="*/ 2147483646 h 43"/>
                    <a:gd name="T88" fmla="*/ 2147483646 w 21"/>
                    <a:gd name="T89" fmla="*/ 2147483646 h 43"/>
                    <a:gd name="T90" fmla="*/ 2147483646 w 21"/>
                    <a:gd name="T91" fmla="*/ 2147483646 h 43"/>
                    <a:gd name="T92" fmla="*/ 2147483646 w 21"/>
                    <a:gd name="T93" fmla="*/ 2147483646 h 43"/>
                    <a:gd name="T94" fmla="*/ 2147483646 w 21"/>
                    <a:gd name="T95" fmla="*/ 2147483646 h 43"/>
                    <a:gd name="T96" fmla="*/ 2147483646 w 21"/>
                    <a:gd name="T97" fmla="*/ 2147483646 h 43"/>
                    <a:gd name="T98" fmla="*/ 2147483646 w 21"/>
                    <a:gd name="T99" fmla="*/ 2147483646 h 4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
                    <a:gd name="T151" fmla="*/ 0 h 43"/>
                    <a:gd name="T152" fmla="*/ 21 w 21"/>
                    <a:gd name="T153" fmla="*/ 43 h 4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 h="43">
                      <a:moveTo>
                        <a:pt x="17" y="35"/>
                      </a:moveTo>
                      <a:lnTo>
                        <a:pt x="16" y="35"/>
                      </a:lnTo>
                      <a:lnTo>
                        <a:pt x="15" y="33"/>
                      </a:lnTo>
                      <a:lnTo>
                        <a:pt x="14" y="33"/>
                      </a:lnTo>
                      <a:lnTo>
                        <a:pt x="13" y="33"/>
                      </a:lnTo>
                      <a:lnTo>
                        <a:pt x="9" y="33"/>
                      </a:lnTo>
                      <a:lnTo>
                        <a:pt x="9" y="28"/>
                      </a:lnTo>
                      <a:lnTo>
                        <a:pt x="10" y="22"/>
                      </a:lnTo>
                      <a:lnTo>
                        <a:pt x="11" y="16"/>
                      </a:lnTo>
                      <a:lnTo>
                        <a:pt x="13" y="10"/>
                      </a:lnTo>
                      <a:lnTo>
                        <a:pt x="13" y="5"/>
                      </a:lnTo>
                      <a:lnTo>
                        <a:pt x="13" y="3"/>
                      </a:lnTo>
                      <a:lnTo>
                        <a:pt x="11" y="1"/>
                      </a:lnTo>
                      <a:lnTo>
                        <a:pt x="9" y="0"/>
                      </a:lnTo>
                      <a:lnTo>
                        <a:pt x="8" y="0"/>
                      </a:lnTo>
                      <a:lnTo>
                        <a:pt x="7" y="0"/>
                      </a:lnTo>
                      <a:lnTo>
                        <a:pt x="4" y="1"/>
                      </a:lnTo>
                      <a:lnTo>
                        <a:pt x="3" y="2"/>
                      </a:lnTo>
                      <a:lnTo>
                        <a:pt x="3" y="5"/>
                      </a:lnTo>
                      <a:lnTo>
                        <a:pt x="3" y="11"/>
                      </a:lnTo>
                      <a:lnTo>
                        <a:pt x="2" y="18"/>
                      </a:lnTo>
                      <a:lnTo>
                        <a:pt x="1" y="25"/>
                      </a:lnTo>
                      <a:lnTo>
                        <a:pt x="0" y="32"/>
                      </a:lnTo>
                      <a:lnTo>
                        <a:pt x="0" y="33"/>
                      </a:lnTo>
                      <a:lnTo>
                        <a:pt x="0" y="35"/>
                      </a:lnTo>
                      <a:lnTo>
                        <a:pt x="0" y="36"/>
                      </a:lnTo>
                      <a:lnTo>
                        <a:pt x="0" y="37"/>
                      </a:lnTo>
                      <a:lnTo>
                        <a:pt x="2" y="40"/>
                      </a:lnTo>
                      <a:lnTo>
                        <a:pt x="3" y="41"/>
                      </a:lnTo>
                      <a:lnTo>
                        <a:pt x="4" y="41"/>
                      </a:lnTo>
                      <a:lnTo>
                        <a:pt x="6" y="43"/>
                      </a:lnTo>
                      <a:lnTo>
                        <a:pt x="7" y="43"/>
                      </a:lnTo>
                      <a:lnTo>
                        <a:pt x="9" y="43"/>
                      </a:lnTo>
                      <a:lnTo>
                        <a:pt x="11" y="43"/>
                      </a:lnTo>
                      <a:lnTo>
                        <a:pt x="13" y="41"/>
                      </a:lnTo>
                      <a:lnTo>
                        <a:pt x="15" y="41"/>
                      </a:lnTo>
                      <a:lnTo>
                        <a:pt x="17" y="40"/>
                      </a:lnTo>
                      <a:lnTo>
                        <a:pt x="16" y="41"/>
                      </a:lnTo>
                      <a:lnTo>
                        <a:pt x="16" y="43"/>
                      </a:lnTo>
                      <a:lnTo>
                        <a:pt x="17" y="43"/>
                      </a:lnTo>
                      <a:lnTo>
                        <a:pt x="19" y="43"/>
                      </a:lnTo>
                      <a:lnTo>
                        <a:pt x="21" y="41"/>
                      </a:lnTo>
                      <a:lnTo>
                        <a:pt x="21" y="39"/>
                      </a:lnTo>
                      <a:lnTo>
                        <a:pt x="21" y="38"/>
                      </a:lnTo>
                      <a:lnTo>
                        <a:pt x="21" y="36"/>
                      </a:lnTo>
                      <a:lnTo>
                        <a:pt x="18" y="35"/>
                      </a:lnTo>
                      <a:lnTo>
                        <a:pt x="17"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70" name="Freeform 449">
                  <a:extLst>
                    <a:ext uri="{FF2B5EF4-FFF2-40B4-BE49-F238E27FC236}">
                      <a16:creationId xmlns:a16="http://schemas.microsoft.com/office/drawing/2014/main" id="{7A7D7E1A-C69E-4B4F-8D6F-8805BFCECFB9}"/>
                    </a:ext>
                  </a:extLst>
                </p:cNvPr>
                <p:cNvSpPr>
                  <a:spLocks/>
                </p:cNvSpPr>
                <p:nvPr/>
              </p:nvSpPr>
              <p:spPr bwMode="auto">
                <a:xfrm>
                  <a:off x="3378200" y="4699000"/>
                  <a:ext cx="22225" cy="7937"/>
                </a:xfrm>
                <a:custGeom>
                  <a:avLst/>
                  <a:gdLst>
                    <a:gd name="T0" fmla="*/ 2147483646 w 26"/>
                    <a:gd name="T1" fmla="*/ 0 h 10"/>
                    <a:gd name="T2" fmla="*/ 2147483646 w 26"/>
                    <a:gd name="T3" fmla="*/ 0 h 10"/>
                    <a:gd name="T4" fmla="*/ 2147483646 w 26"/>
                    <a:gd name="T5" fmla="*/ 2147483646 h 10"/>
                    <a:gd name="T6" fmla="*/ 2147483646 w 26"/>
                    <a:gd name="T7" fmla="*/ 2147483646 h 10"/>
                    <a:gd name="T8" fmla="*/ 2147483646 w 26"/>
                    <a:gd name="T9" fmla="*/ 2147483646 h 10"/>
                    <a:gd name="T10" fmla="*/ 2147483646 w 26"/>
                    <a:gd name="T11" fmla="*/ 2147483646 h 10"/>
                    <a:gd name="T12" fmla="*/ 2147483646 w 26"/>
                    <a:gd name="T13" fmla="*/ 2147483646 h 10"/>
                    <a:gd name="T14" fmla="*/ 0 w 26"/>
                    <a:gd name="T15" fmla="*/ 2147483646 h 10"/>
                    <a:gd name="T16" fmla="*/ 0 w 26"/>
                    <a:gd name="T17" fmla="*/ 2147483646 h 10"/>
                    <a:gd name="T18" fmla="*/ 0 w 26"/>
                    <a:gd name="T19" fmla="*/ 2147483646 h 10"/>
                    <a:gd name="T20" fmla="*/ 2147483646 w 26"/>
                    <a:gd name="T21" fmla="*/ 2147483646 h 10"/>
                    <a:gd name="T22" fmla="*/ 2147483646 w 26"/>
                    <a:gd name="T23" fmla="*/ 2147483646 h 10"/>
                    <a:gd name="T24" fmla="*/ 2147483646 w 26"/>
                    <a:gd name="T25" fmla="*/ 2147483646 h 10"/>
                    <a:gd name="T26" fmla="*/ 2147483646 w 26"/>
                    <a:gd name="T27" fmla="*/ 2147483646 h 10"/>
                    <a:gd name="T28" fmla="*/ 2147483646 w 26"/>
                    <a:gd name="T29" fmla="*/ 2147483646 h 10"/>
                    <a:gd name="T30" fmla="*/ 2147483646 w 26"/>
                    <a:gd name="T31" fmla="*/ 2147483646 h 10"/>
                    <a:gd name="T32" fmla="*/ 2147483646 w 26"/>
                    <a:gd name="T33" fmla="*/ 2147483646 h 10"/>
                    <a:gd name="T34" fmla="*/ 2147483646 w 26"/>
                    <a:gd name="T35" fmla="*/ 2147483646 h 10"/>
                    <a:gd name="T36" fmla="*/ 2147483646 w 26"/>
                    <a:gd name="T37" fmla="*/ 2147483646 h 10"/>
                    <a:gd name="T38" fmla="*/ 2147483646 w 26"/>
                    <a:gd name="T39" fmla="*/ 2147483646 h 10"/>
                    <a:gd name="T40" fmla="*/ 2147483646 w 26"/>
                    <a:gd name="T41" fmla="*/ 2147483646 h 10"/>
                    <a:gd name="T42" fmla="*/ 2147483646 w 26"/>
                    <a:gd name="T43" fmla="*/ 2147483646 h 10"/>
                    <a:gd name="T44" fmla="*/ 2147483646 w 26"/>
                    <a:gd name="T45" fmla="*/ 2147483646 h 10"/>
                    <a:gd name="T46" fmla="*/ 2147483646 w 26"/>
                    <a:gd name="T47" fmla="*/ 0 h 10"/>
                    <a:gd name="T48" fmla="*/ 2147483646 w 26"/>
                    <a:gd name="T49" fmla="*/ 0 h 1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10"/>
                    <a:gd name="T77" fmla="*/ 26 w 26"/>
                    <a:gd name="T78" fmla="*/ 10 h 1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10">
                      <a:moveTo>
                        <a:pt x="21" y="0"/>
                      </a:moveTo>
                      <a:lnTo>
                        <a:pt x="17" y="0"/>
                      </a:lnTo>
                      <a:lnTo>
                        <a:pt x="12" y="1"/>
                      </a:lnTo>
                      <a:lnTo>
                        <a:pt x="8" y="2"/>
                      </a:lnTo>
                      <a:lnTo>
                        <a:pt x="3" y="2"/>
                      </a:lnTo>
                      <a:lnTo>
                        <a:pt x="2" y="2"/>
                      </a:lnTo>
                      <a:lnTo>
                        <a:pt x="1" y="3"/>
                      </a:lnTo>
                      <a:lnTo>
                        <a:pt x="0" y="6"/>
                      </a:lnTo>
                      <a:lnTo>
                        <a:pt x="0" y="7"/>
                      </a:lnTo>
                      <a:lnTo>
                        <a:pt x="0" y="8"/>
                      </a:lnTo>
                      <a:lnTo>
                        <a:pt x="1" y="10"/>
                      </a:lnTo>
                      <a:lnTo>
                        <a:pt x="3" y="10"/>
                      </a:lnTo>
                      <a:lnTo>
                        <a:pt x="4" y="10"/>
                      </a:lnTo>
                      <a:lnTo>
                        <a:pt x="9" y="10"/>
                      </a:lnTo>
                      <a:lnTo>
                        <a:pt x="13" y="9"/>
                      </a:lnTo>
                      <a:lnTo>
                        <a:pt x="18" y="9"/>
                      </a:lnTo>
                      <a:lnTo>
                        <a:pt x="23" y="8"/>
                      </a:lnTo>
                      <a:lnTo>
                        <a:pt x="24" y="8"/>
                      </a:lnTo>
                      <a:lnTo>
                        <a:pt x="26" y="7"/>
                      </a:lnTo>
                      <a:lnTo>
                        <a:pt x="26" y="4"/>
                      </a:lnTo>
                      <a:lnTo>
                        <a:pt x="26" y="3"/>
                      </a:lnTo>
                      <a:lnTo>
                        <a:pt x="26" y="2"/>
                      </a:lnTo>
                      <a:lnTo>
                        <a:pt x="25" y="1"/>
                      </a:lnTo>
                      <a:lnTo>
                        <a:pt x="23" y="0"/>
                      </a:lnTo>
                      <a:lnTo>
                        <a:pt x="2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71" name="Freeform 450">
                  <a:extLst>
                    <a:ext uri="{FF2B5EF4-FFF2-40B4-BE49-F238E27FC236}">
                      <a16:creationId xmlns:a16="http://schemas.microsoft.com/office/drawing/2014/main" id="{DAF62940-64A7-4678-9C3C-631ABAD6C993}"/>
                    </a:ext>
                  </a:extLst>
                </p:cNvPr>
                <p:cNvSpPr>
                  <a:spLocks/>
                </p:cNvSpPr>
                <p:nvPr/>
              </p:nvSpPr>
              <p:spPr bwMode="auto">
                <a:xfrm>
                  <a:off x="3376613" y="4713288"/>
                  <a:ext cx="22225" cy="7937"/>
                </a:xfrm>
                <a:custGeom>
                  <a:avLst/>
                  <a:gdLst>
                    <a:gd name="T0" fmla="*/ 2147483646 w 29"/>
                    <a:gd name="T1" fmla="*/ 0 h 12"/>
                    <a:gd name="T2" fmla="*/ 2147483646 w 29"/>
                    <a:gd name="T3" fmla="*/ 0 h 12"/>
                    <a:gd name="T4" fmla="*/ 2147483646 w 29"/>
                    <a:gd name="T5" fmla="*/ 2147483646 h 12"/>
                    <a:gd name="T6" fmla="*/ 2147483646 w 29"/>
                    <a:gd name="T7" fmla="*/ 2147483646 h 12"/>
                    <a:gd name="T8" fmla="*/ 2147483646 w 29"/>
                    <a:gd name="T9" fmla="*/ 2147483646 h 12"/>
                    <a:gd name="T10" fmla="*/ 2147483646 w 29"/>
                    <a:gd name="T11" fmla="*/ 2147483646 h 12"/>
                    <a:gd name="T12" fmla="*/ 2147483646 w 29"/>
                    <a:gd name="T13" fmla="*/ 2147483646 h 12"/>
                    <a:gd name="T14" fmla="*/ 0 w 29"/>
                    <a:gd name="T15" fmla="*/ 2147483646 h 12"/>
                    <a:gd name="T16" fmla="*/ 0 w 29"/>
                    <a:gd name="T17" fmla="*/ 2147483646 h 12"/>
                    <a:gd name="T18" fmla="*/ 2147483646 w 29"/>
                    <a:gd name="T19" fmla="*/ 2147483646 h 12"/>
                    <a:gd name="T20" fmla="*/ 2147483646 w 29"/>
                    <a:gd name="T21" fmla="*/ 2147483646 h 12"/>
                    <a:gd name="T22" fmla="*/ 2147483646 w 29"/>
                    <a:gd name="T23" fmla="*/ 2147483646 h 12"/>
                    <a:gd name="T24" fmla="*/ 2147483646 w 29"/>
                    <a:gd name="T25" fmla="*/ 2147483646 h 12"/>
                    <a:gd name="T26" fmla="*/ 2147483646 w 29"/>
                    <a:gd name="T27" fmla="*/ 2147483646 h 12"/>
                    <a:gd name="T28" fmla="*/ 2147483646 w 29"/>
                    <a:gd name="T29" fmla="*/ 2147483646 h 12"/>
                    <a:gd name="T30" fmla="*/ 2147483646 w 29"/>
                    <a:gd name="T31" fmla="*/ 2147483646 h 12"/>
                    <a:gd name="T32" fmla="*/ 2147483646 w 29"/>
                    <a:gd name="T33" fmla="*/ 2147483646 h 12"/>
                    <a:gd name="T34" fmla="*/ 2147483646 w 29"/>
                    <a:gd name="T35" fmla="*/ 2147483646 h 12"/>
                    <a:gd name="T36" fmla="*/ 2147483646 w 29"/>
                    <a:gd name="T37" fmla="*/ 2147483646 h 12"/>
                    <a:gd name="T38" fmla="*/ 2147483646 w 29"/>
                    <a:gd name="T39" fmla="*/ 2147483646 h 12"/>
                    <a:gd name="T40" fmla="*/ 2147483646 w 29"/>
                    <a:gd name="T41" fmla="*/ 2147483646 h 12"/>
                    <a:gd name="T42" fmla="*/ 2147483646 w 29"/>
                    <a:gd name="T43" fmla="*/ 2147483646 h 12"/>
                    <a:gd name="T44" fmla="*/ 2147483646 w 29"/>
                    <a:gd name="T45" fmla="*/ 2147483646 h 12"/>
                    <a:gd name="T46" fmla="*/ 2147483646 w 29"/>
                    <a:gd name="T47" fmla="*/ 0 h 12"/>
                    <a:gd name="T48" fmla="*/ 2147483646 w 29"/>
                    <a:gd name="T49" fmla="*/ 0 h 1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9"/>
                    <a:gd name="T76" fmla="*/ 0 h 12"/>
                    <a:gd name="T77" fmla="*/ 29 w 29"/>
                    <a:gd name="T78" fmla="*/ 12 h 1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9" h="12">
                      <a:moveTo>
                        <a:pt x="24" y="0"/>
                      </a:moveTo>
                      <a:lnTo>
                        <a:pt x="20" y="0"/>
                      </a:lnTo>
                      <a:lnTo>
                        <a:pt x="14" y="1"/>
                      </a:lnTo>
                      <a:lnTo>
                        <a:pt x="9" y="1"/>
                      </a:lnTo>
                      <a:lnTo>
                        <a:pt x="4" y="2"/>
                      </a:lnTo>
                      <a:lnTo>
                        <a:pt x="2" y="4"/>
                      </a:lnTo>
                      <a:lnTo>
                        <a:pt x="1" y="5"/>
                      </a:lnTo>
                      <a:lnTo>
                        <a:pt x="0" y="7"/>
                      </a:lnTo>
                      <a:lnTo>
                        <a:pt x="0" y="8"/>
                      </a:lnTo>
                      <a:lnTo>
                        <a:pt x="1" y="9"/>
                      </a:lnTo>
                      <a:lnTo>
                        <a:pt x="2" y="11"/>
                      </a:lnTo>
                      <a:lnTo>
                        <a:pt x="5" y="12"/>
                      </a:lnTo>
                      <a:lnTo>
                        <a:pt x="6" y="12"/>
                      </a:lnTo>
                      <a:lnTo>
                        <a:pt x="11" y="11"/>
                      </a:lnTo>
                      <a:lnTo>
                        <a:pt x="15" y="9"/>
                      </a:lnTo>
                      <a:lnTo>
                        <a:pt x="20" y="9"/>
                      </a:lnTo>
                      <a:lnTo>
                        <a:pt x="24" y="9"/>
                      </a:lnTo>
                      <a:lnTo>
                        <a:pt x="25" y="9"/>
                      </a:lnTo>
                      <a:lnTo>
                        <a:pt x="28" y="8"/>
                      </a:lnTo>
                      <a:lnTo>
                        <a:pt x="29" y="6"/>
                      </a:lnTo>
                      <a:lnTo>
                        <a:pt x="29" y="5"/>
                      </a:lnTo>
                      <a:lnTo>
                        <a:pt x="29" y="4"/>
                      </a:lnTo>
                      <a:lnTo>
                        <a:pt x="28" y="1"/>
                      </a:lnTo>
                      <a:lnTo>
                        <a:pt x="25" y="0"/>
                      </a:lnTo>
                      <a:lnTo>
                        <a:pt x="2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72" name="Freeform 451">
                  <a:extLst>
                    <a:ext uri="{FF2B5EF4-FFF2-40B4-BE49-F238E27FC236}">
                      <a16:creationId xmlns:a16="http://schemas.microsoft.com/office/drawing/2014/main" id="{66E3DF5C-B6AF-4678-AEEB-52098FF2E5EA}"/>
                    </a:ext>
                  </a:extLst>
                </p:cNvPr>
                <p:cNvSpPr>
                  <a:spLocks/>
                </p:cNvSpPr>
                <p:nvPr/>
              </p:nvSpPr>
              <p:spPr bwMode="auto">
                <a:xfrm>
                  <a:off x="3416300" y="4687888"/>
                  <a:ext cx="33338" cy="33337"/>
                </a:xfrm>
                <a:custGeom>
                  <a:avLst/>
                  <a:gdLst>
                    <a:gd name="T0" fmla="*/ 2147483646 w 42"/>
                    <a:gd name="T1" fmla="*/ 2147483646 h 43"/>
                    <a:gd name="T2" fmla="*/ 2147483646 w 42"/>
                    <a:gd name="T3" fmla="*/ 2147483646 h 43"/>
                    <a:gd name="T4" fmla="*/ 2147483646 w 42"/>
                    <a:gd name="T5" fmla="*/ 2147483646 h 43"/>
                    <a:gd name="T6" fmla="*/ 2147483646 w 42"/>
                    <a:gd name="T7" fmla="*/ 2147483646 h 43"/>
                    <a:gd name="T8" fmla="*/ 2147483646 w 42"/>
                    <a:gd name="T9" fmla="*/ 2147483646 h 43"/>
                    <a:gd name="T10" fmla="*/ 2147483646 w 42"/>
                    <a:gd name="T11" fmla="*/ 2147483646 h 43"/>
                    <a:gd name="T12" fmla="*/ 2147483646 w 42"/>
                    <a:gd name="T13" fmla="*/ 2147483646 h 43"/>
                    <a:gd name="T14" fmla="*/ 2147483646 w 42"/>
                    <a:gd name="T15" fmla="*/ 2147483646 h 43"/>
                    <a:gd name="T16" fmla="*/ 2147483646 w 42"/>
                    <a:gd name="T17" fmla="*/ 2147483646 h 43"/>
                    <a:gd name="T18" fmla="*/ 2147483646 w 42"/>
                    <a:gd name="T19" fmla="*/ 2147483646 h 43"/>
                    <a:gd name="T20" fmla="*/ 2147483646 w 42"/>
                    <a:gd name="T21" fmla="*/ 2147483646 h 43"/>
                    <a:gd name="T22" fmla="*/ 2147483646 w 42"/>
                    <a:gd name="T23" fmla="*/ 2147483646 h 43"/>
                    <a:gd name="T24" fmla="*/ 2147483646 w 42"/>
                    <a:gd name="T25" fmla="*/ 2147483646 h 43"/>
                    <a:gd name="T26" fmla="*/ 2147483646 w 42"/>
                    <a:gd name="T27" fmla="*/ 2147483646 h 43"/>
                    <a:gd name="T28" fmla="*/ 2147483646 w 42"/>
                    <a:gd name="T29" fmla="*/ 2147483646 h 43"/>
                    <a:gd name="T30" fmla="*/ 2147483646 w 42"/>
                    <a:gd name="T31" fmla="*/ 2147483646 h 43"/>
                    <a:gd name="T32" fmla="*/ 2147483646 w 42"/>
                    <a:gd name="T33" fmla="*/ 2147483646 h 43"/>
                    <a:gd name="T34" fmla="*/ 2147483646 w 42"/>
                    <a:gd name="T35" fmla="*/ 2147483646 h 43"/>
                    <a:gd name="T36" fmla="*/ 2147483646 w 42"/>
                    <a:gd name="T37" fmla="*/ 2147483646 h 43"/>
                    <a:gd name="T38" fmla="*/ 2147483646 w 42"/>
                    <a:gd name="T39" fmla="*/ 0 h 43"/>
                    <a:gd name="T40" fmla="*/ 2147483646 w 42"/>
                    <a:gd name="T41" fmla="*/ 2147483646 h 43"/>
                    <a:gd name="T42" fmla="*/ 2147483646 w 42"/>
                    <a:gd name="T43" fmla="*/ 2147483646 h 43"/>
                    <a:gd name="T44" fmla="*/ 2147483646 w 42"/>
                    <a:gd name="T45" fmla="*/ 2147483646 h 43"/>
                    <a:gd name="T46" fmla="*/ 2147483646 w 42"/>
                    <a:gd name="T47" fmla="*/ 2147483646 h 43"/>
                    <a:gd name="T48" fmla="*/ 2147483646 w 42"/>
                    <a:gd name="T49" fmla="*/ 2147483646 h 43"/>
                    <a:gd name="T50" fmla="*/ 2147483646 w 42"/>
                    <a:gd name="T51" fmla="*/ 0 h 43"/>
                    <a:gd name="T52" fmla="*/ 2147483646 w 42"/>
                    <a:gd name="T53" fmla="*/ 0 h 43"/>
                    <a:gd name="T54" fmla="*/ 2147483646 w 42"/>
                    <a:gd name="T55" fmla="*/ 0 h 43"/>
                    <a:gd name="T56" fmla="*/ 2147483646 w 42"/>
                    <a:gd name="T57" fmla="*/ 0 h 43"/>
                    <a:gd name="T58" fmla="*/ 2147483646 w 42"/>
                    <a:gd name="T59" fmla="*/ 2147483646 h 43"/>
                    <a:gd name="T60" fmla="*/ 0 w 42"/>
                    <a:gd name="T61" fmla="*/ 2147483646 h 43"/>
                    <a:gd name="T62" fmla="*/ 0 w 42"/>
                    <a:gd name="T63" fmla="*/ 2147483646 h 43"/>
                    <a:gd name="T64" fmla="*/ 0 w 42"/>
                    <a:gd name="T65" fmla="*/ 2147483646 h 43"/>
                    <a:gd name="T66" fmla="*/ 2147483646 w 42"/>
                    <a:gd name="T67" fmla="*/ 2147483646 h 43"/>
                    <a:gd name="T68" fmla="*/ 2147483646 w 42"/>
                    <a:gd name="T69" fmla="*/ 2147483646 h 43"/>
                    <a:gd name="T70" fmla="*/ 2147483646 w 42"/>
                    <a:gd name="T71" fmla="*/ 2147483646 h 43"/>
                    <a:gd name="T72" fmla="*/ 2147483646 w 42"/>
                    <a:gd name="T73" fmla="*/ 2147483646 h 43"/>
                    <a:gd name="T74" fmla="*/ 2147483646 w 42"/>
                    <a:gd name="T75" fmla="*/ 2147483646 h 43"/>
                    <a:gd name="T76" fmla="*/ 2147483646 w 42"/>
                    <a:gd name="T77" fmla="*/ 2147483646 h 43"/>
                    <a:gd name="T78" fmla="*/ 2147483646 w 42"/>
                    <a:gd name="T79" fmla="*/ 2147483646 h 43"/>
                    <a:gd name="T80" fmla="*/ 2147483646 w 42"/>
                    <a:gd name="T81" fmla="*/ 2147483646 h 43"/>
                    <a:gd name="T82" fmla="*/ 2147483646 w 42"/>
                    <a:gd name="T83" fmla="*/ 2147483646 h 43"/>
                    <a:gd name="T84" fmla="*/ 2147483646 w 42"/>
                    <a:gd name="T85" fmla="*/ 2147483646 h 43"/>
                    <a:gd name="T86" fmla="*/ 2147483646 w 42"/>
                    <a:gd name="T87" fmla="*/ 2147483646 h 43"/>
                    <a:gd name="T88" fmla="*/ 2147483646 w 42"/>
                    <a:gd name="T89" fmla="*/ 2147483646 h 43"/>
                    <a:gd name="T90" fmla="*/ 2147483646 w 42"/>
                    <a:gd name="T91" fmla="*/ 2147483646 h 43"/>
                    <a:gd name="T92" fmla="*/ 2147483646 w 42"/>
                    <a:gd name="T93" fmla="*/ 2147483646 h 43"/>
                    <a:gd name="T94" fmla="*/ 2147483646 w 42"/>
                    <a:gd name="T95" fmla="*/ 2147483646 h 43"/>
                    <a:gd name="T96" fmla="*/ 2147483646 w 42"/>
                    <a:gd name="T97" fmla="*/ 2147483646 h 43"/>
                    <a:gd name="T98" fmla="*/ 2147483646 w 42"/>
                    <a:gd name="T99" fmla="*/ 2147483646 h 43"/>
                    <a:gd name="T100" fmla="*/ 2147483646 w 42"/>
                    <a:gd name="T101" fmla="*/ 2147483646 h 43"/>
                    <a:gd name="T102" fmla="*/ 2147483646 w 42"/>
                    <a:gd name="T103" fmla="*/ 2147483646 h 43"/>
                    <a:gd name="T104" fmla="*/ 2147483646 w 42"/>
                    <a:gd name="T105" fmla="*/ 2147483646 h 43"/>
                    <a:gd name="T106" fmla="*/ 2147483646 w 42"/>
                    <a:gd name="T107" fmla="*/ 2147483646 h 43"/>
                    <a:gd name="T108" fmla="*/ 2147483646 w 42"/>
                    <a:gd name="T109" fmla="*/ 2147483646 h 43"/>
                    <a:gd name="T110" fmla="*/ 2147483646 w 42"/>
                    <a:gd name="T111" fmla="*/ 2147483646 h 43"/>
                    <a:gd name="T112" fmla="*/ 2147483646 w 42"/>
                    <a:gd name="T113" fmla="*/ 2147483646 h 43"/>
                    <a:gd name="T114" fmla="*/ 2147483646 w 42"/>
                    <a:gd name="T115" fmla="*/ 2147483646 h 43"/>
                    <a:gd name="T116" fmla="*/ 2147483646 w 42"/>
                    <a:gd name="T117" fmla="*/ 2147483646 h 43"/>
                    <a:gd name="T118" fmla="*/ 2147483646 w 42"/>
                    <a:gd name="T119" fmla="*/ 2147483646 h 43"/>
                    <a:gd name="T120" fmla="*/ 2147483646 w 42"/>
                    <a:gd name="T121" fmla="*/ 2147483646 h 43"/>
                    <a:gd name="T122" fmla="*/ 2147483646 w 42"/>
                    <a:gd name="T123" fmla="*/ 2147483646 h 43"/>
                    <a:gd name="T124" fmla="*/ 2147483646 w 42"/>
                    <a:gd name="T125" fmla="*/ 2147483646 h 4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
                    <a:gd name="T190" fmla="*/ 0 h 43"/>
                    <a:gd name="T191" fmla="*/ 42 w 42"/>
                    <a:gd name="T192" fmla="*/ 43 h 4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 h="43">
                      <a:moveTo>
                        <a:pt x="41" y="28"/>
                      </a:moveTo>
                      <a:lnTo>
                        <a:pt x="40" y="27"/>
                      </a:lnTo>
                      <a:lnTo>
                        <a:pt x="39" y="25"/>
                      </a:lnTo>
                      <a:lnTo>
                        <a:pt x="37" y="25"/>
                      </a:lnTo>
                      <a:lnTo>
                        <a:pt x="36" y="27"/>
                      </a:lnTo>
                      <a:lnTo>
                        <a:pt x="33" y="28"/>
                      </a:lnTo>
                      <a:lnTo>
                        <a:pt x="30" y="29"/>
                      </a:lnTo>
                      <a:lnTo>
                        <a:pt x="27" y="30"/>
                      </a:lnTo>
                      <a:lnTo>
                        <a:pt x="24" y="31"/>
                      </a:lnTo>
                      <a:lnTo>
                        <a:pt x="22" y="32"/>
                      </a:lnTo>
                      <a:lnTo>
                        <a:pt x="24" y="28"/>
                      </a:lnTo>
                      <a:lnTo>
                        <a:pt x="25" y="22"/>
                      </a:lnTo>
                      <a:lnTo>
                        <a:pt x="27" y="17"/>
                      </a:lnTo>
                      <a:lnTo>
                        <a:pt x="29" y="13"/>
                      </a:lnTo>
                      <a:lnTo>
                        <a:pt x="30" y="6"/>
                      </a:lnTo>
                      <a:lnTo>
                        <a:pt x="30" y="5"/>
                      </a:lnTo>
                      <a:lnTo>
                        <a:pt x="29" y="3"/>
                      </a:lnTo>
                      <a:lnTo>
                        <a:pt x="27" y="2"/>
                      </a:lnTo>
                      <a:lnTo>
                        <a:pt x="26" y="1"/>
                      </a:lnTo>
                      <a:lnTo>
                        <a:pt x="22" y="0"/>
                      </a:lnTo>
                      <a:lnTo>
                        <a:pt x="23" y="1"/>
                      </a:lnTo>
                      <a:lnTo>
                        <a:pt x="24" y="1"/>
                      </a:lnTo>
                      <a:lnTo>
                        <a:pt x="25" y="1"/>
                      </a:lnTo>
                      <a:lnTo>
                        <a:pt x="26" y="2"/>
                      </a:lnTo>
                      <a:lnTo>
                        <a:pt x="21" y="1"/>
                      </a:lnTo>
                      <a:lnTo>
                        <a:pt x="15" y="0"/>
                      </a:lnTo>
                      <a:lnTo>
                        <a:pt x="10" y="0"/>
                      </a:lnTo>
                      <a:lnTo>
                        <a:pt x="4" y="0"/>
                      </a:lnTo>
                      <a:lnTo>
                        <a:pt x="3" y="0"/>
                      </a:lnTo>
                      <a:lnTo>
                        <a:pt x="1" y="1"/>
                      </a:lnTo>
                      <a:lnTo>
                        <a:pt x="0" y="3"/>
                      </a:lnTo>
                      <a:lnTo>
                        <a:pt x="0" y="5"/>
                      </a:lnTo>
                      <a:lnTo>
                        <a:pt x="0" y="6"/>
                      </a:lnTo>
                      <a:lnTo>
                        <a:pt x="1" y="8"/>
                      </a:lnTo>
                      <a:lnTo>
                        <a:pt x="3" y="9"/>
                      </a:lnTo>
                      <a:lnTo>
                        <a:pt x="4" y="9"/>
                      </a:lnTo>
                      <a:lnTo>
                        <a:pt x="8" y="9"/>
                      </a:lnTo>
                      <a:lnTo>
                        <a:pt x="11" y="9"/>
                      </a:lnTo>
                      <a:lnTo>
                        <a:pt x="15" y="9"/>
                      </a:lnTo>
                      <a:lnTo>
                        <a:pt x="18" y="9"/>
                      </a:lnTo>
                      <a:lnTo>
                        <a:pt x="21" y="9"/>
                      </a:lnTo>
                      <a:lnTo>
                        <a:pt x="18" y="15"/>
                      </a:lnTo>
                      <a:lnTo>
                        <a:pt x="16" y="21"/>
                      </a:lnTo>
                      <a:lnTo>
                        <a:pt x="14" y="28"/>
                      </a:lnTo>
                      <a:lnTo>
                        <a:pt x="11" y="33"/>
                      </a:lnTo>
                      <a:lnTo>
                        <a:pt x="10" y="37"/>
                      </a:lnTo>
                      <a:lnTo>
                        <a:pt x="10" y="38"/>
                      </a:lnTo>
                      <a:lnTo>
                        <a:pt x="10" y="39"/>
                      </a:lnTo>
                      <a:lnTo>
                        <a:pt x="11" y="40"/>
                      </a:lnTo>
                      <a:lnTo>
                        <a:pt x="12" y="42"/>
                      </a:lnTo>
                      <a:lnTo>
                        <a:pt x="15" y="43"/>
                      </a:lnTo>
                      <a:lnTo>
                        <a:pt x="16" y="43"/>
                      </a:lnTo>
                      <a:lnTo>
                        <a:pt x="18" y="42"/>
                      </a:lnTo>
                      <a:lnTo>
                        <a:pt x="24" y="40"/>
                      </a:lnTo>
                      <a:lnTo>
                        <a:pt x="30" y="39"/>
                      </a:lnTo>
                      <a:lnTo>
                        <a:pt x="34" y="37"/>
                      </a:lnTo>
                      <a:lnTo>
                        <a:pt x="40" y="33"/>
                      </a:lnTo>
                      <a:lnTo>
                        <a:pt x="41" y="32"/>
                      </a:lnTo>
                      <a:lnTo>
                        <a:pt x="42" y="31"/>
                      </a:lnTo>
                      <a:lnTo>
                        <a:pt x="42" y="29"/>
                      </a:lnTo>
                      <a:lnTo>
                        <a:pt x="4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73" name="Freeform 452">
                  <a:extLst>
                    <a:ext uri="{FF2B5EF4-FFF2-40B4-BE49-F238E27FC236}">
                      <a16:creationId xmlns:a16="http://schemas.microsoft.com/office/drawing/2014/main" id="{AD4D1FA1-3DD8-44E1-A181-88BA71A410CB}"/>
                    </a:ext>
                  </a:extLst>
                </p:cNvPr>
                <p:cNvSpPr>
                  <a:spLocks/>
                </p:cNvSpPr>
                <p:nvPr/>
              </p:nvSpPr>
              <p:spPr bwMode="auto">
                <a:xfrm>
                  <a:off x="3476625" y="4684713"/>
                  <a:ext cx="1588" cy="1587"/>
                </a:xfrm>
                <a:custGeom>
                  <a:avLst/>
                  <a:gdLst>
                    <a:gd name="T0" fmla="*/ 0 w 1"/>
                    <a:gd name="T1" fmla="*/ 0 h 2"/>
                    <a:gd name="T2" fmla="*/ 2147483646 w 1"/>
                    <a:gd name="T3" fmla="*/ 2147483646 h 2"/>
                    <a:gd name="T4" fmla="*/ 2147483646 w 1"/>
                    <a:gd name="T5" fmla="*/ 2147483646 h 2"/>
                    <a:gd name="T6" fmla="*/ 2147483646 w 1"/>
                    <a:gd name="T7" fmla="*/ 2147483646 h 2"/>
                    <a:gd name="T8" fmla="*/ 2147483646 w 1"/>
                    <a:gd name="T9" fmla="*/ 2147483646 h 2"/>
                    <a:gd name="T10" fmla="*/ 2147483646 w 1"/>
                    <a:gd name="T11" fmla="*/ 2147483646 h 2"/>
                    <a:gd name="T12" fmla="*/ 2147483646 w 1"/>
                    <a:gd name="T13" fmla="*/ 2147483646 h 2"/>
                    <a:gd name="T14" fmla="*/ 2147483646 w 1"/>
                    <a:gd name="T15" fmla="*/ 0 h 2"/>
                    <a:gd name="T16" fmla="*/ 0 w 1"/>
                    <a:gd name="T17" fmla="*/ 0 h 2"/>
                    <a:gd name="T18" fmla="*/ 0 w 1"/>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
                    <a:gd name="T31" fmla="*/ 0 h 2"/>
                    <a:gd name="T32" fmla="*/ 1 w 1"/>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 h="2">
                      <a:moveTo>
                        <a:pt x="0" y="0"/>
                      </a:moveTo>
                      <a:lnTo>
                        <a:pt x="1" y="2"/>
                      </a:lnTo>
                      <a:lnTo>
                        <a:pt x="1"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74" name="Freeform 453">
                  <a:extLst>
                    <a:ext uri="{FF2B5EF4-FFF2-40B4-BE49-F238E27FC236}">
                      <a16:creationId xmlns:a16="http://schemas.microsoft.com/office/drawing/2014/main" id="{3ADDCDDB-6822-49A1-A438-D55BA49E1710}"/>
                    </a:ext>
                  </a:extLst>
                </p:cNvPr>
                <p:cNvSpPr>
                  <a:spLocks/>
                </p:cNvSpPr>
                <p:nvPr/>
              </p:nvSpPr>
              <p:spPr bwMode="auto">
                <a:xfrm>
                  <a:off x="3455988" y="4684713"/>
                  <a:ext cx="30163" cy="31750"/>
                </a:xfrm>
                <a:custGeom>
                  <a:avLst/>
                  <a:gdLst>
                    <a:gd name="T0" fmla="*/ 2147483646 w 37"/>
                    <a:gd name="T1" fmla="*/ 2147483646 h 41"/>
                    <a:gd name="T2" fmla="*/ 2147483646 w 37"/>
                    <a:gd name="T3" fmla="*/ 2147483646 h 41"/>
                    <a:gd name="T4" fmla="*/ 2147483646 w 37"/>
                    <a:gd name="T5" fmla="*/ 2147483646 h 41"/>
                    <a:gd name="T6" fmla="*/ 2147483646 w 37"/>
                    <a:gd name="T7" fmla="*/ 2147483646 h 41"/>
                    <a:gd name="T8" fmla="*/ 2147483646 w 37"/>
                    <a:gd name="T9" fmla="*/ 2147483646 h 41"/>
                    <a:gd name="T10" fmla="*/ 2147483646 w 37"/>
                    <a:gd name="T11" fmla="*/ 2147483646 h 41"/>
                    <a:gd name="T12" fmla="*/ 2147483646 w 37"/>
                    <a:gd name="T13" fmla="*/ 0 h 41"/>
                    <a:gd name="T14" fmla="*/ 2147483646 w 37"/>
                    <a:gd name="T15" fmla="*/ 0 h 41"/>
                    <a:gd name="T16" fmla="*/ 2147483646 w 37"/>
                    <a:gd name="T17" fmla="*/ 0 h 41"/>
                    <a:gd name="T18" fmla="*/ 2147483646 w 37"/>
                    <a:gd name="T19" fmla="*/ 0 h 41"/>
                    <a:gd name="T20" fmla="*/ 2147483646 w 37"/>
                    <a:gd name="T21" fmla="*/ 0 h 41"/>
                    <a:gd name="T22" fmla="*/ 2147483646 w 37"/>
                    <a:gd name="T23" fmla="*/ 2147483646 h 41"/>
                    <a:gd name="T24" fmla="*/ 0 w 37"/>
                    <a:gd name="T25" fmla="*/ 2147483646 h 41"/>
                    <a:gd name="T26" fmla="*/ 0 w 37"/>
                    <a:gd name="T27" fmla="*/ 2147483646 h 41"/>
                    <a:gd name="T28" fmla="*/ 0 w 37"/>
                    <a:gd name="T29" fmla="*/ 2147483646 h 41"/>
                    <a:gd name="T30" fmla="*/ 2147483646 w 37"/>
                    <a:gd name="T31" fmla="*/ 2147483646 h 41"/>
                    <a:gd name="T32" fmla="*/ 2147483646 w 37"/>
                    <a:gd name="T33" fmla="*/ 2147483646 h 41"/>
                    <a:gd name="T34" fmla="*/ 2147483646 w 37"/>
                    <a:gd name="T35" fmla="*/ 2147483646 h 41"/>
                    <a:gd name="T36" fmla="*/ 2147483646 w 37"/>
                    <a:gd name="T37" fmla="*/ 2147483646 h 41"/>
                    <a:gd name="T38" fmla="*/ 2147483646 w 37"/>
                    <a:gd name="T39" fmla="*/ 2147483646 h 41"/>
                    <a:gd name="T40" fmla="*/ 2147483646 w 37"/>
                    <a:gd name="T41" fmla="*/ 2147483646 h 41"/>
                    <a:gd name="T42" fmla="*/ 2147483646 w 37"/>
                    <a:gd name="T43" fmla="*/ 2147483646 h 41"/>
                    <a:gd name="T44" fmla="*/ 2147483646 w 37"/>
                    <a:gd name="T45" fmla="*/ 2147483646 h 41"/>
                    <a:gd name="T46" fmla="*/ 2147483646 w 37"/>
                    <a:gd name="T47" fmla="*/ 2147483646 h 41"/>
                    <a:gd name="T48" fmla="*/ 2147483646 w 37"/>
                    <a:gd name="T49" fmla="*/ 2147483646 h 41"/>
                    <a:gd name="T50" fmla="*/ 2147483646 w 37"/>
                    <a:gd name="T51" fmla="*/ 2147483646 h 41"/>
                    <a:gd name="T52" fmla="*/ 2147483646 w 37"/>
                    <a:gd name="T53" fmla="*/ 2147483646 h 41"/>
                    <a:gd name="T54" fmla="*/ 2147483646 w 37"/>
                    <a:gd name="T55" fmla="*/ 2147483646 h 41"/>
                    <a:gd name="T56" fmla="*/ 2147483646 w 37"/>
                    <a:gd name="T57" fmla="*/ 2147483646 h 41"/>
                    <a:gd name="T58" fmla="*/ 2147483646 w 37"/>
                    <a:gd name="T59" fmla="*/ 2147483646 h 41"/>
                    <a:gd name="T60" fmla="*/ 2147483646 w 37"/>
                    <a:gd name="T61" fmla="*/ 2147483646 h 41"/>
                    <a:gd name="T62" fmla="*/ 2147483646 w 37"/>
                    <a:gd name="T63" fmla="*/ 2147483646 h 41"/>
                    <a:gd name="T64" fmla="*/ 2147483646 w 37"/>
                    <a:gd name="T65" fmla="*/ 2147483646 h 41"/>
                    <a:gd name="T66" fmla="*/ 2147483646 w 37"/>
                    <a:gd name="T67" fmla="*/ 2147483646 h 41"/>
                    <a:gd name="T68" fmla="*/ 2147483646 w 37"/>
                    <a:gd name="T69" fmla="*/ 2147483646 h 41"/>
                    <a:gd name="T70" fmla="*/ 2147483646 w 37"/>
                    <a:gd name="T71" fmla="*/ 2147483646 h 41"/>
                    <a:gd name="T72" fmla="*/ 2147483646 w 37"/>
                    <a:gd name="T73" fmla="*/ 2147483646 h 41"/>
                    <a:gd name="T74" fmla="*/ 2147483646 w 37"/>
                    <a:gd name="T75" fmla="*/ 2147483646 h 41"/>
                    <a:gd name="T76" fmla="*/ 2147483646 w 37"/>
                    <a:gd name="T77" fmla="*/ 2147483646 h 41"/>
                    <a:gd name="T78" fmla="*/ 2147483646 w 37"/>
                    <a:gd name="T79" fmla="*/ 2147483646 h 41"/>
                    <a:gd name="T80" fmla="*/ 2147483646 w 37"/>
                    <a:gd name="T81" fmla="*/ 2147483646 h 4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7"/>
                    <a:gd name="T124" fmla="*/ 0 h 41"/>
                    <a:gd name="T125" fmla="*/ 37 w 37"/>
                    <a:gd name="T126" fmla="*/ 41 h 4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7" h="41">
                      <a:moveTo>
                        <a:pt x="35" y="6"/>
                      </a:moveTo>
                      <a:lnTo>
                        <a:pt x="35" y="5"/>
                      </a:lnTo>
                      <a:lnTo>
                        <a:pt x="34" y="4"/>
                      </a:lnTo>
                      <a:lnTo>
                        <a:pt x="28" y="2"/>
                      </a:lnTo>
                      <a:lnTo>
                        <a:pt x="22" y="0"/>
                      </a:lnTo>
                      <a:lnTo>
                        <a:pt x="17" y="0"/>
                      </a:lnTo>
                      <a:lnTo>
                        <a:pt x="11" y="0"/>
                      </a:lnTo>
                      <a:lnTo>
                        <a:pt x="5" y="0"/>
                      </a:lnTo>
                      <a:lnTo>
                        <a:pt x="4" y="0"/>
                      </a:lnTo>
                      <a:lnTo>
                        <a:pt x="2" y="2"/>
                      </a:lnTo>
                      <a:lnTo>
                        <a:pt x="0" y="4"/>
                      </a:lnTo>
                      <a:lnTo>
                        <a:pt x="0" y="5"/>
                      </a:lnTo>
                      <a:lnTo>
                        <a:pt x="0" y="6"/>
                      </a:lnTo>
                      <a:lnTo>
                        <a:pt x="2" y="8"/>
                      </a:lnTo>
                      <a:lnTo>
                        <a:pt x="4" y="10"/>
                      </a:lnTo>
                      <a:lnTo>
                        <a:pt x="5" y="10"/>
                      </a:lnTo>
                      <a:lnTo>
                        <a:pt x="10" y="10"/>
                      </a:lnTo>
                      <a:lnTo>
                        <a:pt x="14" y="10"/>
                      </a:lnTo>
                      <a:lnTo>
                        <a:pt x="18" y="10"/>
                      </a:lnTo>
                      <a:lnTo>
                        <a:pt x="22" y="10"/>
                      </a:lnTo>
                      <a:lnTo>
                        <a:pt x="28" y="11"/>
                      </a:lnTo>
                      <a:lnTo>
                        <a:pt x="28" y="12"/>
                      </a:lnTo>
                      <a:lnTo>
                        <a:pt x="28" y="18"/>
                      </a:lnTo>
                      <a:lnTo>
                        <a:pt x="28" y="25"/>
                      </a:lnTo>
                      <a:lnTo>
                        <a:pt x="28" y="30"/>
                      </a:lnTo>
                      <a:lnTo>
                        <a:pt x="28" y="37"/>
                      </a:lnTo>
                      <a:lnTo>
                        <a:pt x="28" y="38"/>
                      </a:lnTo>
                      <a:lnTo>
                        <a:pt x="29" y="40"/>
                      </a:lnTo>
                      <a:lnTo>
                        <a:pt x="32" y="41"/>
                      </a:lnTo>
                      <a:lnTo>
                        <a:pt x="33" y="41"/>
                      </a:lnTo>
                      <a:lnTo>
                        <a:pt x="34" y="41"/>
                      </a:lnTo>
                      <a:lnTo>
                        <a:pt x="36" y="40"/>
                      </a:lnTo>
                      <a:lnTo>
                        <a:pt x="37" y="38"/>
                      </a:lnTo>
                      <a:lnTo>
                        <a:pt x="37" y="37"/>
                      </a:lnTo>
                      <a:lnTo>
                        <a:pt x="37" y="32"/>
                      </a:lnTo>
                      <a:lnTo>
                        <a:pt x="37" y="25"/>
                      </a:lnTo>
                      <a:lnTo>
                        <a:pt x="37" y="19"/>
                      </a:lnTo>
                      <a:lnTo>
                        <a:pt x="37" y="12"/>
                      </a:lnTo>
                      <a:lnTo>
                        <a:pt x="35"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75" name="Freeform 454">
                  <a:extLst>
                    <a:ext uri="{FF2B5EF4-FFF2-40B4-BE49-F238E27FC236}">
                      <a16:creationId xmlns:a16="http://schemas.microsoft.com/office/drawing/2014/main" id="{1FDFD24B-BE9B-41F9-A401-F98E0C8971CC}"/>
                    </a:ext>
                  </a:extLst>
                </p:cNvPr>
                <p:cNvSpPr>
                  <a:spLocks/>
                </p:cNvSpPr>
                <p:nvPr/>
              </p:nvSpPr>
              <p:spPr bwMode="auto">
                <a:xfrm>
                  <a:off x="3497263" y="4679950"/>
                  <a:ext cx="25400" cy="44450"/>
                </a:xfrm>
                <a:custGeom>
                  <a:avLst/>
                  <a:gdLst>
                    <a:gd name="T0" fmla="*/ 2147483646 w 33"/>
                    <a:gd name="T1" fmla="*/ 2147483646 h 55"/>
                    <a:gd name="T2" fmla="*/ 2147483646 w 33"/>
                    <a:gd name="T3" fmla="*/ 2147483646 h 55"/>
                    <a:gd name="T4" fmla="*/ 2147483646 w 33"/>
                    <a:gd name="T5" fmla="*/ 2147483646 h 55"/>
                    <a:gd name="T6" fmla="*/ 2147483646 w 33"/>
                    <a:gd name="T7" fmla="*/ 2147483646 h 55"/>
                    <a:gd name="T8" fmla="*/ 2147483646 w 33"/>
                    <a:gd name="T9" fmla="*/ 2147483646 h 55"/>
                    <a:gd name="T10" fmla="*/ 2147483646 w 33"/>
                    <a:gd name="T11" fmla="*/ 2147483646 h 55"/>
                    <a:gd name="T12" fmla="*/ 2147483646 w 33"/>
                    <a:gd name="T13" fmla="*/ 2147483646 h 55"/>
                    <a:gd name="T14" fmla="*/ 2147483646 w 33"/>
                    <a:gd name="T15" fmla="*/ 2147483646 h 55"/>
                    <a:gd name="T16" fmla="*/ 2147483646 w 33"/>
                    <a:gd name="T17" fmla="*/ 2147483646 h 55"/>
                    <a:gd name="T18" fmla="*/ 2147483646 w 33"/>
                    <a:gd name="T19" fmla="*/ 2147483646 h 55"/>
                    <a:gd name="T20" fmla="*/ 2147483646 w 33"/>
                    <a:gd name="T21" fmla="*/ 2147483646 h 55"/>
                    <a:gd name="T22" fmla="*/ 2147483646 w 33"/>
                    <a:gd name="T23" fmla="*/ 2147483646 h 55"/>
                    <a:gd name="T24" fmla="*/ 2147483646 w 33"/>
                    <a:gd name="T25" fmla="*/ 2147483646 h 55"/>
                    <a:gd name="T26" fmla="*/ 2147483646 w 33"/>
                    <a:gd name="T27" fmla="*/ 2147483646 h 55"/>
                    <a:gd name="T28" fmla="*/ 2147483646 w 33"/>
                    <a:gd name="T29" fmla="*/ 2147483646 h 55"/>
                    <a:gd name="T30" fmla="*/ 2147483646 w 33"/>
                    <a:gd name="T31" fmla="*/ 2147483646 h 55"/>
                    <a:gd name="T32" fmla="*/ 2147483646 w 33"/>
                    <a:gd name="T33" fmla="*/ 2147483646 h 55"/>
                    <a:gd name="T34" fmla="*/ 2147483646 w 33"/>
                    <a:gd name="T35" fmla="*/ 2147483646 h 55"/>
                    <a:gd name="T36" fmla="*/ 2147483646 w 33"/>
                    <a:gd name="T37" fmla="*/ 2147483646 h 55"/>
                    <a:gd name="T38" fmla="*/ 2147483646 w 33"/>
                    <a:gd name="T39" fmla="*/ 2147483646 h 55"/>
                    <a:gd name="T40" fmla="*/ 2147483646 w 33"/>
                    <a:gd name="T41" fmla="*/ 2147483646 h 55"/>
                    <a:gd name="T42" fmla="*/ 2147483646 w 33"/>
                    <a:gd name="T43" fmla="*/ 2147483646 h 55"/>
                    <a:gd name="T44" fmla="*/ 2147483646 w 33"/>
                    <a:gd name="T45" fmla="*/ 2147483646 h 55"/>
                    <a:gd name="T46" fmla="*/ 2147483646 w 33"/>
                    <a:gd name="T47" fmla="*/ 2147483646 h 55"/>
                    <a:gd name="T48" fmla="*/ 2147483646 w 33"/>
                    <a:gd name="T49" fmla="*/ 2147483646 h 55"/>
                    <a:gd name="T50" fmla="*/ 2147483646 w 33"/>
                    <a:gd name="T51" fmla="*/ 2147483646 h 55"/>
                    <a:gd name="T52" fmla="*/ 2147483646 w 33"/>
                    <a:gd name="T53" fmla="*/ 2147483646 h 55"/>
                    <a:gd name="T54" fmla="*/ 2147483646 w 33"/>
                    <a:gd name="T55" fmla="*/ 2147483646 h 55"/>
                    <a:gd name="T56" fmla="*/ 2147483646 w 33"/>
                    <a:gd name="T57" fmla="*/ 0 h 55"/>
                    <a:gd name="T58" fmla="*/ 2147483646 w 33"/>
                    <a:gd name="T59" fmla="*/ 0 h 55"/>
                    <a:gd name="T60" fmla="*/ 2147483646 w 33"/>
                    <a:gd name="T61" fmla="*/ 2147483646 h 55"/>
                    <a:gd name="T62" fmla="*/ 2147483646 w 33"/>
                    <a:gd name="T63" fmla="*/ 2147483646 h 55"/>
                    <a:gd name="T64" fmla="*/ 2147483646 w 33"/>
                    <a:gd name="T65" fmla="*/ 2147483646 h 55"/>
                    <a:gd name="T66" fmla="*/ 0 w 33"/>
                    <a:gd name="T67" fmla="*/ 2147483646 h 55"/>
                    <a:gd name="T68" fmla="*/ 2147483646 w 33"/>
                    <a:gd name="T69" fmla="*/ 2147483646 h 55"/>
                    <a:gd name="T70" fmla="*/ 2147483646 w 33"/>
                    <a:gd name="T71" fmla="*/ 2147483646 h 55"/>
                    <a:gd name="T72" fmla="*/ 2147483646 w 33"/>
                    <a:gd name="T73" fmla="*/ 2147483646 h 55"/>
                    <a:gd name="T74" fmla="*/ 2147483646 w 33"/>
                    <a:gd name="T75" fmla="*/ 2147483646 h 55"/>
                    <a:gd name="T76" fmla="*/ 2147483646 w 33"/>
                    <a:gd name="T77" fmla="*/ 2147483646 h 55"/>
                    <a:gd name="T78" fmla="*/ 2147483646 w 33"/>
                    <a:gd name="T79" fmla="*/ 2147483646 h 55"/>
                    <a:gd name="T80" fmla="*/ 2147483646 w 33"/>
                    <a:gd name="T81" fmla="*/ 2147483646 h 55"/>
                    <a:gd name="T82" fmla="*/ 2147483646 w 33"/>
                    <a:gd name="T83" fmla="*/ 2147483646 h 55"/>
                    <a:gd name="T84" fmla="*/ 2147483646 w 33"/>
                    <a:gd name="T85" fmla="*/ 2147483646 h 55"/>
                    <a:gd name="T86" fmla="*/ 2147483646 w 33"/>
                    <a:gd name="T87" fmla="*/ 2147483646 h 55"/>
                    <a:gd name="T88" fmla="*/ 2147483646 w 33"/>
                    <a:gd name="T89" fmla="*/ 2147483646 h 5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3"/>
                    <a:gd name="T136" fmla="*/ 0 h 55"/>
                    <a:gd name="T137" fmla="*/ 33 w 33"/>
                    <a:gd name="T138" fmla="*/ 55 h 5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3" h="55">
                      <a:moveTo>
                        <a:pt x="33" y="22"/>
                      </a:moveTo>
                      <a:lnTo>
                        <a:pt x="33" y="21"/>
                      </a:lnTo>
                      <a:lnTo>
                        <a:pt x="31" y="18"/>
                      </a:lnTo>
                      <a:lnTo>
                        <a:pt x="29" y="17"/>
                      </a:lnTo>
                      <a:lnTo>
                        <a:pt x="28" y="17"/>
                      </a:lnTo>
                      <a:lnTo>
                        <a:pt x="27" y="17"/>
                      </a:lnTo>
                      <a:lnTo>
                        <a:pt x="24" y="18"/>
                      </a:lnTo>
                      <a:lnTo>
                        <a:pt x="23" y="21"/>
                      </a:lnTo>
                      <a:lnTo>
                        <a:pt x="23" y="22"/>
                      </a:lnTo>
                      <a:lnTo>
                        <a:pt x="23" y="26"/>
                      </a:lnTo>
                      <a:lnTo>
                        <a:pt x="23" y="31"/>
                      </a:lnTo>
                      <a:lnTo>
                        <a:pt x="23" y="36"/>
                      </a:lnTo>
                      <a:lnTo>
                        <a:pt x="20" y="40"/>
                      </a:lnTo>
                      <a:lnTo>
                        <a:pt x="12" y="46"/>
                      </a:lnTo>
                      <a:lnTo>
                        <a:pt x="11" y="45"/>
                      </a:lnTo>
                      <a:lnTo>
                        <a:pt x="11" y="46"/>
                      </a:lnTo>
                      <a:lnTo>
                        <a:pt x="8" y="36"/>
                      </a:lnTo>
                      <a:lnTo>
                        <a:pt x="11" y="25"/>
                      </a:lnTo>
                      <a:lnTo>
                        <a:pt x="16" y="15"/>
                      </a:lnTo>
                      <a:lnTo>
                        <a:pt x="24" y="8"/>
                      </a:lnTo>
                      <a:lnTo>
                        <a:pt x="26" y="7"/>
                      </a:lnTo>
                      <a:lnTo>
                        <a:pt x="26" y="4"/>
                      </a:lnTo>
                      <a:lnTo>
                        <a:pt x="26" y="3"/>
                      </a:lnTo>
                      <a:lnTo>
                        <a:pt x="24" y="2"/>
                      </a:lnTo>
                      <a:lnTo>
                        <a:pt x="23" y="1"/>
                      </a:lnTo>
                      <a:lnTo>
                        <a:pt x="22" y="0"/>
                      </a:lnTo>
                      <a:lnTo>
                        <a:pt x="20" y="0"/>
                      </a:lnTo>
                      <a:lnTo>
                        <a:pt x="19" y="1"/>
                      </a:lnTo>
                      <a:lnTo>
                        <a:pt x="8" y="11"/>
                      </a:lnTo>
                      <a:lnTo>
                        <a:pt x="1" y="25"/>
                      </a:lnTo>
                      <a:lnTo>
                        <a:pt x="0" y="39"/>
                      </a:lnTo>
                      <a:lnTo>
                        <a:pt x="7" y="54"/>
                      </a:lnTo>
                      <a:lnTo>
                        <a:pt x="12" y="55"/>
                      </a:lnTo>
                      <a:lnTo>
                        <a:pt x="13" y="55"/>
                      </a:lnTo>
                      <a:lnTo>
                        <a:pt x="14" y="55"/>
                      </a:lnTo>
                      <a:lnTo>
                        <a:pt x="21" y="53"/>
                      </a:lnTo>
                      <a:lnTo>
                        <a:pt x="27" y="46"/>
                      </a:lnTo>
                      <a:lnTo>
                        <a:pt x="30" y="39"/>
                      </a:lnTo>
                      <a:lnTo>
                        <a:pt x="33" y="30"/>
                      </a:lnTo>
                      <a:lnTo>
                        <a:pt x="33"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76" name="Freeform 455">
                  <a:extLst>
                    <a:ext uri="{FF2B5EF4-FFF2-40B4-BE49-F238E27FC236}">
                      <a16:creationId xmlns:a16="http://schemas.microsoft.com/office/drawing/2014/main" id="{CB587314-D8CC-4552-A8E9-AC52391B5FCE}"/>
                    </a:ext>
                  </a:extLst>
                </p:cNvPr>
                <p:cNvSpPr>
                  <a:spLocks/>
                </p:cNvSpPr>
                <p:nvPr/>
              </p:nvSpPr>
              <p:spPr bwMode="auto">
                <a:xfrm>
                  <a:off x="3532188" y="4681538"/>
                  <a:ext cx="20638" cy="38100"/>
                </a:xfrm>
                <a:custGeom>
                  <a:avLst/>
                  <a:gdLst>
                    <a:gd name="T0" fmla="*/ 2147483646 w 27"/>
                    <a:gd name="T1" fmla="*/ 2147483646 h 47"/>
                    <a:gd name="T2" fmla="*/ 2147483646 w 27"/>
                    <a:gd name="T3" fmla="*/ 2147483646 h 47"/>
                    <a:gd name="T4" fmla="*/ 2147483646 w 27"/>
                    <a:gd name="T5" fmla="*/ 2147483646 h 47"/>
                    <a:gd name="T6" fmla="*/ 2147483646 w 27"/>
                    <a:gd name="T7" fmla="*/ 2147483646 h 47"/>
                    <a:gd name="T8" fmla="*/ 2147483646 w 27"/>
                    <a:gd name="T9" fmla="*/ 2147483646 h 47"/>
                    <a:gd name="T10" fmla="*/ 2147483646 w 27"/>
                    <a:gd name="T11" fmla="*/ 2147483646 h 47"/>
                    <a:gd name="T12" fmla="*/ 2147483646 w 27"/>
                    <a:gd name="T13" fmla="*/ 2147483646 h 47"/>
                    <a:gd name="T14" fmla="*/ 2147483646 w 27"/>
                    <a:gd name="T15" fmla="*/ 2147483646 h 47"/>
                    <a:gd name="T16" fmla="*/ 2147483646 w 27"/>
                    <a:gd name="T17" fmla="*/ 2147483646 h 47"/>
                    <a:gd name="T18" fmla="*/ 2147483646 w 27"/>
                    <a:gd name="T19" fmla="*/ 2147483646 h 47"/>
                    <a:gd name="T20" fmla="*/ 2147483646 w 27"/>
                    <a:gd name="T21" fmla="*/ 2147483646 h 47"/>
                    <a:gd name="T22" fmla="*/ 2147483646 w 27"/>
                    <a:gd name="T23" fmla="*/ 2147483646 h 47"/>
                    <a:gd name="T24" fmla="*/ 2147483646 w 27"/>
                    <a:gd name="T25" fmla="*/ 2147483646 h 47"/>
                    <a:gd name="T26" fmla="*/ 2147483646 w 27"/>
                    <a:gd name="T27" fmla="*/ 2147483646 h 47"/>
                    <a:gd name="T28" fmla="*/ 2147483646 w 27"/>
                    <a:gd name="T29" fmla="*/ 2147483646 h 47"/>
                    <a:gd name="T30" fmla="*/ 2147483646 w 27"/>
                    <a:gd name="T31" fmla="*/ 2147483646 h 47"/>
                    <a:gd name="T32" fmla="*/ 2147483646 w 27"/>
                    <a:gd name="T33" fmla="*/ 2147483646 h 47"/>
                    <a:gd name="T34" fmla="*/ 2147483646 w 27"/>
                    <a:gd name="T35" fmla="*/ 2147483646 h 47"/>
                    <a:gd name="T36" fmla="*/ 2147483646 w 27"/>
                    <a:gd name="T37" fmla="*/ 2147483646 h 47"/>
                    <a:gd name="T38" fmla="*/ 2147483646 w 27"/>
                    <a:gd name="T39" fmla="*/ 2147483646 h 47"/>
                    <a:gd name="T40" fmla="*/ 2147483646 w 27"/>
                    <a:gd name="T41" fmla="*/ 2147483646 h 47"/>
                    <a:gd name="T42" fmla="*/ 2147483646 w 27"/>
                    <a:gd name="T43" fmla="*/ 2147483646 h 47"/>
                    <a:gd name="T44" fmla="*/ 2147483646 w 27"/>
                    <a:gd name="T45" fmla="*/ 2147483646 h 47"/>
                    <a:gd name="T46" fmla="*/ 2147483646 w 27"/>
                    <a:gd name="T47" fmla="*/ 0 h 47"/>
                    <a:gd name="T48" fmla="*/ 2147483646 w 27"/>
                    <a:gd name="T49" fmla="*/ 0 h 47"/>
                    <a:gd name="T50" fmla="*/ 2147483646 w 27"/>
                    <a:gd name="T51" fmla="*/ 0 h 47"/>
                    <a:gd name="T52" fmla="*/ 2147483646 w 27"/>
                    <a:gd name="T53" fmla="*/ 2147483646 h 47"/>
                    <a:gd name="T54" fmla="*/ 2147483646 w 27"/>
                    <a:gd name="T55" fmla="*/ 2147483646 h 47"/>
                    <a:gd name="T56" fmla="*/ 0 w 27"/>
                    <a:gd name="T57" fmla="*/ 2147483646 h 47"/>
                    <a:gd name="T58" fmla="*/ 0 w 27"/>
                    <a:gd name="T59" fmla="*/ 2147483646 h 47"/>
                    <a:gd name="T60" fmla="*/ 2147483646 w 27"/>
                    <a:gd name="T61" fmla="*/ 2147483646 h 47"/>
                    <a:gd name="T62" fmla="*/ 2147483646 w 27"/>
                    <a:gd name="T63" fmla="*/ 2147483646 h 47"/>
                    <a:gd name="T64" fmla="*/ 2147483646 w 27"/>
                    <a:gd name="T65" fmla="*/ 2147483646 h 47"/>
                    <a:gd name="T66" fmla="*/ 2147483646 w 27"/>
                    <a:gd name="T67" fmla="*/ 2147483646 h 47"/>
                    <a:gd name="T68" fmla="*/ 2147483646 w 27"/>
                    <a:gd name="T69" fmla="*/ 2147483646 h 47"/>
                    <a:gd name="T70" fmla="*/ 2147483646 w 27"/>
                    <a:gd name="T71" fmla="*/ 2147483646 h 47"/>
                    <a:gd name="T72" fmla="*/ 2147483646 w 27"/>
                    <a:gd name="T73" fmla="*/ 2147483646 h 47"/>
                    <a:gd name="T74" fmla="*/ 2147483646 w 27"/>
                    <a:gd name="T75" fmla="*/ 2147483646 h 47"/>
                    <a:gd name="T76" fmla="*/ 2147483646 w 27"/>
                    <a:gd name="T77" fmla="*/ 2147483646 h 47"/>
                    <a:gd name="T78" fmla="*/ 2147483646 w 27"/>
                    <a:gd name="T79" fmla="*/ 2147483646 h 47"/>
                    <a:gd name="T80" fmla="*/ 2147483646 w 27"/>
                    <a:gd name="T81" fmla="*/ 2147483646 h 47"/>
                    <a:gd name="T82" fmla="*/ 2147483646 w 27"/>
                    <a:gd name="T83" fmla="*/ 2147483646 h 47"/>
                    <a:gd name="T84" fmla="*/ 2147483646 w 27"/>
                    <a:gd name="T85" fmla="*/ 2147483646 h 47"/>
                    <a:gd name="T86" fmla="*/ 2147483646 w 27"/>
                    <a:gd name="T87" fmla="*/ 2147483646 h 47"/>
                    <a:gd name="T88" fmla="*/ 2147483646 w 27"/>
                    <a:gd name="T89" fmla="*/ 2147483646 h 47"/>
                    <a:gd name="T90" fmla="*/ 2147483646 w 27"/>
                    <a:gd name="T91" fmla="*/ 2147483646 h 4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7"/>
                    <a:gd name="T139" fmla="*/ 0 h 47"/>
                    <a:gd name="T140" fmla="*/ 27 w 27"/>
                    <a:gd name="T141" fmla="*/ 47 h 4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7" h="47">
                      <a:moveTo>
                        <a:pt x="22" y="11"/>
                      </a:moveTo>
                      <a:lnTo>
                        <a:pt x="21" y="10"/>
                      </a:lnTo>
                      <a:lnTo>
                        <a:pt x="18" y="9"/>
                      </a:lnTo>
                      <a:lnTo>
                        <a:pt x="17" y="9"/>
                      </a:lnTo>
                      <a:lnTo>
                        <a:pt x="15" y="10"/>
                      </a:lnTo>
                      <a:lnTo>
                        <a:pt x="14" y="11"/>
                      </a:lnTo>
                      <a:lnTo>
                        <a:pt x="14" y="13"/>
                      </a:lnTo>
                      <a:lnTo>
                        <a:pt x="14" y="15"/>
                      </a:lnTo>
                      <a:lnTo>
                        <a:pt x="15" y="16"/>
                      </a:lnTo>
                      <a:lnTo>
                        <a:pt x="18" y="21"/>
                      </a:lnTo>
                      <a:lnTo>
                        <a:pt x="18" y="26"/>
                      </a:lnTo>
                      <a:lnTo>
                        <a:pt x="16" y="32"/>
                      </a:lnTo>
                      <a:lnTo>
                        <a:pt x="13" y="37"/>
                      </a:lnTo>
                      <a:lnTo>
                        <a:pt x="10" y="38"/>
                      </a:lnTo>
                      <a:lnTo>
                        <a:pt x="8" y="35"/>
                      </a:lnTo>
                      <a:lnTo>
                        <a:pt x="8" y="28"/>
                      </a:lnTo>
                      <a:lnTo>
                        <a:pt x="9" y="20"/>
                      </a:lnTo>
                      <a:lnTo>
                        <a:pt x="12" y="14"/>
                      </a:lnTo>
                      <a:lnTo>
                        <a:pt x="16" y="8"/>
                      </a:lnTo>
                      <a:lnTo>
                        <a:pt x="17" y="6"/>
                      </a:lnTo>
                      <a:lnTo>
                        <a:pt x="18" y="5"/>
                      </a:lnTo>
                      <a:lnTo>
                        <a:pt x="17" y="2"/>
                      </a:lnTo>
                      <a:lnTo>
                        <a:pt x="16" y="1"/>
                      </a:lnTo>
                      <a:lnTo>
                        <a:pt x="15" y="0"/>
                      </a:lnTo>
                      <a:lnTo>
                        <a:pt x="14" y="0"/>
                      </a:lnTo>
                      <a:lnTo>
                        <a:pt x="12" y="0"/>
                      </a:lnTo>
                      <a:lnTo>
                        <a:pt x="10" y="1"/>
                      </a:lnTo>
                      <a:lnTo>
                        <a:pt x="3" y="9"/>
                      </a:lnTo>
                      <a:lnTo>
                        <a:pt x="0" y="20"/>
                      </a:lnTo>
                      <a:lnTo>
                        <a:pt x="0" y="30"/>
                      </a:lnTo>
                      <a:lnTo>
                        <a:pt x="2" y="41"/>
                      </a:lnTo>
                      <a:lnTo>
                        <a:pt x="3" y="44"/>
                      </a:lnTo>
                      <a:lnTo>
                        <a:pt x="3" y="45"/>
                      </a:lnTo>
                      <a:lnTo>
                        <a:pt x="5" y="45"/>
                      </a:lnTo>
                      <a:lnTo>
                        <a:pt x="5" y="46"/>
                      </a:lnTo>
                      <a:lnTo>
                        <a:pt x="6" y="46"/>
                      </a:lnTo>
                      <a:lnTo>
                        <a:pt x="8" y="47"/>
                      </a:lnTo>
                      <a:lnTo>
                        <a:pt x="9" y="47"/>
                      </a:lnTo>
                      <a:lnTo>
                        <a:pt x="10" y="47"/>
                      </a:lnTo>
                      <a:lnTo>
                        <a:pt x="12" y="47"/>
                      </a:lnTo>
                      <a:lnTo>
                        <a:pt x="15" y="46"/>
                      </a:lnTo>
                      <a:lnTo>
                        <a:pt x="22" y="39"/>
                      </a:lnTo>
                      <a:lnTo>
                        <a:pt x="27" y="30"/>
                      </a:lnTo>
                      <a:lnTo>
                        <a:pt x="27" y="21"/>
                      </a:lnTo>
                      <a:lnTo>
                        <a:pt x="22"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87294" name="그룹 885">
                <a:extLst>
                  <a:ext uri="{FF2B5EF4-FFF2-40B4-BE49-F238E27FC236}">
                    <a16:creationId xmlns:a16="http://schemas.microsoft.com/office/drawing/2014/main" id="{4EC0189D-34D3-4728-8CEE-2840E7BF34E6}"/>
                  </a:ext>
                </a:extLst>
              </p:cNvPr>
              <p:cNvGrpSpPr>
                <a:grpSpLocks/>
              </p:cNvGrpSpPr>
              <p:nvPr/>
            </p:nvGrpSpPr>
            <p:grpSpPr bwMode="auto">
              <a:xfrm>
                <a:off x="6565404" y="1959212"/>
                <a:ext cx="110528" cy="96343"/>
                <a:chOff x="3071802" y="3703640"/>
                <a:chExt cx="625475" cy="425762"/>
              </a:xfrm>
            </p:grpSpPr>
            <p:sp>
              <p:nvSpPr>
                <p:cNvPr id="87295" name="Freeform 473">
                  <a:extLst>
                    <a:ext uri="{FF2B5EF4-FFF2-40B4-BE49-F238E27FC236}">
                      <a16:creationId xmlns:a16="http://schemas.microsoft.com/office/drawing/2014/main" id="{0AE7D8F9-1048-4E12-B5BC-E03E2CC9B094}"/>
                    </a:ext>
                  </a:extLst>
                </p:cNvPr>
                <p:cNvSpPr>
                  <a:spLocks/>
                </p:cNvSpPr>
                <p:nvPr/>
              </p:nvSpPr>
              <p:spPr bwMode="auto">
                <a:xfrm>
                  <a:off x="3419464" y="3783015"/>
                  <a:ext cx="26988" cy="28575"/>
                </a:xfrm>
                <a:custGeom>
                  <a:avLst/>
                  <a:gdLst>
                    <a:gd name="T0" fmla="*/ 2147483646 w 36"/>
                    <a:gd name="T1" fmla="*/ 2147483646 h 36"/>
                    <a:gd name="T2" fmla="*/ 2147483646 w 36"/>
                    <a:gd name="T3" fmla="*/ 2147483646 h 36"/>
                    <a:gd name="T4" fmla="*/ 2147483646 w 36"/>
                    <a:gd name="T5" fmla="*/ 2147483646 h 36"/>
                    <a:gd name="T6" fmla="*/ 2147483646 w 36"/>
                    <a:gd name="T7" fmla="*/ 2147483646 h 36"/>
                    <a:gd name="T8" fmla="*/ 2147483646 w 36"/>
                    <a:gd name="T9" fmla="*/ 2147483646 h 36"/>
                    <a:gd name="T10" fmla="*/ 2147483646 w 36"/>
                    <a:gd name="T11" fmla="*/ 2147483646 h 36"/>
                    <a:gd name="T12" fmla="*/ 2147483646 w 36"/>
                    <a:gd name="T13" fmla="*/ 2147483646 h 36"/>
                    <a:gd name="T14" fmla="*/ 2147483646 w 36"/>
                    <a:gd name="T15" fmla="*/ 2147483646 h 36"/>
                    <a:gd name="T16" fmla="*/ 2147483646 w 36"/>
                    <a:gd name="T17" fmla="*/ 0 h 36"/>
                    <a:gd name="T18" fmla="*/ 2147483646 w 36"/>
                    <a:gd name="T19" fmla="*/ 2147483646 h 36"/>
                    <a:gd name="T20" fmla="*/ 2147483646 w 36"/>
                    <a:gd name="T21" fmla="*/ 2147483646 h 36"/>
                    <a:gd name="T22" fmla="*/ 2147483646 w 36"/>
                    <a:gd name="T23" fmla="*/ 2147483646 h 36"/>
                    <a:gd name="T24" fmla="*/ 0 w 36"/>
                    <a:gd name="T25" fmla="*/ 2147483646 h 36"/>
                    <a:gd name="T26" fmla="*/ 2147483646 w 36"/>
                    <a:gd name="T27" fmla="*/ 2147483646 h 36"/>
                    <a:gd name="T28" fmla="*/ 2147483646 w 36"/>
                    <a:gd name="T29" fmla="*/ 2147483646 h 36"/>
                    <a:gd name="T30" fmla="*/ 2147483646 w 36"/>
                    <a:gd name="T31" fmla="*/ 2147483646 h 36"/>
                    <a:gd name="T32" fmla="*/ 2147483646 w 36"/>
                    <a:gd name="T33" fmla="*/ 214748364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6"/>
                    <a:gd name="T53" fmla="*/ 36 w 36"/>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6">
                      <a:moveTo>
                        <a:pt x="17" y="36"/>
                      </a:moveTo>
                      <a:lnTo>
                        <a:pt x="24" y="34"/>
                      </a:lnTo>
                      <a:lnTo>
                        <a:pt x="30" y="30"/>
                      </a:lnTo>
                      <a:lnTo>
                        <a:pt x="35" y="24"/>
                      </a:lnTo>
                      <a:lnTo>
                        <a:pt x="36" y="17"/>
                      </a:lnTo>
                      <a:lnTo>
                        <a:pt x="35" y="10"/>
                      </a:lnTo>
                      <a:lnTo>
                        <a:pt x="30" y="4"/>
                      </a:lnTo>
                      <a:lnTo>
                        <a:pt x="24" y="1"/>
                      </a:lnTo>
                      <a:lnTo>
                        <a:pt x="17" y="0"/>
                      </a:lnTo>
                      <a:lnTo>
                        <a:pt x="11" y="1"/>
                      </a:lnTo>
                      <a:lnTo>
                        <a:pt x="6" y="4"/>
                      </a:lnTo>
                      <a:lnTo>
                        <a:pt x="1" y="10"/>
                      </a:lnTo>
                      <a:lnTo>
                        <a:pt x="0" y="17"/>
                      </a:lnTo>
                      <a:lnTo>
                        <a:pt x="1" y="24"/>
                      </a:lnTo>
                      <a:lnTo>
                        <a:pt x="6" y="30"/>
                      </a:lnTo>
                      <a:lnTo>
                        <a:pt x="11" y="34"/>
                      </a:lnTo>
                      <a:lnTo>
                        <a:pt x="17" y="36"/>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96" name="Freeform 474">
                  <a:extLst>
                    <a:ext uri="{FF2B5EF4-FFF2-40B4-BE49-F238E27FC236}">
                      <a16:creationId xmlns:a16="http://schemas.microsoft.com/office/drawing/2014/main" id="{E0E03151-0EFB-4264-B9BA-404719307AA8}"/>
                    </a:ext>
                  </a:extLst>
                </p:cNvPr>
                <p:cNvSpPr>
                  <a:spLocks/>
                </p:cNvSpPr>
                <p:nvPr/>
              </p:nvSpPr>
              <p:spPr bwMode="auto">
                <a:xfrm>
                  <a:off x="3335327" y="3706815"/>
                  <a:ext cx="28575" cy="28575"/>
                </a:xfrm>
                <a:custGeom>
                  <a:avLst/>
                  <a:gdLst>
                    <a:gd name="T0" fmla="*/ 2147483646 w 36"/>
                    <a:gd name="T1" fmla="*/ 2147483646 h 36"/>
                    <a:gd name="T2" fmla="*/ 2147483646 w 36"/>
                    <a:gd name="T3" fmla="*/ 2147483646 h 36"/>
                    <a:gd name="T4" fmla="*/ 2147483646 w 36"/>
                    <a:gd name="T5" fmla="*/ 2147483646 h 36"/>
                    <a:gd name="T6" fmla="*/ 2147483646 w 36"/>
                    <a:gd name="T7" fmla="*/ 2147483646 h 36"/>
                    <a:gd name="T8" fmla="*/ 2147483646 w 36"/>
                    <a:gd name="T9" fmla="*/ 2147483646 h 36"/>
                    <a:gd name="T10" fmla="*/ 2147483646 w 36"/>
                    <a:gd name="T11" fmla="*/ 2147483646 h 36"/>
                    <a:gd name="T12" fmla="*/ 2147483646 w 36"/>
                    <a:gd name="T13" fmla="*/ 2147483646 h 36"/>
                    <a:gd name="T14" fmla="*/ 2147483646 w 36"/>
                    <a:gd name="T15" fmla="*/ 2147483646 h 36"/>
                    <a:gd name="T16" fmla="*/ 2147483646 w 36"/>
                    <a:gd name="T17" fmla="*/ 0 h 36"/>
                    <a:gd name="T18" fmla="*/ 2147483646 w 36"/>
                    <a:gd name="T19" fmla="*/ 2147483646 h 36"/>
                    <a:gd name="T20" fmla="*/ 2147483646 w 36"/>
                    <a:gd name="T21" fmla="*/ 2147483646 h 36"/>
                    <a:gd name="T22" fmla="*/ 2147483646 w 36"/>
                    <a:gd name="T23" fmla="*/ 2147483646 h 36"/>
                    <a:gd name="T24" fmla="*/ 0 w 36"/>
                    <a:gd name="T25" fmla="*/ 2147483646 h 36"/>
                    <a:gd name="T26" fmla="*/ 2147483646 w 36"/>
                    <a:gd name="T27" fmla="*/ 2147483646 h 36"/>
                    <a:gd name="T28" fmla="*/ 2147483646 w 36"/>
                    <a:gd name="T29" fmla="*/ 2147483646 h 36"/>
                    <a:gd name="T30" fmla="*/ 2147483646 w 36"/>
                    <a:gd name="T31" fmla="*/ 2147483646 h 36"/>
                    <a:gd name="T32" fmla="*/ 2147483646 w 36"/>
                    <a:gd name="T33" fmla="*/ 214748364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6"/>
                    <a:gd name="T53" fmla="*/ 36 w 36"/>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6">
                      <a:moveTo>
                        <a:pt x="18" y="36"/>
                      </a:moveTo>
                      <a:lnTo>
                        <a:pt x="25" y="35"/>
                      </a:lnTo>
                      <a:lnTo>
                        <a:pt x="30" y="30"/>
                      </a:lnTo>
                      <a:lnTo>
                        <a:pt x="35" y="24"/>
                      </a:lnTo>
                      <a:lnTo>
                        <a:pt x="36" y="17"/>
                      </a:lnTo>
                      <a:lnTo>
                        <a:pt x="35" y="11"/>
                      </a:lnTo>
                      <a:lnTo>
                        <a:pt x="30" y="5"/>
                      </a:lnTo>
                      <a:lnTo>
                        <a:pt x="25" y="1"/>
                      </a:lnTo>
                      <a:lnTo>
                        <a:pt x="18" y="0"/>
                      </a:lnTo>
                      <a:lnTo>
                        <a:pt x="11" y="1"/>
                      </a:lnTo>
                      <a:lnTo>
                        <a:pt x="6" y="5"/>
                      </a:lnTo>
                      <a:lnTo>
                        <a:pt x="1" y="11"/>
                      </a:lnTo>
                      <a:lnTo>
                        <a:pt x="0" y="17"/>
                      </a:lnTo>
                      <a:lnTo>
                        <a:pt x="1" y="24"/>
                      </a:lnTo>
                      <a:lnTo>
                        <a:pt x="6" y="30"/>
                      </a:lnTo>
                      <a:lnTo>
                        <a:pt x="11" y="35"/>
                      </a:lnTo>
                      <a:lnTo>
                        <a:pt x="18" y="36"/>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97" name="Freeform 478">
                  <a:extLst>
                    <a:ext uri="{FF2B5EF4-FFF2-40B4-BE49-F238E27FC236}">
                      <a16:creationId xmlns:a16="http://schemas.microsoft.com/office/drawing/2014/main" id="{A3652995-B6DA-4314-9338-9CA76F77E961}"/>
                    </a:ext>
                  </a:extLst>
                </p:cNvPr>
                <p:cNvSpPr>
                  <a:spLocks/>
                </p:cNvSpPr>
                <p:nvPr/>
              </p:nvSpPr>
              <p:spPr bwMode="auto">
                <a:xfrm>
                  <a:off x="3643302" y="3759202"/>
                  <a:ext cx="28575" cy="28575"/>
                </a:xfrm>
                <a:custGeom>
                  <a:avLst/>
                  <a:gdLst>
                    <a:gd name="T0" fmla="*/ 2147483646 w 36"/>
                    <a:gd name="T1" fmla="*/ 2147483646 h 36"/>
                    <a:gd name="T2" fmla="*/ 2147483646 w 36"/>
                    <a:gd name="T3" fmla="*/ 2147483646 h 36"/>
                    <a:gd name="T4" fmla="*/ 2147483646 w 36"/>
                    <a:gd name="T5" fmla="*/ 2147483646 h 36"/>
                    <a:gd name="T6" fmla="*/ 2147483646 w 36"/>
                    <a:gd name="T7" fmla="*/ 2147483646 h 36"/>
                    <a:gd name="T8" fmla="*/ 2147483646 w 36"/>
                    <a:gd name="T9" fmla="*/ 2147483646 h 36"/>
                    <a:gd name="T10" fmla="*/ 2147483646 w 36"/>
                    <a:gd name="T11" fmla="*/ 2147483646 h 36"/>
                    <a:gd name="T12" fmla="*/ 2147483646 w 36"/>
                    <a:gd name="T13" fmla="*/ 2147483646 h 36"/>
                    <a:gd name="T14" fmla="*/ 2147483646 w 36"/>
                    <a:gd name="T15" fmla="*/ 2147483646 h 36"/>
                    <a:gd name="T16" fmla="*/ 2147483646 w 36"/>
                    <a:gd name="T17" fmla="*/ 0 h 36"/>
                    <a:gd name="T18" fmla="*/ 2147483646 w 36"/>
                    <a:gd name="T19" fmla="*/ 2147483646 h 36"/>
                    <a:gd name="T20" fmla="*/ 2147483646 w 36"/>
                    <a:gd name="T21" fmla="*/ 2147483646 h 36"/>
                    <a:gd name="T22" fmla="*/ 2147483646 w 36"/>
                    <a:gd name="T23" fmla="*/ 2147483646 h 36"/>
                    <a:gd name="T24" fmla="*/ 0 w 36"/>
                    <a:gd name="T25" fmla="*/ 2147483646 h 36"/>
                    <a:gd name="T26" fmla="*/ 2147483646 w 36"/>
                    <a:gd name="T27" fmla="*/ 2147483646 h 36"/>
                    <a:gd name="T28" fmla="*/ 2147483646 w 36"/>
                    <a:gd name="T29" fmla="*/ 2147483646 h 36"/>
                    <a:gd name="T30" fmla="*/ 2147483646 w 36"/>
                    <a:gd name="T31" fmla="*/ 2147483646 h 36"/>
                    <a:gd name="T32" fmla="*/ 2147483646 w 36"/>
                    <a:gd name="T33" fmla="*/ 214748364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6"/>
                    <a:gd name="T53" fmla="*/ 36 w 36"/>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6">
                      <a:moveTo>
                        <a:pt x="18" y="36"/>
                      </a:moveTo>
                      <a:lnTo>
                        <a:pt x="25" y="34"/>
                      </a:lnTo>
                      <a:lnTo>
                        <a:pt x="30" y="30"/>
                      </a:lnTo>
                      <a:lnTo>
                        <a:pt x="35" y="24"/>
                      </a:lnTo>
                      <a:lnTo>
                        <a:pt x="36" y="17"/>
                      </a:lnTo>
                      <a:lnTo>
                        <a:pt x="35" y="10"/>
                      </a:lnTo>
                      <a:lnTo>
                        <a:pt x="30" y="4"/>
                      </a:lnTo>
                      <a:lnTo>
                        <a:pt x="25" y="1"/>
                      </a:lnTo>
                      <a:lnTo>
                        <a:pt x="18" y="0"/>
                      </a:lnTo>
                      <a:lnTo>
                        <a:pt x="11" y="1"/>
                      </a:lnTo>
                      <a:lnTo>
                        <a:pt x="6" y="4"/>
                      </a:lnTo>
                      <a:lnTo>
                        <a:pt x="2" y="10"/>
                      </a:lnTo>
                      <a:lnTo>
                        <a:pt x="0" y="17"/>
                      </a:lnTo>
                      <a:lnTo>
                        <a:pt x="2" y="24"/>
                      </a:lnTo>
                      <a:lnTo>
                        <a:pt x="6" y="30"/>
                      </a:lnTo>
                      <a:lnTo>
                        <a:pt x="11" y="34"/>
                      </a:lnTo>
                      <a:lnTo>
                        <a:pt x="18" y="36"/>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98" name="Freeform 480">
                  <a:extLst>
                    <a:ext uri="{FF2B5EF4-FFF2-40B4-BE49-F238E27FC236}">
                      <a16:creationId xmlns:a16="http://schemas.microsoft.com/office/drawing/2014/main" id="{68D2FE70-2131-4F90-B308-294EC3B1164D}"/>
                    </a:ext>
                  </a:extLst>
                </p:cNvPr>
                <p:cNvSpPr>
                  <a:spLocks/>
                </p:cNvSpPr>
                <p:nvPr/>
              </p:nvSpPr>
              <p:spPr bwMode="auto">
                <a:xfrm>
                  <a:off x="3581389" y="3814765"/>
                  <a:ext cx="26988" cy="28575"/>
                </a:xfrm>
                <a:custGeom>
                  <a:avLst/>
                  <a:gdLst>
                    <a:gd name="T0" fmla="*/ 2147483646 w 36"/>
                    <a:gd name="T1" fmla="*/ 2147483646 h 36"/>
                    <a:gd name="T2" fmla="*/ 2147483646 w 36"/>
                    <a:gd name="T3" fmla="*/ 2147483646 h 36"/>
                    <a:gd name="T4" fmla="*/ 2147483646 w 36"/>
                    <a:gd name="T5" fmla="*/ 2147483646 h 36"/>
                    <a:gd name="T6" fmla="*/ 2147483646 w 36"/>
                    <a:gd name="T7" fmla="*/ 2147483646 h 36"/>
                    <a:gd name="T8" fmla="*/ 2147483646 w 36"/>
                    <a:gd name="T9" fmla="*/ 2147483646 h 36"/>
                    <a:gd name="T10" fmla="*/ 2147483646 w 36"/>
                    <a:gd name="T11" fmla="*/ 2147483646 h 36"/>
                    <a:gd name="T12" fmla="*/ 2147483646 w 36"/>
                    <a:gd name="T13" fmla="*/ 2147483646 h 36"/>
                    <a:gd name="T14" fmla="*/ 2147483646 w 36"/>
                    <a:gd name="T15" fmla="*/ 2147483646 h 36"/>
                    <a:gd name="T16" fmla="*/ 2147483646 w 36"/>
                    <a:gd name="T17" fmla="*/ 0 h 36"/>
                    <a:gd name="T18" fmla="*/ 2147483646 w 36"/>
                    <a:gd name="T19" fmla="*/ 2147483646 h 36"/>
                    <a:gd name="T20" fmla="*/ 2147483646 w 36"/>
                    <a:gd name="T21" fmla="*/ 2147483646 h 36"/>
                    <a:gd name="T22" fmla="*/ 2147483646 w 36"/>
                    <a:gd name="T23" fmla="*/ 2147483646 h 36"/>
                    <a:gd name="T24" fmla="*/ 0 w 36"/>
                    <a:gd name="T25" fmla="*/ 2147483646 h 36"/>
                    <a:gd name="T26" fmla="*/ 2147483646 w 36"/>
                    <a:gd name="T27" fmla="*/ 2147483646 h 36"/>
                    <a:gd name="T28" fmla="*/ 2147483646 w 36"/>
                    <a:gd name="T29" fmla="*/ 2147483646 h 36"/>
                    <a:gd name="T30" fmla="*/ 2147483646 w 36"/>
                    <a:gd name="T31" fmla="*/ 2147483646 h 36"/>
                    <a:gd name="T32" fmla="*/ 2147483646 w 36"/>
                    <a:gd name="T33" fmla="*/ 214748364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6"/>
                    <a:gd name="T53" fmla="*/ 36 w 36"/>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6">
                      <a:moveTo>
                        <a:pt x="18" y="36"/>
                      </a:moveTo>
                      <a:lnTo>
                        <a:pt x="25" y="35"/>
                      </a:lnTo>
                      <a:lnTo>
                        <a:pt x="31" y="30"/>
                      </a:lnTo>
                      <a:lnTo>
                        <a:pt x="35" y="24"/>
                      </a:lnTo>
                      <a:lnTo>
                        <a:pt x="36" y="17"/>
                      </a:lnTo>
                      <a:lnTo>
                        <a:pt x="35" y="11"/>
                      </a:lnTo>
                      <a:lnTo>
                        <a:pt x="31" y="5"/>
                      </a:lnTo>
                      <a:lnTo>
                        <a:pt x="25" y="1"/>
                      </a:lnTo>
                      <a:lnTo>
                        <a:pt x="18" y="0"/>
                      </a:lnTo>
                      <a:lnTo>
                        <a:pt x="12" y="1"/>
                      </a:lnTo>
                      <a:lnTo>
                        <a:pt x="6" y="5"/>
                      </a:lnTo>
                      <a:lnTo>
                        <a:pt x="1" y="11"/>
                      </a:lnTo>
                      <a:lnTo>
                        <a:pt x="0" y="17"/>
                      </a:lnTo>
                      <a:lnTo>
                        <a:pt x="1" y="24"/>
                      </a:lnTo>
                      <a:lnTo>
                        <a:pt x="6" y="30"/>
                      </a:lnTo>
                      <a:lnTo>
                        <a:pt x="12" y="35"/>
                      </a:lnTo>
                      <a:lnTo>
                        <a:pt x="18" y="36"/>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99" name="Freeform 481">
                  <a:extLst>
                    <a:ext uri="{FF2B5EF4-FFF2-40B4-BE49-F238E27FC236}">
                      <a16:creationId xmlns:a16="http://schemas.microsoft.com/office/drawing/2014/main" id="{5D5FA43C-DA87-4E4C-AF41-76CE6A5E4D2D}"/>
                    </a:ext>
                  </a:extLst>
                </p:cNvPr>
                <p:cNvSpPr>
                  <a:spLocks/>
                </p:cNvSpPr>
                <p:nvPr/>
              </p:nvSpPr>
              <p:spPr bwMode="auto">
                <a:xfrm>
                  <a:off x="3651239" y="3857627"/>
                  <a:ext cx="28575" cy="26988"/>
                </a:xfrm>
                <a:custGeom>
                  <a:avLst/>
                  <a:gdLst>
                    <a:gd name="T0" fmla="*/ 2147483646 w 36"/>
                    <a:gd name="T1" fmla="*/ 2147483646 h 36"/>
                    <a:gd name="T2" fmla="*/ 2147483646 w 36"/>
                    <a:gd name="T3" fmla="*/ 2147483646 h 36"/>
                    <a:gd name="T4" fmla="*/ 2147483646 w 36"/>
                    <a:gd name="T5" fmla="*/ 2147483646 h 36"/>
                    <a:gd name="T6" fmla="*/ 2147483646 w 36"/>
                    <a:gd name="T7" fmla="*/ 2147483646 h 36"/>
                    <a:gd name="T8" fmla="*/ 2147483646 w 36"/>
                    <a:gd name="T9" fmla="*/ 2147483646 h 36"/>
                    <a:gd name="T10" fmla="*/ 2147483646 w 36"/>
                    <a:gd name="T11" fmla="*/ 2147483646 h 36"/>
                    <a:gd name="T12" fmla="*/ 2147483646 w 36"/>
                    <a:gd name="T13" fmla="*/ 2147483646 h 36"/>
                    <a:gd name="T14" fmla="*/ 2147483646 w 36"/>
                    <a:gd name="T15" fmla="*/ 2147483646 h 36"/>
                    <a:gd name="T16" fmla="*/ 2147483646 w 36"/>
                    <a:gd name="T17" fmla="*/ 0 h 36"/>
                    <a:gd name="T18" fmla="*/ 2147483646 w 36"/>
                    <a:gd name="T19" fmla="*/ 2147483646 h 36"/>
                    <a:gd name="T20" fmla="*/ 2147483646 w 36"/>
                    <a:gd name="T21" fmla="*/ 2147483646 h 36"/>
                    <a:gd name="T22" fmla="*/ 2147483646 w 36"/>
                    <a:gd name="T23" fmla="*/ 2147483646 h 36"/>
                    <a:gd name="T24" fmla="*/ 0 w 36"/>
                    <a:gd name="T25" fmla="*/ 2147483646 h 36"/>
                    <a:gd name="T26" fmla="*/ 2147483646 w 36"/>
                    <a:gd name="T27" fmla="*/ 2147483646 h 36"/>
                    <a:gd name="T28" fmla="*/ 2147483646 w 36"/>
                    <a:gd name="T29" fmla="*/ 2147483646 h 36"/>
                    <a:gd name="T30" fmla="*/ 2147483646 w 36"/>
                    <a:gd name="T31" fmla="*/ 2147483646 h 36"/>
                    <a:gd name="T32" fmla="*/ 2147483646 w 36"/>
                    <a:gd name="T33" fmla="*/ 214748364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6"/>
                    <a:gd name="T53" fmla="*/ 36 w 36"/>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6">
                      <a:moveTo>
                        <a:pt x="17" y="36"/>
                      </a:moveTo>
                      <a:lnTo>
                        <a:pt x="24" y="35"/>
                      </a:lnTo>
                      <a:lnTo>
                        <a:pt x="30" y="30"/>
                      </a:lnTo>
                      <a:lnTo>
                        <a:pt x="34" y="25"/>
                      </a:lnTo>
                      <a:lnTo>
                        <a:pt x="36" y="19"/>
                      </a:lnTo>
                      <a:lnTo>
                        <a:pt x="34" y="12"/>
                      </a:lnTo>
                      <a:lnTo>
                        <a:pt x="30" y="6"/>
                      </a:lnTo>
                      <a:lnTo>
                        <a:pt x="24" y="1"/>
                      </a:lnTo>
                      <a:lnTo>
                        <a:pt x="17" y="0"/>
                      </a:lnTo>
                      <a:lnTo>
                        <a:pt x="10" y="1"/>
                      </a:lnTo>
                      <a:lnTo>
                        <a:pt x="6" y="6"/>
                      </a:lnTo>
                      <a:lnTo>
                        <a:pt x="1" y="12"/>
                      </a:lnTo>
                      <a:lnTo>
                        <a:pt x="0" y="19"/>
                      </a:lnTo>
                      <a:lnTo>
                        <a:pt x="1" y="25"/>
                      </a:lnTo>
                      <a:lnTo>
                        <a:pt x="6" y="30"/>
                      </a:lnTo>
                      <a:lnTo>
                        <a:pt x="10" y="35"/>
                      </a:lnTo>
                      <a:lnTo>
                        <a:pt x="17" y="36"/>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00" name="Freeform 487">
                  <a:extLst>
                    <a:ext uri="{FF2B5EF4-FFF2-40B4-BE49-F238E27FC236}">
                      <a16:creationId xmlns:a16="http://schemas.microsoft.com/office/drawing/2014/main" id="{DEEB949B-B46A-41DD-AF4B-D0A56834BD50}"/>
                    </a:ext>
                  </a:extLst>
                </p:cNvPr>
                <p:cNvSpPr>
                  <a:spLocks/>
                </p:cNvSpPr>
                <p:nvPr/>
              </p:nvSpPr>
              <p:spPr bwMode="auto">
                <a:xfrm>
                  <a:off x="3668702" y="3989390"/>
                  <a:ext cx="28575" cy="26988"/>
                </a:xfrm>
                <a:custGeom>
                  <a:avLst/>
                  <a:gdLst>
                    <a:gd name="T0" fmla="*/ 2147483646 w 34"/>
                    <a:gd name="T1" fmla="*/ 2147483646 h 35"/>
                    <a:gd name="T2" fmla="*/ 2147483646 w 34"/>
                    <a:gd name="T3" fmla="*/ 2147483646 h 35"/>
                    <a:gd name="T4" fmla="*/ 2147483646 w 34"/>
                    <a:gd name="T5" fmla="*/ 2147483646 h 35"/>
                    <a:gd name="T6" fmla="*/ 2147483646 w 34"/>
                    <a:gd name="T7" fmla="*/ 2147483646 h 35"/>
                    <a:gd name="T8" fmla="*/ 2147483646 w 34"/>
                    <a:gd name="T9" fmla="*/ 2147483646 h 35"/>
                    <a:gd name="T10" fmla="*/ 2147483646 w 34"/>
                    <a:gd name="T11" fmla="*/ 2147483646 h 35"/>
                    <a:gd name="T12" fmla="*/ 2147483646 w 34"/>
                    <a:gd name="T13" fmla="*/ 2147483646 h 35"/>
                    <a:gd name="T14" fmla="*/ 2147483646 w 34"/>
                    <a:gd name="T15" fmla="*/ 2147483646 h 35"/>
                    <a:gd name="T16" fmla="*/ 2147483646 w 34"/>
                    <a:gd name="T17" fmla="*/ 0 h 35"/>
                    <a:gd name="T18" fmla="*/ 2147483646 w 34"/>
                    <a:gd name="T19" fmla="*/ 2147483646 h 35"/>
                    <a:gd name="T20" fmla="*/ 2147483646 w 34"/>
                    <a:gd name="T21" fmla="*/ 2147483646 h 35"/>
                    <a:gd name="T22" fmla="*/ 2147483646 w 34"/>
                    <a:gd name="T23" fmla="*/ 2147483646 h 35"/>
                    <a:gd name="T24" fmla="*/ 0 w 34"/>
                    <a:gd name="T25" fmla="*/ 2147483646 h 35"/>
                    <a:gd name="T26" fmla="*/ 2147483646 w 34"/>
                    <a:gd name="T27" fmla="*/ 2147483646 h 35"/>
                    <a:gd name="T28" fmla="*/ 2147483646 w 34"/>
                    <a:gd name="T29" fmla="*/ 2147483646 h 35"/>
                    <a:gd name="T30" fmla="*/ 2147483646 w 34"/>
                    <a:gd name="T31" fmla="*/ 2147483646 h 35"/>
                    <a:gd name="T32" fmla="*/ 2147483646 w 34"/>
                    <a:gd name="T33" fmla="*/ 2147483646 h 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35"/>
                    <a:gd name="T53" fmla="*/ 34 w 34"/>
                    <a:gd name="T54" fmla="*/ 35 h 3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35">
                      <a:moveTo>
                        <a:pt x="17" y="35"/>
                      </a:moveTo>
                      <a:lnTo>
                        <a:pt x="24" y="34"/>
                      </a:lnTo>
                      <a:lnTo>
                        <a:pt x="30" y="30"/>
                      </a:lnTo>
                      <a:lnTo>
                        <a:pt x="33" y="24"/>
                      </a:lnTo>
                      <a:lnTo>
                        <a:pt x="34" y="18"/>
                      </a:lnTo>
                      <a:lnTo>
                        <a:pt x="33" y="11"/>
                      </a:lnTo>
                      <a:lnTo>
                        <a:pt x="30" y="5"/>
                      </a:lnTo>
                      <a:lnTo>
                        <a:pt x="24" y="1"/>
                      </a:lnTo>
                      <a:lnTo>
                        <a:pt x="17" y="0"/>
                      </a:lnTo>
                      <a:lnTo>
                        <a:pt x="10" y="1"/>
                      </a:lnTo>
                      <a:lnTo>
                        <a:pt x="4" y="5"/>
                      </a:lnTo>
                      <a:lnTo>
                        <a:pt x="1" y="11"/>
                      </a:lnTo>
                      <a:lnTo>
                        <a:pt x="0" y="18"/>
                      </a:lnTo>
                      <a:lnTo>
                        <a:pt x="1" y="24"/>
                      </a:lnTo>
                      <a:lnTo>
                        <a:pt x="4" y="30"/>
                      </a:lnTo>
                      <a:lnTo>
                        <a:pt x="10" y="34"/>
                      </a:lnTo>
                      <a:lnTo>
                        <a:pt x="17" y="35"/>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01" name="Freeform 488">
                  <a:extLst>
                    <a:ext uri="{FF2B5EF4-FFF2-40B4-BE49-F238E27FC236}">
                      <a16:creationId xmlns:a16="http://schemas.microsoft.com/office/drawing/2014/main" id="{DA0F825A-1BEE-4D0E-AA39-6D6D9C626E4A}"/>
                    </a:ext>
                  </a:extLst>
                </p:cNvPr>
                <p:cNvSpPr>
                  <a:spLocks/>
                </p:cNvSpPr>
                <p:nvPr/>
              </p:nvSpPr>
              <p:spPr bwMode="auto">
                <a:xfrm>
                  <a:off x="3568689" y="3990977"/>
                  <a:ext cx="28575" cy="28575"/>
                </a:xfrm>
                <a:custGeom>
                  <a:avLst/>
                  <a:gdLst>
                    <a:gd name="T0" fmla="*/ 2147483646 w 36"/>
                    <a:gd name="T1" fmla="*/ 2147483646 h 34"/>
                    <a:gd name="T2" fmla="*/ 2147483646 w 36"/>
                    <a:gd name="T3" fmla="*/ 2147483646 h 34"/>
                    <a:gd name="T4" fmla="*/ 2147483646 w 36"/>
                    <a:gd name="T5" fmla="*/ 2147483646 h 34"/>
                    <a:gd name="T6" fmla="*/ 2147483646 w 36"/>
                    <a:gd name="T7" fmla="*/ 2147483646 h 34"/>
                    <a:gd name="T8" fmla="*/ 2147483646 w 36"/>
                    <a:gd name="T9" fmla="*/ 2147483646 h 34"/>
                    <a:gd name="T10" fmla="*/ 2147483646 w 36"/>
                    <a:gd name="T11" fmla="*/ 2147483646 h 34"/>
                    <a:gd name="T12" fmla="*/ 2147483646 w 36"/>
                    <a:gd name="T13" fmla="*/ 2147483646 h 34"/>
                    <a:gd name="T14" fmla="*/ 2147483646 w 36"/>
                    <a:gd name="T15" fmla="*/ 2147483646 h 34"/>
                    <a:gd name="T16" fmla="*/ 2147483646 w 36"/>
                    <a:gd name="T17" fmla="*/ 0 h 34"/>
                    <a:gd name="T18" fmla="*/ 2147483646 w 36"/>
                    <a:gd name="T19" fmla="*/ 2147483646 h 34"/>
                    <a:gd name="T20" fmla="*/ 2147483646 w 36"/>
                    <a:gd name="T21" fmla="*/ 2147483646 h 34"/>
                    <a:gd name="T22" fmla="*/ 2147483646 w 36"/>
                    <a:gd name="T23" fmla="*/ 2147483646 h 34"/>
                    <a:gd name="T24" fmla="*/ 0 w 36"/>
                    <a:gd name="T25" fmla="*/ 2147483646 h 34"/>
                    <a:gd name="T26" fmla="*/ 2147483646 w 36"/>
                    <a:gd name="T27" fmla="*/ 2147483646 h 34"/>
                    <a:gd name="T28" fmla="*/ 2147483646 w 36"/>
                    <a:gd name="T29" fmla="*/ 2147483646 h 34"/>
                    <a:gd name="T30" fmla="*/ 2147483646 w 36"/>
                    <a:gd name="T31" fmla="*/ 2147483646 h 34"/>
                    <a:gd name="T32" fmla="*/ 2147483646 w 36"/>
                    <a:gd name="T33" fmla="*/ 2147483646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4"/>
                    <a:gd name="T53" fmla="*/ 36 w 36"/>
                    <a:gd name="T54" fmla="*/ 34 h 3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4">
                      <a:moveTo>
                        <a:pt x="19" y="34"/>
                      </a:moveTo>
                      <a:lnTo>
                        <a:pt x="25" y="33"/>
                      </a:lnTo>
                      <a:lnTo>
                        <a:pt x="31" y="28"/>
                      </a:lnTo>
                      <a:lnTo>
                        <a:pt x="35" y="24"/>
                      </a:lnTo>
                      <a:lnTo>
                        <a:pt x="36" y="17"/>
                      </a:lnTo>
                      <a:lnTo>
                        <a:pt x="35" y="10"/>
                      </a:lnTo>
                      <a:lnTo>
                        <a:pt x="31" y="4"/>
                      </a:lnTo>
                      <a:lnTo>
                        <a:pt x="25" y="1"/>
                      </a:lnTo>
                      <a:lnTo>
                        <a:pt x="19" y="0"/>
                      </a:lnTo>
                      <a:lnTo>
                        <a:pt x="12" y="1"/>
                      </a:lnTo>
                      <a:lnTo>
                        <a:pt x="6" y="4"/>
                      </a:lnTo>
                      <a:lnTo>
                        <a:pt x="1" y="10"/>
                      </a:lnTo>
                      <a:lnTo>
                        <a:pt x="0" y="17"/>
                      </a:lnTo>
                      <a:lnTo>
                        <a:pt x="1" y="24"/>
                      </a:lnTo>
                      <a:lnTo>
                        <a:pt x="6" y="28"/>
                      </a:lnTo>
                      <a:lnTo>
                        <a:pt x="12" y="33"/>
                      </a:lnTo>
                      <a:lnTo>
                        <a:pt x="19" y="34"/>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02" name="Freeform 489">
                  <a:extLst>
                    <a:ext uri="{FF2B5EF4-FFF2-40B4-BE49-F238E27FC236}">
                      <a16:creationId xmlns:a16="http://schemas.microsoft.com/office/drawing/2014/main" id="{E7B3A42C-1EF1-40A9-BDEB-F344C0E2BF44}"/>
                    </a:ext>
                  </a:extLst>
                </p:cNvPr>
                <p:cNvSpPr>
                  <a:spLocks/>
                </p:cNvSpPr>
                <p:nvPr/>
              </p:nvSpPr>
              <p:spPr bwMode="auto">
                <a:xfrm>
                  <a:off x="3460739" y="3997327"/>
                  <a:ext cx="26988" cy="28575"/>
                </a:xfrm>
                <a:custGeom>
                  <a:avLst/>
                  <a:gdLst>
                    <a:gd name="T0" fmla="*/ 2147483646 w 36"/>
                    <a:gd name="T1" fmla="*/ 2147483646 h 35"/>
                    <a:gd name="T2" fmla="*/ 2147483646 w 36"/>
                    <a:gd name="T3" fmla="*/ 2147483646 h 35"/>
                    <a:gd name="T4" fmla="*/ 2147483646 w 36"/>
                    <a:gd name="T5" fmla="*/ 2147483646 h 35"/>
                    <a:gd name="T6" fmla="*/ 2147483646 w 36"/>
                    <a:gd name="T7" fmla="*/ 2147483646 h 35"/>
                    <a:gd name="T8" fmla="*/ 2147483646 w 36"/>
                    <a:gd name="T9" fmla="*/ 2147483646 h 35"/>
                    <a:gd name="T10" fmla="*/ 2147483646 w 36"/>
                    <a:gd name="T11" fmla="*/ 2147483646 h 35"/>
                    <a:gd name="T12" fmla="*/ 2147483646 w 36"/>
                    <a:gd name="T13" fmla="*/ 2147483646 h 35"/>
                    <a:gd name="T14" fmla="*/ 2147483646 w 36"/>
                    <a:gd name="T15" fmla="*/ 2147483646 h 35"/>
                    <a:gd name="T16" fmla="*/ 2147483646 w 36"/>
                    <a:gd name="T17" fmla="*/ 0 h 35"/>
                    <a:gd name="T18" fmla="*/ 2147483646 w 36"/>
                    <a:gd name="T19" fmla="*/ 2147483646 h 35"/>
                    <a:gd name="T20" fmla="*/ 2147483646 w 36"/>
                    <a:gd name="T21" fmla="*/ 2147483646 h 35"/>
                    <a:gd name="T22" fmla="*/ 2147483646 w 36"/>
                    <a:gd name="T23" fmla="*/ 2147483646 h 35"/>
                    <a:gd name="T24" fmla="*/ 0 w 36"/>
                    <a:gd name="T25" fmla="*/ 2147483646 h 35"/>
                    <a:gd name="T26" fmla="*/ 2147483646 w 36"/>
                    <a:gd name="T27" fmla="*/ 2147483646 h 35"/>
                    <a:gd name="T28" fmla="*/ 2147483646 w 36"/>
                    <a:gd name="T29" fmla="*/ 2147483646 h 35"/>
                    <a:gd name="T30" fmla="*/ 2147483646 w 36"/>
                    <a:gd name="T31" fmla="*/ 2147483646 h 35"/>
                    <a:gd name="T32" fmla="*/ 2147483646 w 36"/>
                    <a:gd name="T33" fmla="*/ 2147483646 h 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5"/>
                    <a:gd name="T53" fmla="*/ 36 w 36"/>
                    <a:gd name="T54" fmla="*/ 35 h 3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5">
                      <a:moveTo>
                        <a:pt x="17" y="35"/>
                      </a:moveTo>
                      <a:lnTo>
                        <a:pt x="24" y="34"/>
                      </a:lnTo>
                      <a:lnTo>
                        <a:pt x="30" y="30"/>
                      </a:lnTo>
                      <a:lnTo>
                        <a:pt x="35" y="24"/>
                      </a:lnTo>
                      <a:lnTo>
                        <a:pt x="36" y="17"/>
                      </a:lnTo>
                      <a:lnTo>
                        <a:pt x="35" y="10"/>
                      </a:lnTo>
                      <a:lnTo>
                        <a:pt x="30" y="4"/>
                      </a:lnTo>
                      <a:lnTo>
                        <a:pt x="24" y="1"/>
                      </a:lnTo>
                      <a:lnTo>
                        <a:pt x="17" y="0"/>
                      </a:lnTo>
                      <a:lnTo>
                        <a:pt x="10" y="1"/>
                      </a:lnTo>
                      <a:lnTo>
                        <a:pt x="6" y="4"/>
                      </a:lnTo>
                      <a:lnTo>
                        <a:pt x="1" y="10"/>
                      </a:lnTo>
                      <a:lnTo>
                        <a:pt x="0" y="17"/>
                      </a:lnTo>
                      <a:lnTo>
                        <a:pt x="1" y="24"/>
                      </a:lnTo>
                      <a:lnTo>
                        <a:pt x="6" y="30"/>
                      </a:lnTo>
                      <a:lnTo>
                        <a:pt x="10" y="34"/>
                      </a:lnTo>
                      <a:lnTo>
                        <a:pt x="17" y="35"/>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03" name="Freeform 490">
                  <a:extLst>
                    <a:ext uri="{FF2B5EF4-FFF2-40B4-BE49-F238E27FC236}">
                      <a16:creationId xmlns:a16="http://schemas.microsoft.com/office/drawing/2014/main" id="{8B8FF672-F1EE-4A77-9077-1FA60B36FCDE}"/>
                    </a:ext>
                  </a:extLst>
                </p:cNvPr>
                <p:cNvSpPr>
                  <a:spLocks/>
                </p:cNvSpPr>
                <p:nvPr/>
              </p:nvSpPr>
              <p:spPr bwMode="auto">
                <a:xfrm>
                  <a:off x="3392477" y="4019552"/>
                  <a:ext cx="26988" cy="26988"/>
                </a:xfrm>
                <a:custGeom>
                  <a:avLst/>
                  <a:gdLst>
                    <a:gd name="T0" fmla="*/ 2147483646 w 34"/>
                    <a:gd name="T1" fmla="*/ 2147483646 h 36"/>
                    <a:gd name="T2" fmla="*/ 2147483646 w 34"/>
                    <a:gd name="T3" fmla="*/ 2147483646 h 36"/>
                    <a:gd name="T4" fmla="*/ 2147483646 w 34"/>
                    <a:gd name="T5" fmla="*/ 2147483646 h 36"/>
                    <a:gd name="T6" fmla="*/ 2147483646 w 34"/>
                    <a:gd name="T7" fmla="*/ 2147483646 h 36"/>
                    <a:gd name="T8" fmla="*/ 2147483646 w 34"/>
                    <a:gd name="T9" fmla="*/ 2147483646 h 36"/>
                    <a:gd name="T10" fmla="*/ 2147483646 w 34"/>
                    <a:gd name="T11" fmla="*/ 2147483646 h 36"/>
                    <a:gd name="T12" fmla="*/ 2147483646 w 34"/>
                    <a:gd name="T13" fmla="*/ 2147483646 h 36"/>
                    <a:gd name="T14" fmla="*/ 2147483646 w 34"/>
                    <a:gd name="T15" fmla="*/ 2147483646 h 36"/>
                    <a:gd name="T16" fmla="*/ 2147483646 w 34"/>
                    <a:gd name="T17" fmla="*/ 0 h 36"/>
                    <a:gd name="T18" fmla="*/ 2147483646 w 34"/>
                    <a:gd name="T19" fmla="*/ 2147483646 h 36"/>
                    <a:gd name="T20" fmla="*/ 2147483646 w 34"/>
                    <a:gd name="T21" fmla="*/ 2147483646 h 36"/>
                    <a:gd name="T22" fmla="*/ 2147483646 w 34"/>
                    <a:gd name="T23" fmla="*/ 2147483646 h 36"/>
                    <a:gd name="T24" fmla="*/ 0 w 34"/>
                    <a:gd name="T25" fmla="*/ 2147483646 h 36"/>
                    <a:gd name="T26" fmla="*/ 2147483646 w 34"/>
                    <a:gd name="T27" fmla="*/ 2147483646 h 36"/>
                    <a:gd name="T28" fmla="*/ 2147483646 w 34"/>
                    <a:gd name="T29" fmla="*/ 2147483646 h 36"/>
                    <a:gd name="T30" fmla="*/ 2147483646 w 34"/>
                    <a:gd name="T31" fmla="*/ 2147483646 h 36"/>
                    <a:gd name="T32" fmla="*/ 2147483646 w 34"/>
                    <a:gd name="T33" fmla="*/ 214748364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36"/>
                    <a:gd name="T53" fmla="*/ 34 w 34"/>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36">
                      <a:moveTo>
                        <a:pt x="17" y="36"/>
                      </a:moveTo>
                      <a:lnTo>
                        <a:pt x="24" y="35"/>
                      </a:lnTo>
                      <a:lnTo>
                        <a:pt x="30" y="30"/>
                      </a:lnTo>
                      <a:lnTo>
                        <a:pt x="33" y="24"/>
                      </a:lnTo>
                      <a:lnTo>
                        <a:pt x="34" y="17"/>
                      </a:lnTo>
                      <a:lnTo>
                        <a:pt x="33" y="10"/>
                      </a:lnTo>
                      <a:lnTo>
                        <a:pt x="30" y="5"/>
                      </a:lnTo>
                      <a:lnTo>
                        <a:pt x="24" y="1"/>
                      </a:lnTo>
                      <a:lnTo>
                        <a:pt x="17" y="0"/>
                      </a:lnTo>
                      <a:lnTo>
                        <a:pt x="10" y="1"/>
                      </a:lnTo>
                      <a:lnTo>
                        <a:pt x="4" y="5"/>
                      </a:lnTo>
                      <a:lnTo>
                        <a:pt x="1" y="10"/>
                      </a:lnTo>
                      <a:lnTo>
                        <a:pt x="0" y="17"/>
                      </a:lnTo>
                      <a:lnTo>
                        <a:pt x="1" y="24"/>
                      </a:lnTo>
                      <a:lnTo>
                        <a:pt x="4" y="30"/>
                      </a:lnTo>
                      <a:lnTo>
                        <a:pt x="10" y="35"/>
                      </a:lnTo>
                      <a:lnTo>
                        <a:pt x="17" y="36"/>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04" name="Freeform 491">
                  <a:extLst>
                    <a:ext uri="{FF2B5EF4-FFF2-40B4-BE49-F238E27FC236}">
                      <a16:creationId xmlns:a16="http://schemas.microsoft.com/office/drawing/2014/main" id="{31337A8F-DDF4-45D7-8EE7-FFA1EEE2195C}"/>
                    </a:ext>
                  </a:extLst>
                </p:cNvPr>
                <p:cNvSpPr>
                  <a:spLocks/>
                </p:cNvSpPr>
                <p:nvPr/>
              </p:nvSpPr>
              <p:spPr bwMode="auto">
                <a:xfrm>
                  <a:off x="3624252" y="4052890"/>
                  <a:ext cx="28575" cy="28575"/>
                </a:xfrm>
                <a:custGeom>
                  <a:avLst/>
                  <a:gdLst>
                    <a:gd name="T0" fmla="*/ 2147483646 w 36"/>
                    <a:gd name="T1" fmla="*/ 2147483646 h 36"/>
                    <a:gd name="T2" fmla="*/ 2147483646 w 36"/>
                    <a:gd name="T3" fmla="*/ 2147483646 h 36"/>
                    <a:gd name="T4" fmla="*/ 2147483646 w 36"/>
                    <a:gd name="T5" fmla="*/ 2147483646 h 36"/>
                    <a:gd name="T6" fmla="*/ 2147483646 w 36"/>
                    <a:gd name="T7" fmla="*/ 2147483646 h 36"/>
                    <a:gd name="T8" fmla="*/ 2147483646 w 36"/>
                    <a:gd name="T9" fmla="*/ 2147483646 h 36"/>
                    <a:gd name="T10" fmla="*/ 2147483646 w 36"/>
                    <a:gd name="T11" fmla="*/ 2147483646 h 36"/>
                    <a:gd name="T12" fmla="*/ 2147483646 w 36"/>
                    <a:gd name="T13" fmla="*/ 2147483646 h 36"/>
                    <a:gd name="T14" fmla="*/ 2147483646 w 36"/>
                    <a:gd name="T15" fmla="*/ 2147483646 h 36"/>
                    <a:gd name="T16" fmla="*/ 2147483646 w 36"/>
                    <a:gd name="T17" fmla="*/ 0 h 36"/>
                    <a:gd name="T18" fmla="*/ 2147483646 w 36"/>
                    <a:gd name="T19" fmla="*/ 2147483646 h 36"/>
                    <a:gd name="T20" fmla="*/ 2147483646 w 36"/>
                    <a:gd name="T21" fmla="*/ 2147483646 h 36"/>
                    <a:gd name="T22" fmla="*/ 2147483646 w 36"/>
                    <a:gd name="T23" fmla="*/ 2147483646 h 36"/>
                    <a:gd name="T24" fmla="*/ 0 w 36"/>
                    <a:gd name="T25" fmla="*/ 2147483646 h 36"/>
                    <a:gd name="T26" fmla="*/ 2147483646 w 36"/>
                    <a:gd name="T27" fmla="*/ 2147483646 h 36"/>
                    <a:gd name="T28" fmla="*/ 2147483646 w 36"/>
                    <a:gd name="T29" fmla="*/ 2147483646 h 36"/>
                    <a:gd name="T30" fmla="*/ 2147483646 w 36"/>
                    <a:gd name="T31" fmla="*/ 2147483646 h 36"/>
                    <a:gd name="T32" fmla="*/ 2147483646 w 36"/>
                    <a:gd name="T33" fmla="*/ 214748364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6"/>
                    <a:gd name="T53" fmla="*/ 36 w 36"/>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6">
                      <a:moveTo>
                        <a:pt x="19" y="36"/>
                      </a:moveTo>
                      <a:lnTo>
                        <a:pt x="26" y="34"/>
                      </a:lnTo>
                      <a:lnTo>
                        <a:pt x="31" y="30"/>
                      </a:lnTo>
                      <a:lnTo>
                        <a:pt x="35" y="24"/>
                      </a:lnTo>
                      <a:lnTo>
                        <a:pt x="36" y="17"/>
                      </a:lnTo>
                      <a:lnTo>
                        <a:pt x="35" y="10"/>
                      </a:lnTo>
                      <a:lnTo>
                        <a:pt x="31" y="5"/>
                      </a:lnTo>
                      <a:lnTo>
                        <a:pt x="26" y="1"/>
                      </a:lnTo>
                      <a:lnTo>
                        <a:pt x="19" y="0"/>
                      </a:lnTo>
                      <a:lnTo>
                        <a:pt x="12" y="1"/>
                      </a:lnTo>
                      <a:lnTo>
                        <a:pt x="6" y="5"/>
                      </a:lnTo>
                      <a:lnTo>
                        <a:pt x="2" y="10"/>
                      </a:lnTo>
                      <a:lnTo>
                        <a:pt x="0" y="17"/>
                      </a:lnTo>
                      <a:lnTo>
                        <a:pt x="2" y="24"/>
                      </a:lnTo>
                      <a:lnTo>
                        <a:pt x="6" y="30"/>
                      </a:lnTo>
                      <a:lnTo>
                        <a:pt x="12" y="34"/>
                      </a:lnTo>
                      <a:lnTo>
                        <a:pt x="19" y="36"/>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05" name="Freeform 494">
                  <a:extLst>
                    <a:ext uri="{FF2B5EF4-FFF2-40B4-BE49-F238E27FC236}">
                      <a16:creationId xmlns:a16="http://schemas.microsoft.com/office/drawing/2014/main" id="{EDF9E43A-6B99-43C3-86DD-8F0215610779}"/>
                    </a:ext>
                  </a:extLst>
                </p:cNvPr>
                <p:cNvSpPr>
                  <a:spLocks/>
                </p:cNvSpPr>
                <p:nvPr/>
              </p:nvSpPr>
              <p:spPr bwMode="auto">
                <a:xfrm>
                  <a:off x="3516302" y="4044952"/>
                  <a:ext cx="28575" cy="28575"/>
                </a:xfrm>
                <a:custGeom>
                  <a:avLst/>
                  <a:gdLst>
                    <a:gd name="T0" fmla="*/ 2147483646 w 36"/>
                    <a:gd name="T1" fmla="*/ 2147483646 h 35"/>
                    <a:gd name="T2" fmla="*/ 2147483646 w 36"/>
                    <a:gd name="T3" fmla="*/ 2147483646 h 35"/>
                    <a:gd name="T4" fmla="*/ 2147483646 w 36"/>
                    <a:gd name="T5" fmla="*/ 2147483646 h 35"/>
                    <a:gd name="T6" fmla="*/ 2147483646 w 36"/>
                    <a:gd name="T7" fmla="*/ 2147483646 h 35"/>
                    <a:gd name="T8" fmla="*/ 2147483646 w 36"/>
                    <a:gd name="T9" fmla="*/ 2147483646 h 35"/>
                    <a:gd name="T10" fmla="*/ 2147483646 w 36"/>
                    <a:gd name="T11" fmla="*/ 2147483646 h 35"/>
                    <a:gd name="T12" fmla="*/ 2147483646 w 36"/>
                    <a:gd name="T13" fmla="*/ 2147483646 h 35"/>
                    <a:gd name="T14" fmla="*/ 2147483646 w 36"/>
                    <a:gd name="T15" fmla="*/ 2147483646 h 35"/>
                    <a:gd name="T16" fmla="*/ 2147483646 w 36"/>
                    <a:gd name="T17" fmla="*/ 0 h 35"/>
                    <a:gd name="T18" fmla="*/ 2147483646 w 36"/>
                    <a:gd name="T19" fmla="*/ 2147483646 h 35"/>
                    <a:gd name="T20" fmla="*/ 2147483646 w 36"/>
                    <a:gd name="T21" fmla="*/ 2147483646 h 35"/>
                    <a:gd name="T22" fmla="*/ 2147483646 w 36"/>
                    <a:gd name="T23" fmla="*/ 2147483646 h 35"/>
                    <a:gd name="T24" fmla="*/ 0 w 36"/>
                    <a:gd name="T25" fmla="*/ 2147483646 h 35"/>
                    <a:gd name="T26" fmla="*/ 2147483646 w 36"/>
                    <a:gd name="T27" fmla="*/ 2147483646 h 35"/>
                    <a:gd name="T28" fmla="*/ 2147483646 w 36"/>
                    <a:gd name="T29" fmla="*/ 2147483646 h 35"/>
                    <a:gd name="T30" fmla="*/ 2147483646 w 36"/>
                    <a:gd name="T31" fmla="*/ 2147483646 h 35"/>
                    <a:gd name="T32" fmla="*/ 2147483646 w 36"/>
                    <a:gd name="T33" fmla="*/ 2147483646 h 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5"/>
                    <a:gd name="T53" fmla="*/ 36 w 36"/>
                    <a:gd name="T54" fmla="*/ 35 h 3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5">
                      <a:moveTo>
                        <a:pt x="19" y="35"/>
                      </a:moveTo>
                      <a:lnTo>
                        <a:pt x="26" y="34"/>
                      </a:lnTo>
                      <a:lnTo>
                        <a:pt x="32" y="29"/>
                      </a:lnTo>
                      <a:lnTo>
                        <a:pt x="35" y="25"/>
                      </a:lnTo>
                      <a:lnTo>
                        <a:pt x="36" y="18"/>
                      </a:lnTo>
                      <a:lnTo>
                        <a:pt x="35" y="11"/>
                      </a:lnTo>
                      <a:lnTo>
                        <a:pt x="32" y="5"/>
                      </a:lnTo>
                      <a:lnTo>
                        <a:pt x="26" y="1"/>
                      </a:lnTo>
                      <a:lnTo>
                        <a:pt x="19" y="0"/>
                      </a:lnTo>
                      <a:lnTo>
                        <a:pt x="12" y="1"/>
                      </a:lnTo>
                      <a:lnTo>
                        <a:pt x="6" y="5"/>
                      </a:lnTo>
                      <a:lnTo>
                        <a:pt x="2" y="11"/>
                      </a:lnTo>
                      <a:lnTo>
                        <a:pt x="0" y="18"/>
                      </a:lnTo>
                      <a:lnTo>
                        <a:pt x="2" y="25"/>
                      </a:lnTo>
                      <a:lnTo>
                        <a:pt x="6" y="29"/>
                      </a:lnTo>
                      <a:lnTo>
                        <a:pt x="12" y="34"/>
                      </a:lnTo>
                      <a:lnTo>
                        <a:pt x="19" y="35"/>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06" name="Freeform 497">
                  <a:extLst>
                    <a:ext uri="{FF2B5EF4-FFF2-40B4-BE49-F238E27FC236}">
                      <a16:creationId xmlns:a16="http://schemas.microsoft.com/office/drawing/2014/main" id="{530AD76A-F148-48F5-9A47-6F9B789D2A33}"/>
                    </a:ext>
                  </a:extLst>
                </p:cNvPr>
                <p:cNvSpPr>
                  <a:spLocks/>
                </p:cNvSpPr>
                <p:nvPr/>
              </p:nvSpPr>
              <p:spPr bwMode="auto">
                <a:xfrm>
                  <a:off x="3597264" y="3919540"/>
                  <a:ext cx="28575" cy="28575"/>
                </a:xfrm>
                <a:custGeom>
                  <a:avLst/>
                  <a:gdLst>
                    <a:gd name="T0" fmla="*/ 2147483646 w 36"/>
                    <a:gd name="T1" fmla="*/ 2147483646 h 35"/>
                    <a:gd name="T2" fmla="*/ 2147483646 w 36"/>
                    <a:gd name="T3" fmla="*/ 2147483646 h 35"/>
                    <a:gd name="T4" fmla="*/ 2147483646 w 36"/>
                    <a:gd name="T5" fmla="*/ 2147483646 h 35"/>
                    <a:gd name="T6" fmla="*/ 2147483646 w 36"/>
                    <a:gd name="T7" fmla="*/ 2147483646 h 35"/>
                    <a:gd name="T8" fmla="*/ 2147483646 w 36"/>
                    <a:gd name="T9" fmla="*/ 2147483646 h 35"/>
                    <a:gd name="T10" fmla="*/ 2147483646 w 36"/>
                    <a:gd name="T11" fmla="*/ 2147483646 h 35"/>
                    <a:gd name="T12" fmla="*/ 2147483646 w 36"/>
                    <a:gd name="T13" fmla="*/ 2147483646 h 35"/>
                    <a:gd name="T14" fmla="*/ 2147483646 w 36"/>
                    <a:gd name="T15" fmla="*/ 2147483646 h 35"/>
                    <a:gd name="T16" fmla="*/ 2147483646 w 36"/>
                    <a:gd name="T17" fmla="*/ 0 h 35"/>
                    <a:gd name="T18" fmla="*/ 2147483646 w 36"/>
                    <a:gd name="T19" fmla="*/ 2147483646 h 35"/>
                    <a:gd name="T20" fmla="*/ 2147483646 w 36"/>
                    <a:gd name="T21" fmla="*/ 2147483646 h 35"/>
                    <a:gd name="T22" fmla="*/ 2147483646 w 36"/>
                    <a:gd name="T23" fmla="*/ 2147483646 h 35"/>
                    <a:gd name="T24" fmla="*/ 0 w 36"/>
                    <a:gd name="T25" fmla="*/ 2147483646 h 35"/>
                    <a:gd name="T26" fmla="*/ 2147483646 w 36"/>
                    <a:gd name="T27" fmla="*/ 2147483646 h 35"/>
                    <a:gd name="T28" fmla="*/ 2147483646 w 36"/>
                    <a:gd name="T29" fmla="*/ 2147483646 h 35"/>
                    <a:gd name="T30" fmla="*/ 2147483646 w 36"/>
                    <a:gd name="T31" fmla="*/ 2147483646 h 35"/>
                    <a:gd name="T32" fmla="*/ 2147483646 w 36"/>
                    <a:gd name="T33" fmla="*/ 2147483646 h 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5"/>
                    <a:gd name="T53" fmla="*/ 36 w 36"/>
                    <a:gd name="T54" fmla="*/ 35 h 3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5">
                      <a:moveTo>
                        <a:pt x="17" y="35"/>
                      </a:moveTo>
                      <a:lnTo>
                        <a:pt x="24" y="34"/>
                      </a:lnTo>
                      <a:lnTo>
                        <a:pt x="30" y="30"/>
                      </a:lnTo>
                      <a:lnTo>
                        <a:pt x="35" y="24"/>
                      </a:lnTo>
                      <a:lnTo>
                        <a:pt x="36" y="17"/>
                      </a:lnTo>
                      <a:lnTo>
                        <a:pt x="35" y="10"/>
                      </a:lnTo>
                      <a:lnTo>
                        <a:pt x="30" y="4"/>
                      </a:lnTo>
                      <a:lnTo>
                        <a:pt x="24" y="1"/>
                      </a:lnTo>
                      <a:lnTo>
                        <a:pt x="17" y="0"/>
                      </a:lnTo>
                      <a:lnTo>
                        <a:pt x="10" y="1"/>
                      </a:lnTo>
                      <a:lnTo>
                        <a:pt x="6" y="4"/>
                      </a:lnTo>
                      <a:lnTo>
                        <a:pt x="1" y="10"/>
                      </a:lnTo>
                      <a:lnTo>
                        <a:pt x="0" y="17"/>
                      </a:lnTo>
                      <a:lnTo>
                        <a:pt x="1" y="24"/>
                      </a:lnTo>
                      <a:lnTo>
                        <a:pt x="6" y="30"/>
                      </a:lnTo>
                      <a:lnTo>
                        <a:pt x="10" y="34"/>
                      </a:lnTo>
                      <a:lnTo>
                        <a:pt x="17" y="35"/>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07" name="Freeform 498">
                  <a:extLst>
                    <a:ext uri="{FF2B5EF4-FFF2-40B4-BE49-F238E27FC236}">
                      <a16:creationId xmlns:a16="http://schemas.microsoft.com/office/drawing/2014/main" id="{3253BBA8-EF26-43B0-891F-13EF7A8385FB}"/>
                    </a:ext>
                  </a:extLst>
                </p:cNvPr>
                <p:cNvSpPr>
                  <a:spLocks/>
                </p:cNvSpPr>
                <p:nvPr/>
              </p:nvSpPr>
              <p:spPr bwMode="auto">
                <a:xfrm>
                  <a:off x="3498839" y="3929065"/>
                  <a:ext cx="28575" cy="26988"/>
                </a:xfrm>
                <a:custGeom>
                  <a:avLst/>
                  <a:gdLst>
                    <a:gd name="T0" fmla="*/ 2147483646 w 35"/>
                    <a:gd name="T1" fmla="*/ 2147483646 h 36"/>
                    <a:gd name="T2" fmla="*/ 2147483646 w 35"/>
                    <a:gd name="T3" fmla="*/ 2147483646 h 36"/>
                    <a:gd name="T4" fmla="*/ 2147483646 w 35"/>
                    <a:gd name="T5" fmla="*/ 2147483646 h 36"/>
                    <a:gd name="T6" fmla="*/ 2147483646 w 35"/>
                    <a:gd name="T7" fmla="*/ 2147483646 h 36"/>
                    <a:gd name="T8" fmla="*/ 2147483646 w 35"/>
                    <a:gd name="T9" fmla="*/ 2147483646 h 36"/>
                    <a:gd name="T10" fmla="*/ 2147483646 w 35"/>
                    <a:gd name="T11" fmla="*/ 2147483646 h 36"/>
                    <a:gd name="T12" fmla="*/ 2147483646 w 35"/>
                    <a:gd name="T13" fmla="*/ 2147483646 h 36"/>
                    <a:gd name="T14" fmla="*/ 2147483646 w 35"/>
                    <a:gd name="T15" fmla="*/ 2147483646 h 36"/>
                    <a:gd name="T16" fmla="*/ 2147483646 w 35"/>
                    <a:gd name="T17" fmla="*/ 0 h 36"/>
                    <a:gd name="T18" fmla="*/ 2147483646 w 35"/>
                    <a:gd name="T19" fmla="*/ 2147483646 h 36"/>
                    <a:gd name="T20" fmla="*/ 2147483646 w 35"/>
                    <a:gd name="T21" fmla="*/ 2147483646 h 36"/>
                    <a:gd name="T22" fmla="*/ 2147483646 w 35"/>
                    <a:gd name="T23" fmla="*/ 2147483646 h 36"/>
                    <a:gd name="T24" fmla="*/ 0 w 35"/>
                    <a:gd name="T25" fmla="*/ 2147483646 h 36"/>
                    <a:gd name="T26" fmla="*/ 2147483646 w 35"/>
                    <a:gd name="T27" fmla="*/ 2147483646 h 36"/>
                    <a:gd name="T28" fmla="*/ 2147483646 w 35"/>
                    <a:gd name="T29" fmla="*/ 2147483646 h 36"/>
                    <a:gd name="T30" fmla="*/ 2147483646 w 35"/>
                    <a:gd name="T31" fmla="*/ 2147483646 h 36"/>
                    <a:gd name="T32" fmla="*/ 2147483646 w 35"/>
                    <a:gd name="T33" fmla="*/ 214748364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36"/>
                    <a:gd name="T53" fmla="*/ 35 w 35"/>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36">
                      <a:moveTo>
                        <a:pt x="18" y="36"/>
                      </a:moveTo>
                      <a:lnTo>
                        <a:pt x="25" y="35"/>
                      </a:lnTo>
                      <a:lnTo>
                        <a:pt x="31" y="30"/>
                      </a:lnTo>
                      <a:lnTo>
                        <a:pt x="34" y="24"/>
                      </a:lnTo>
                      <a:lnTo>
                        <a:pt x="35" y="17"/>
                      </a:lnTo>
                      <a:lnTo>
                        <a:pt x="34" y="10"/>
                      </a:lnTo>
                      <a:lnTo>
                        <a:pt x="31" y="5"/>
                      </a:lnTo>
                      <a:lnTo>
                        <a:pt x="25" y="1"/>
                      </a:lnTo>
                      <a:lnTo>
                        <a:pt x="18" y="0"/>
                      </a:lnTo>
                      <a:lnTo>
                        <a:pt x="11" y="1"/>
                      </a:lnTo>
                      <a:lnTo>
                        <a:pt x="5" y="5"/>
                      </a:lnTo>
                      <a:lnTo>
                        <a:pt x="1" y="10"/>
                      </a:lnTo>
                      <a:lnTo>
                        <a:pt x="0" y="17"/>
                      </a:lnTo>
                      <a:lnTo>
                        <a:pt x="1" y="24"/>
                      </a:lnTo>
                      <a:lnTo>
                        <a:pt x="5" y="30"/>
                      </a:lnTo>
                      <a:lnTo>
                        <a:pt x="11" y="35"/>
                      </a:lnTo>
                      <a:lnTo>
                        <a:pt x="18" y="36"/>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08" name="Freeform 499">
                  <a:extLst>
                    <a:ext uri="{FF2B5EF4-FFF2-40B4-BE49-F238E27FC236}">
                      <a16:creationId xmlns:a16="http://schemas.microsoft.com/office/drawing/2014/main" id="{47F58E0D-5FB5-4628-9EF2-5AD8BE7F64C5}"/>
                    </a:ext>
                  </a:extLst>
                </p:cNvPr>
                <p:cNvSpPr>
                  <a:spLocks/>
                </p:cNvSpPr>
                <p:nvPr/>
              </p:nvSpPr>
              <p:spPr bwMode="auto">
                <a:xfrm>
                  <a:off x="3511539" y="3852865"/>
                  <a:ext cx="28575" cy="28575"/>
                </a:xfrm>
                <a:custGeom>
                  <a:avLst/>
                  <a:gdLst>
                    <a:gd name="T0" fmla="*/ 2147483646 w 35"/>
                    <a:gd name="T1" fmla="*/ 2147483646 h 35"/>
                    <a:gd name="T2" fmla="*/ 2147483646 w 35"/>
                    <a:gd name="T3" fmla="*/ 2147483646 h 35"/>
                    <a:gd name="T4" fmla="*/ 2147483646 w 35"/>
                    <a:gd name="T5" fmla="*/ 2147483646 h 35"/>
                    <a:gd name="T6" fmla="*/ 2147483646 w 35"/>
                    <a:gd name="T7" fmla="*/ 2147483646 h 35"/>
                    <a:gd name="T8" fmla="*/ 2147483646 w 35"/>
                    <a:gd name="T9" fmla="*/ 2147483646 h 35"/>
                    <a:gd name="T10" fmla="*/ 2147483646 w 35"/>
                    <a:gd name="T11" fmla="*/ 2147483646 h 35"/>
                    <a:gd name="T12" fmla="*/ 2147483646 w 35"/>
                    <a:gd name="T13" fmla="*/ 2147483646 h 35"/>
                    <a:gd name="T14" fmla="*/ 2147483646 w 35"/>
                    <a:gd name="T15" fmla="*/ 2147483646 h 35"/>
                    <a:gd name="T16" fmla="*/ 2147483646 w 35"/>
                    <a:gd name="T17" fmla="*/ 0 h 35"/>
                    <a:gd name="T18" fmla="*/ 2147483646 w 35"/>
                    <a:gd name="T19" fmla="*/ 2147483646 h 35"/>
                    <a:gd name="T20" fmla="*/ 2147483646 w 35"/>
                    <a:gd name="T21" fmla="*/ 2147483646 h 35"/>
                    <a:gd name="T22" fmla="*/ 2147483646 w 35"/>
                    <a:gd name="T23" fmla="*/ 2147483646 h 35"/>
                    <a:gd name="T24" fmla="*/ 0 w 35"/>
                    <a:gd name="T25" fmla="*/ 2147483646 h 35"/>
                    <a:gd name="T26" fmla="*/ 2147483646 w 35"/>
                    <a:gd name="T27" fmla="*/ 2147483646 h 35"/>
                    <a:gd name="T28" fmla="*/ 2147483646 w 35"/>
                    <a:gd name="T29" fmla="*/ 2147483646 h 35"/>
                    <a:gd name="T30" fmla="*/ 2147483646 w 35"/>
                    <a:gd name="T31" fmla="*/ 2147483646 h 35"/>
                    <a:gd name="T32" fmla="*/ 2147483646 w 35"/>
                    <a:gd name="T33" fmla="*/ 2147483646 h 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35"/>
                    <a:gd name="T53" fmla="*/ 35 w 35"/>
                    <a:gd name="T54" fmla="*/ 35 h 3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35">
                      <a:moveTo>
                        <a:pt x="17" y="35"/>
                      </a:moveTo>
                      <a:lnTo>
                        <a:pt x="24" y="34"/>
                      </a:lnTo>
                      <a:lnTo>
                        <a:pt x="29" y="29"/>
                      </a:lnTo>
                      <a:lnTo>
                        <a:pt x="34" y="24"/>
                      </a:lnTo>
                      <a:lnTo>
                        <a:pt x="35" y="17"/>
                      </a:lnTo>
                      <a:lnTo>
                        <a:pt x="34" y="10"/>
                      </a:lnTo>
                      <a:lnTo>
                        <a:pt x="29" y="4"/>
                      </a:lnTo>
                      <a:lnTo>
                        <a:pt x="24" y="1"/>
                      </a:lnTo>
                      <a:lnTo>
                        <a:pt x="17" y="0"/>
                      </a:lnTo>
                      <a:lnTo>
                        <a:pt x="10" y="1"/>
                      </a:lnTo>
                      <a:lnTo>
                        <a:pt x="5" y="4"/>
                      </a:lnTo>
                      <a:lnTo>
                        <a:pt x="1" y="10"/>
                      </a:lnTo>
                      <a:lnTo>
                        <a:pt x="0" y="17"/>
                      </a:lnTo>
                      <a:lnTo>
                        <a:pt x="1" y="24"/>
                      </a:lnTo>
                      <a:lnTo>
                        <a:pt x="5" y="29"/>
                      </a:lnTo>
                      <a:lnTo>
                        <a:pt x="10" y="34"/>
                      </a:lnTo>
                      <a:lnTo>
                        <a:pt x="17" y="35"/>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09" name="Freeform 500">
                  <a:extLst>
                    <a:ext uri="{FF2B5EF4-FFF2-40B4-BE49-F238E27FC236}">
                      <a16:creationId xmlns:a16="http://schemas.microsoft.com/office/drawing/2014/main" id="{A316B725-1E66-4441-8B4C-0DD1BD81510A}"/>
                    </a:ext>
                  </a:extLst>
                </p:cNvPr>
                <p:cNvSpPr>
                  <a:spLocks/>
                </p:cNvSpPr>
                <p:nvPr/>
              </p:nvSpPr>
              <p:spPr bwMode="auto">
                <a:xfrm>
                  <a:off x="3578214" y="3708402"/>
                  <a:ext cx="28575" cy="28575"/>
                </a:xfrm>
                <a:custGeom>
                  <a:avLst/>
                  <a:gdLst>
                    <a:gd name="T0" fmla="*/ 2147483646 w 35"/>
                    <a:gd name="T1" fmla="*/ 2147483646 h 36"/>
                    <a:gd name="T2" fmla="*/ 2147483646 w 35"/>
                    <a:gd name="T3" fmla="*/ 2147483646 h 36"/>
                    <a:gd name="T4" fmla="*/ 2147483646 w 35"/>
                    <a:gd name="T5" fmla="*/ 2147483646 h 36"/>
                    <a:gd name="T6" fmla="*/ 2147483646 w 35"/>
                    <a:gd name="T7" fmla="*/ 2147483646 h 36"/>
                    <a:gd name="T8" fmla="*/ 2147483646 w 35"/>
                    <a:gd name="T9" fmla="*/ 2147483646 h 36"/>
                    <a:gd name="T10" fmla="*/ 2147483646 w 35"/>
                    <a:gd name="T11" fmla="*/ 2147483646 h 36"/>
                    <a:gd name="T12" fmla="*/ 2147483646 w 35"/>
                    <a:gd name="T13" fmla="*/ 2147483646 h 36"/>
                    <a:gd name="T14" fmla="*/ 2147483646 w 35"/>
                    <a:gd name="T15" fmla="*/ 2147483646 h 36"/>
                    <a:gd name="T16" fmla="*/ 2147483646 w 35"/>
                    <a:gd name="T17" fmla="*/ 0 h 36"/>
                    <a:gd name="T18" fmla="*/ 2147483646 w 35"/>
                    <a:gd name="T19" fmla="*/ 2147483646 h 36"/>
                    <a:gd name="T20" fmla="*/ 2147483646 w 35"/>
                    <a:gd name="T21" fmla="*/ 2147483646 h 36"/>
                    <a:gd name="T22" fmla="*/ 2147483646 w 35"/>
                    <a:gd name="T23" fmla="*/ 2147483646 h 36"/>
                    <a:gd name="T24" fmla="*/ 0 w 35"/>
                    <a:gd name="T25" fmla="*/ 2147483646 h 36"/>
                    <a:gd name="T26" fmla="*/ 2147483646 w 35"/>
                    <a:gd name="T27" fmla="*/ 2147483646 h 36"/>
                    <a:gd name="T28" fmla="*/ 2147483646 w 35"/>
                    <a:gd name="T29" fmla="*/ 2147483646 h 36"/>
                    <a:gd name="T30" fmla="*/ 2147483646 w 35"/>
                    <a:gd name="T31" fmla="*/ 2147483646 h 36"/>
                    <a:gd name="T32" fmla="*/ 2147483646 w 35"/>
                    <a:gd name="T33" fmla="*/ 214748364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36"/>
                    <a:gd name="T53" fmla="*/ 35 w 35"/>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36">
                      <a:moveTo>
                        <a:pt x="18" y="36"/>
                      </a:moveTo>
                      <a:lnTo>
                        <a:pt x="25" y="35"/>
                      </a:lnTo>
                      <a:lnTo>
                        <a:pt x="31" y="30"/>
                      </a:lnTo>
                      <a:lnTo>
                        <a:pt x="34" y="26"/>
                      </a:lnTo>
                      <a:lnTo>
                        <a:pt x="35" y="19"/>
                      </a:lnTo>
                      <a:lnTo>
                        <a:pt x="34" y="12"/>
                      </a:lnTo>
                      <a:lnTo>
                        <a:pt x="31" y="6"/>
                      </a:lnTo>
                      <a:lnTo>
                        <a:pt x="25" y="1"/>
                      </a:lnTo>
                      <a:lnTo>
                        <a:pt x="18" y="0"/>
                      </a:lnTo>
                      <a:lnTo>
                        <a:pt x="11" y="1"/>
                      </a:lnTo>
                      <a:lnTo>
                        <a:pt x="6" y="6"/>
                      </a:lnTo>
                      <a:lnTo>
                        <a:pt x="1" y="12"/>
                      </a:lnTo>
                      <a:lnTo>
                        <a:pt x="0" y="19"/>
                      </a:lnTo>
                      <a:lnTo>
                        <a:pt x="1" y="26"/>
                      </a:lnTo>
                      <a:lnTo>
                        <a:pt x="6" y="30"/>
                      </a:lnTo>
                      <a:lnTo>
                        <a:pt x="11" y="35"/>
                      </a:lnTo>
                      <a:lnTo>
                        <a:pt x="18" y="36"/>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10" name="Freeform 501">
                  <a:extLst>
                    <a:ext uri="{FF2B5EF4-FFF2-40B4-BE49-F238E27FC236}">
                      <a16:creationId xmlns:a16="http://schemas.microsoft.com/office/drawing/2014/main" id="{C8BF670B-1C61-44D7-B583-91782CB99BBD}"/>
                    </a:ext>
                  </a:extLst>
                </p:cNvPr>
                <p:cNvSpPr>
                  <a:spLocks/>
                </p:cNvSpPr>
                <p:nvPr/>
              </p:nvSpPr>
              <p:spPr bwMode="auto">
                <a:xfrm>
                  <a:off x="3516302" y="3756027"/>
                  <a:ext cx="28575" cy="26988"/>
                </a:xfrm>
                <a:custGeom>
                  <a:avLst/>
                  <a:gdLst>
                    <a:gd name="T0" fmla="*/ 2147483646 w 36"/>
                    <a:gd name="T1" fmla="*/ 2147483646 h 36"/>
                    <a:gd name="T2" fmla="*/ 2147483646 w 36"/>
                    <a:gd name="T3" fmla="*/ 2147483646 h 36"/>
                    <a:gd name="T4" fmla="*/ 2147483646 w 36"/>
                    <a:gd name="T5" fmla="*/ 2147483646 h 36"/>
                    <a:gd name="T6" fmla="*/ 2147483646 w 36"/>
                    <a:gd name="T7" fmla="*/ 2147483646 h 36"/>
                    <a:gd name="T8" fmla="*/ 2147483646 w 36"/>
                    <a:gd name="T9" fmla="*/ 2147483646 h 36"/>
                    <a:gd name="T10" fmla="*/ 2147483646 w 36"/>
                    <a:gd name="T11" fmla="*/ 2147483646 h 36"/>
                    <a:gd name="T12" fmla="*/ 2147483646 w 36"/>
                    <a:gd name="T13" fmla="*/ 2147483646 h 36"/>
                    <a:gd name="T14" fmla="*/ 2147483646 w 36"/>
                    <a:gd name="T15" fmla="*/ 2147483646 h 36"/>
                    <a:gd name="T16" fmla="*/ 2147483646 w 36"/>
                    <a:gd name="T17" fmla="*/ 0 h 36"/>
                    <a:gd name="T18" fmla="*/ 2147483646 w 36"/>
                    <a:gd name="T19" fmla="*/ 2147483646 h 36"/>
                    <a:gd name="T20" fmla="*/ 2147483646 w 36"/>
                    <a:gd name="T21" fmla="*/ 2147483646 h 36"/>
                    <a:gd name="T22" fmla="*/ 2147483646 w 36"/>
                    <a:gd name="T23" fmla="*/ 2147483646 h 36"/>
                    <a:gd name="T24" fmla="*/ 0 w 36"/>
                    <a:gd name="T25" fmla="*/ 2147483646 h 36"/>
                    <a:gd name="T26" fmla="*/ 2147483646 w 36"/>
                    <a:gd name="T27" fmla="*/ 2147483646 h 36"/>
                    <a:gd name="T28" fmla="*/ 2147483646 w 36"/>
                    <a:gd name="T29" fmla="*/ 2147483646 h 36"/>
                    <a:gd name="T30" fmla="*/ 2147483646 w 36"/>
                    <a:gd name="T31" fmla="*/ 2147483646 h 36"/>
                    <a:gd name="T32" fmla="*/ 2147483646 w 36"/>
                    <a:gd name="T33" fmla="*/ 214748364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6"/>
                    <a:gd name="T53" fmla="*/ 36 w 36"/>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6">
                      <a:moveTo>
                        <a:pt x="18" y="36"/>
                      </a:moveTo>
                      <a:lnTo>
                        <a:pt x="25" y="35"/>
                      </a:lnTo>
                      <a:lnTo>
                        <a:pt x="30" y="30"/>
                      </a:lnTo>
                      <a:lnTo>
                        <a:pt x="35" y="26"/>
                      </a:lnTo>
                      <a:lnTo>
                        <a:pt x="36" y="19"/>
                      </a:lnTo>
                      <a:lnTo>
                        <a:pt x="35" y="12"/>
                      </a:lnTo>
                      <a:lnTo>
                        <a:pt x="30" y="6"/>
                      </a:lnTo>
                      <a:lnTo>
                        <a:pt x="25" y="1"/>
                      </a:lnTo>
                      <a:lnTo>
                        <a:pt x="18" y="0"/>
                      </a:lnTo>
                      <a:lnTo>
                        <a:pt x="11" y="1"/>
                      </a:lnTo>
                      <a:lnTo>
                        <a:pt x="6" y="6"/>
                      </a:lnTo>
                      <a:lnTo>
                        <a:pt x="2" y="12"/>
                      </a:lnTo>
                      <a:lnTo>
                        <a:pt x="0" y="19"/>
                      </a:lnTo>
                      <a:lnTo>
                        <a:pt x="2" y="26"/>
                      </a:lnTo>
                      <a:lnTo>
                        <a:pt x="6" y="30"/>
                      </a:lnTo>
                      <a:lnTo>
                        <a:pt x="11" y="35"/>
                      </a:lnTo>
                      <a:lnTo>
                        <a:pt x="18" y="36"/>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11" name="Freeform 502">
                  <a:extLst>
                    <a:ext uri="{FF2B5EF4-FFF2-40B4-BE49-F238E27FC236}">
                      <a16:creationId xmlns:a16="http://schemas.microsoft.com/office/drawing/2014/main" id="{4504E8B0-D347-4E4D-9F53-1E3FCE7F6C3C}"/>
                    </a:ext>
                  </a:extLst>
                </p:cNvPr>
                <p:cNvSpPr>
                  <a:spLocks/>
                </p:cNvSpPr>
                <p:nvPr/>
              </p:nvSpPr>
              <p:spPr bwMode="auto">
                <a:xfrm>
                  <a:off x="3441689" y="3711577"/>
                  <a:ext cx="28575" cy="28575"/>
                </a:xfrm>
                <a:custGeom>
                  <a:avLst/>
                  <a:gdLst>
                    <a:gd name="T0" fmla="*/ 2147483646 w 36"/>
                    <a:gd name="T1" fmla="*/ 2147483646 h 36"/>
                    <a:gd name="T2" fmla="*/ 2147483646 w 36"/>
                    <a:gd name="T3" fmla="*/ 2147483646 h 36"/>
                    <a:gd name="T4" fmla="*/ 2147483646 w 36"/>
                    <a:gd name="T5" fmla="*/ 2147483646 h 36"/>
                    <a:gd name="T6" fmla="*/ 2147483646 w 36"/>
                    <a:gd name="T7" fmla="*/ 2147483646 h 36"/>
                    <a:gd name="T8" fmla="*/ 2147483646 w 36"/>
                    <a:gd name="T9" fmla="*/ 2147483646 h 36"/>
                    <a:gd name="T10" fmla="*/ 2147483646 w 36"/>
                    <a:gd name="T11" fmla="*/ 2147483646 h 36"/>
                    <a:gd name="T12" fmla="*/ 2147483646 w 36"/>
                    <a:gd name="T13" fmla="*/ 2147483646 h 36"/>
                    <a:gd name="T14" fmla="*/ 2147483646 w 36"/>
                    <a:gd name="T15" fmla="*/ 2147483646 h 36"/>
                    <a:gd name="T16" fmla="*/ 2147483646 w 36"/>
                    <a:gd name="T17" fmla="*/ 0 h 36"/>
                    <a:gd name="T18" fmla="*/ 2147483646 w 36"/>
                    <a:gd name="T19" fmla="*/ 2147483646 h 36"/>
                    <a:gd name="T20" fmla="*/ 2147483646 w 36"/>
                    <a:gd name="T21" fmla="*/ 2147483646 h 36"/>
                    <a:gd name="T22" fmla="*/ 2147483646 w 36"/>
                    <a:gd name="T23" fmla="*/ 2147483646 h 36"/>
                    <a:gd name="T24" fmla="*/ 0 w 36"/>
                    <a:gd name="T25" fmla="*/ 2147483646 h 36"/>
                    <a:gd name="T26" fmla="*/ 2147483646 w 36"/>
                    <a:gd name="T27" fmla="*/ 2147483646 h 36"/>
                    <a:gd name="T28" fmla="*/ 2147483646 w 36"/>
                    <a:gd name="T29" fmla="*/ 2147483646 h 36"/>
                    <a:gd name="T30" fmla="*/ 2147483646 w 36"/>
                    <a:gd name="T31" fmla="*/ 2147483646 h 36"/>
                    <a:gd name="T32" fmla="*/ 2147483646 w 36"/>
                    <a:gd name="T33" fmla="*/ 214748364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6"/>
                    <a:gd name="T53" fmla="*/ 36 w 36"/>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6">
                      <a:moveTo>
                        <a:pt x="18" y="36"/>
                      </a:moveTo>
                      <a:lnTo>
                        <a:pt x="25" y="34"/>
                      </a:lnTo>
                      <a:lnTo>
                        <a:pt x="31" y="30"/>
                      </a:lnTo>
                      <a:lnTo>
                        <a:pt x="35" y="24"/>
                      </a:lnTo>
                      <a:lnTo>
                        <a:pt x="36" y="17"/>
                      </a:lnTo>
                      <a:lnTo>
                        <a:pt x="35" y="10"/>
                      </a:lnTo>
                      <a:lnTo>
                        <a:pt x="31" y="5"/>
                      </a:lnTo>
                      <a:lnTo>
                        <a:pt x="25" y="1"/>
                      </a:lnTo>
                      <a:lnTo>
                        <a:pt x="18" y="0"/>
                      </a:lnTo>
                      <a:lnTo>
                        <a:pt x="11" y="1"/>
                      </a:lnTo>
                      <a:lnTo>
                        <a:pt x="6" y="5"/>
                      </a:lnTo>
                      <a:lnTo>
                        <a:pt x="1" y="10"/>
                      </a:lnTo>
                      <a:lnTo>
                        <a:pt x="0" y="17"/>
                      </a:lnTo>
                      <a:lnTo>
                        <a:pt x="1" y="24"/>
                      </a:lnTo>
                      <a:lnTo>
                        <a:pt x="6" y="30"/>
                      </a:lnTo>
                      <a:lnTo>
                        <a:pt x="11" y="34"/>
                      </a:lnTo>
                      <a:lnTo>
                        <a:pt x="18" y="36"/>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12" name="Freeform 503">
                  <a:extLst>
                    <a:ext uri="{FF2B5EF4-FFF2-40B4-BE49-F238E27FC236}">
                      <a16:creationId xmlns:a16="http://schemas.microsoft.com/office/drawing/2014/main" id="{92E07B4A-F7E5-4F55-8E1C-3AD210294065}"/>
                    </a:ext>
                  </a:extLst>
                </p:cNvPr>
                <p:cNvSpPr>
                  <a:spLocks/>
                </p:cNvSpPr>
                <p:nvPr/>
              </p:nvSpPr>
              <p:spPr bwMode="auto">
                <a:xfrm>
                  <a:off x="3214677" y="3703640"/>
                  <a:ext cx="26988" cy="28575"/>
                </a:xfrm>
                <a:custGeom>
                  <a:avLst/>
                  <a:gdLst>
                    <a:gd name="T0" fmla="*/ 2147483646 w 35"/>
                    <a:gd name="T1" fmla="*/ 2147483646 h 35"/>
                    <a:gd name="T2" fmla="*/ 2147483646 w 35"/>
                    <a:gd name="T3" fmla="*/ 2147483646 h 35"/>
                    <a:gd name="T4" fmla="*/ 2147483646 w 35"/>
                    <a:gd name="T5" fmla="*/ 2147483646 h 35"/>
                    <a:gd name="T6" fmla="*/ 2147483646 w 35"/>
                    <a:gd name="T7" fmla="*/ 2147483646 h 35"/>
                    <a:gd name="T8" fmla="*/ 2147483646 w 35"/>
                    <a:gd name="T9" fmla="*/ 2147483646 h 35"/>
                    <a:gd name="T10" fmla="*/ 2147483646 w 35"/>
                    <a:gd name="T11" fmla="*/ 2147483646 h 35"/>
                    <a:gd name="T12" fmla="*/ 2147483646 w 35"/>
                    <a:gd name="T13" fmla="*/ 2147483646 h 35"/>
                    <a:gd name="T14" fmla="*/ 2147483646 w 35"/>
                    <a:gd name="T15" fmla="*/ 2147483646 h 35"/>
                    <a:gd name="T16" fmla="*/ 2147483646 w 35"/>
                    <a:gd name="T17" fmla="*/ 0 h 35"/>
                    <a:gd name="T18" fmla="*/ 2147483646 w 35"/>
                    <a:gd name="T19" fmla="*/ 2147483646 h 35"/>
                    <a:gd name="T20" fmla="*/ 2147483646 w 35"/>
                    <a:gd name="T21" fmla="*/ 2147483646 h 35"/>
                    <a:gd name="T22" fmla="*/ 2147483646 w 35"/>
                    <a:gd name="T23" fmla="*/ 2147483646 h 35"/>
                    <a:gd name="T24" fmla="*/ 0 w 35"/>
                    <a:gd name="T25" fmla="*/ 2147483646 h 35"/>
                    <a:gd name="T26" fmla="*/ 2147483646 w 35"/>
                    <a:gd name="T27" fmla="*/ 2147483646 h 35"/>
                    <a:gd name="T28" fmla="*/ 2147483646 w 35"/>
                    <a:gd name="T29" fmla="*/ 2147483646 h 35"/>
                    <a:gd name="T30" fmla="*/ 2147483646 w 35"/>
                    <a:gd name="T31" fmla="*/ 2147483646 h 35"/>
                    <a:gd name="T32" fmla="*/ 2147483646 w 35"/>
                    <a:gd name="T33" fmla="*/ 2147483646 h 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35"/>
                    <a:gd name="T53" fmla="*/ 35 w 35"/>
                    <a:gd name="T54" fmla="*/ 35 h 3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35">
                      <a:moveTo>
                        <a:pt x="17" y="35"/>
                      </a:moveTo>
                      <a:lnTo>
                        <a:pt x="24" y="34"/>
                      </a:lnTo>
                      <a:lnTo>
                        <a:pt x="30" y="30"/>
                      </a:lnTo>
                      <a:lnTo>
                        <a:pt x="34" y="24"/>
                      </a:lnTo>
                      <a:lnTo>
                        <a:pt x="35" y="17"/>
                      </a:lnTo>
                      <a:lnTo>
                        <a:pt x="34" y="10"/>
                      </a:lnTo>
                      <a:lnTo>
                        <a:pt x="30" y="4"/>
                      </a:lnTo>
                      <a:lnTo>
                        <a:pt x="24" y="1"/>
                      </a:lnTo>
                      <a:lnTo>
                        <a:pt x="17" y="0"/>
                      </a:lnTo>
                      <a:lnTo>
                        <a:pt x="10" y="1"/>
                      </a:lnTo>
                      <a:lnTo>
                        <a:pt x="5" y="4"/>
                      </a:lnTo>
                      <a:lnTo>
                        <a:pt x="1" y="10"/>
                      </a:lnTo>
                      <a:lnTo>
                        <a:pt x="0" y="17"/>
                      </a:lnTo>
                      <a:lnTo>
                        <a:pt x="1" y="24"/>
                      </a:lnTo>
                      <a:lnTo>
                        <a:pt x="5" y="30"/>
                      </a:lnTo>
                      <a:lnTo>
                        <a:pt x="10" y="34"/>
                      </a:lnTo>
                      <a:lnTo>
                        <a:pt x="17" y="35"/>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13" name="Freeform 504">
                  <a:extLst>
                    <a:ext uri="{FF2B5EF4-FFF2-40B4-BE49-F238E27FC236}">
                      <a16:creationId xmlns:a16="http://schemas.microsoft.com/office/drawing/2014/main" id="{BA1C4F67-C42E-4E7C-A479-FD9AD25FB3A6}"/>
                    </a:ext>
                  </a:extLst>
                </p:cNvPr>
                <p:cNvSpPr>
                  <a:spLocks/>
                </p:cNvSpPr>
                <p:nvPr/>
              </p:nvSpPr>
              <p:spPr bwMode="auto">
                <a:xfrm>
                  <a:off x="3095614" y="3708402"/>
                  <a:ext cx="28575" cy="28575"/>
                </a:xfrm>
                <a:custGeom>
                  <a:avLst/>
                  <a:gdLst>
                    <a:gd name="T0" fmla="*/ 2147483646 w 36"/>
                    <a:gd name="T1" fmla="*/ 2147483646 h 36"/>
                    <a:gd name="T2" fmla="*/ 2147483646 w 36"/>
                    <a:gd name="T3" fmla="*/ 2147483646 h 36"/>
                    <a:gd name="T4" fmla="*/ 2147483646 w 36"/>
                    <a:gd name="T5" fmla="*/ 2147483646 h 36"/>
                    <a:gd name="T6" fmla="*/ 2147483646 w 36"/>
                    <a:gd name="T7" fmla="*/ 2147483646 h 36"/>
                    <a:gd name="T8" fmla="*/ 2147483646 w 36"/>
                    <a:gd name="T9" fmla="*/ 2147483646 h 36"/>
                    <a:gd name="T10" fmla="*/ 2147483646 w 36"/>
                    <a:gd name="T11" fmla="*/ 2147483646 h 36"/>
                    <a:gd name="T12" fmla="*/ 2147483646 w 36"/>
                    <a:gd name="T13" fmla="*/ 2147483646 h 36"/>
                    <a:gd name="T14" fmla="*/ 2147483646 w 36"/>
                    <a:gd name="T15" fmla="*/ 2147483646 h 36"/>
                    <a:gd name="T16" fmla="*/ 2147483646 w 36"/>
                    <a:gd name="T17" fmla="*/ 0 h 36"/>
                    <a:gd name="T18" fmla="*/ 2147483646 w 36"/>
                    <a:gd name="T19" fmla="*/ 2147483646 h 36"/>
                    <a:gd name="T20" fmla="*/ 2147483646 w 36"/>
                    <a:gd name="T21" fmla="*/ 2147483646 h 36"/>
                    <a:gd name="T22" fmla="*/ 2147483646 w 36"/>
                    <a:gd name="T23" fmla="*/ 2147483646 h 36"/>
                    <a:gd name="T24" fmla="*/ 0 w 36"/>
                    <a:gd name="T25" fmla="*/ 2147483646 h 36"/>
                    <a:gd name="T26" fmla="*/ 2147483646 w 36"/>
                    <a:gd name="T27" fmla="*/ 2147483646 h 36"/>
                    <a:gd name="T28" fmla="*/ 2147483646 w 36"/>
                    <a:gd name="T29" fmla="*/ 2147483646 h 36"/>
                    <a:gd name="T30" fmla="*/ 2147483646 w 36"/>
                    <a:gd name="T31" fmla="*/ 2147483646 h 36"/>
                    <a:gd name="T32" fmla="*/ 2147483646 w 36"/>
                    <a:gd name="T33" fmla="*/ 214748364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6"/>
                    <a:gd name="T53" fmla="*/ 36 w 36"/>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6">
                      <a:moveTo>
                        <a:pt x="19" y="36"/>
                      </a:moveTo>
                      <a:lnTo>
                        <a:pt x="26" y="35"/>
                      </a:lnTo>
                      <a:lnTo>
                        <a:pt x="31" y="30"/>
                      </a:lnTo>
                      <a:lnTo>
                        <a:pt x="35" y="26"/>
                      </a:lnTo>
                      <a:lnTo>
                        <a:pt x="36" y="19"/>
                      </a:lnTo>
                      <a:lnTo>
                        <a:pt x="35" y="12"/>
                      </a:lnTo>
                      <a:lnTo>
                        <a:pt x="31" y="6"/>
                      </a:lnTo>
                      <a:lnTo>
                        <a:pt x="26" y="1"/>
                      </a:lnTo>
                      <a:lnTo>
                        <a:pt x="19" y="0"/>
                      </a:lnTo>
                      <a:lnTo>
                        <a:pt x="12" y="1"/>
                      </a:lnTo>
                      <a:lnTo>
                        <a:pt x="6" y="6"/>
                      </a:lnTo>
                      <a:lnTo>
                        <a:pt x="2" y="12"/>
                      </a:lnTo>
                      <a:lnTo>
                        <a:pt x="0" y="19"/>
                      </a:lnTo>
                      <a:lnTo>
                        <a:pt x="2" y="26"/>
                      </a:lnTo>
                      <a:lnTo>
                        <a:pt x="6" y="30"/>
                      </a:lnTo>
                      <a:lnTo>
                        <a:pt x="12" y="35"/>
                      </a:lnTo>
                      <a:lnTo>
                        <a:pt x="19" y="36"/>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14" name="Freeform 505">
                  <a:extLst>
                    <a:ext uri="{FF2B5EF4-FFF2-40B4-BE49-F238E27FC236}">
                      <a16:creationId xmlns:a16="http://schemas.microsoft.com/office/drawing/2014/main" id="{B75D9136-A128-4DED-B77B-2A9F10B8FA06}"/>
                    </a:ext>
                  </a:extLst>
                </p:cNvPr>
                <p:cNvSpPr>
                  <a:spLocks/>
                </p:cNvSpPr>
                <p:nvPr/>
              </p:nvSpPr>
              <p:spPr bwMode="auto">
                <a:xfrm>
                  <a:off x="3149589" y="3752852"/>
                  <a:ext cx="28575" cy="28575"/>
                </a:xfrm>
                <a:custGeom>
                  <a:avLst/>
                  <a:gdLst>
                    <a:gd name="T0" fmla="*/ 2147483646 w 36"/>
                    <a:gd name="T1" fmla="*/ 2147483646 h 36"/>
                    <a:gd name="T2" fmla="*/ 2147483646 w 36"/>
                    <a:gd name="T3" fmla="*/ 2147483646 h 36"/>
                    <a:gd name="T4" fmla="*/ 2147483646 w 36"/>
                    <a:gd name="T5" fmla="*/ 2147483646 h 36"/>
                    <a:gd name="T6" fmla="*/ 2147483646 w 36"/>
                    <a:gd name="T7" fmla="*/ 2147483646 h 36"/>
                    <a:gd name="T8" fmla="*/ 2147483646 w 36"/>
                    <a:gd name="T9" fmla="*/ 2147483646 h 36"/>
                    <a:gd name="T10" fmla="*/ 2147483646 w 36"/>
                    <a:gd name="T11" fmla="*/ 2147483646 h 36"/>
                    <a:gd name="T12" fmla="*/ 2147483646 w 36"/>
                    <a:gd name="T13" fmla="*/ 2147483646 h 36"/>
                    <a:gd name="T14" fmla="*/ 2147483646 w 36"/>
                    <a:gd name="T15" fmla="*/ 2147483646 h 36"/>
                    <a:gd name="T16" fmla="*/ 2147483646 w 36"/>
                    <a:gd name="T17" fmla="*/ 0 h 36"/>
                    <a:gd name="T18" fmla="*/ 2147483646 w 36"/>
                    <a:gd name="T19" fmla="*/ 2147483646 h 36"/>
                    <a:gd name="T20" fmla="*/ 2147483646 w 36"/>
                    <a:gd name="T21" fmla="*/ 2147483646 h 36"/>
                    <a:gd name="T22" fmla="*/ 2147483646 w 36"/>
                    <a:gd name="T23" fmla="*/ 2147483646 h 36"/>
                    <a:gd name="T24" fmla="*/ 0 w 36"/>
                    <a:gd name="T25" fmla="*/ 2147483646 h 36"/>
                    <a:gd name="T26" fmla="*/ 2147483646 w 36"/>
                    <a:gd name="T27" fmla="*/ 2147483646 h 36"/>
                    <a:gd name="T28" fmla="*/ 2147483646 w 36"/>
                    <a:gd name="T29" fmla="*/ 2147483646 h 36"/>
                    <a:gd name="T30" fmla="*/ 2147483646 w 36"/>
                    <a:gd name="T31" fmla="*/ 2147483646 h 36"/>
                    <a:gd name="T32" fmla="*/ 2147483646 w 36"/>
                    <a:gd name="T33" fmla="*/ 214748364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6"/>
                    <a:gd name="T53" fmla="*/ 36 w 36"/>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6">
                      <a:moveTo>
                        <a:pt x="18" y="36"/>
                      </a:moveTo>
                      <a:lnTo>
                        <a:pt x="25" y="34"/>
                      </a:lnTo>
                      <a:lnTo>
                        <a:pt x="30" y="30"/>
                      </a:lnTo>
                      <a:lnTo>
                        <a:pt x="35" y="25"/>
                      </a:lnTo>
                      <a:lnTo>
                        <a:pt x="36" y="18"/>
                      </a:lnTo>
                      <a:lnTo>
                        <a:pt x="35" y="11"/>
                      </a:lnTo>
                      <a:lnTo>
                        <a:pt x="30" y="6"/>
                      </a:lnTo>
                      <a:lnTo>
                        <a:pt x="25" y="1"/>
                      </a:lnTo>
                      <a:lnTo>
                        <a:pt x="18" y="0"/>
                      </a:lnTo>
                      <a:lnTo>
                        <a:pt x="11" y="1"/>
                      </a:lnTo>
                      <a:lnTo>
                        <a:pt x="6" y="6"/>
                      </a:lnTo>
                      <a:lnTo>
                        <a:pt x="1" y="11"/>
                      </a:lnTo>
                      <a:lnTo>
                        <a:pt x="0" y="18"/>
                      </a:lnTo>
                      <a:lnTo>
                        <a:pt x="1" y="25"/>
                      </a:lnTo>
                      <a:lnTo>
                        <a:pt x="6" y="30"/>
                      </a:lnTo>
                      <a:lnTo>
                        <a:pt x="11" y="34"/>
                      </a:lnTo>
                      <a:lnTo>
                        <a:pt x="18" y="36"/>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15" name="Freeform 506">
                  <a:extLst>
                    <a:ext uri="{FF2B5EF4-FFF2-40B4-BE49-F238E27FC236}">
                      <a16:creationId xmlns:a16="http://schemas.microsoft.com/office/drawing/2014/main" id="{A7F7D25F-09C5-430D-9434-7634B4011EED}"/>
                    </a:ext>
                  </a:extLst>
                </p:cNvPr>
                <p:cNvSpPr>
                  <a:spLocks/>
                </p:cNvSpPr>
                <p:nvPr/>
              </p:nvSpPr>
              <p:spPr bwMode="auto">
                <a:xfrm>
                  <a:off x="3276589" y="3781427"/>
                  <a:ext cx="28575" cy="28575"/>
                </a:xfrm>
                <a:custGeom>
                  <a:avLst/>
                  <a:gdLst>
                    <a:gd name="T0" fmla="*/ 2147483646 w 36"/>
                    <a:gd name="T1" fmla="*/ 2147483646 h 35"/>
                    <a:gd name="T2" fmla="*/ 2147483646 w 36"/>
                    <a:gd name="T3" fmla="*/ 2147483646 h 35"/>
                    <a:gd name="T4" fmla="*/ 2147483646 w 36"/>
                    <a:gd name="T5" fmla="*/ 2147483646 h 35"/>
                    <a:gd name="T6" fmla="*/ 2147483646 w 36"/>
                    <a:gd name="T7" fmla="*/ 2147483646 h 35"/>
                    <a:gd name="T8" fmla="*/ 2147483646 w 36"/>
                    <a:gd name="T9" fmla="*/ 2147483646 h 35"/>
                    <a:gd name="T10" fmla="*/ 2147483646 w 36"/>
                    <a:gd name="T11" fmla="*/ 2147483646 h 35"/>
                    <a:gd name="T12" fmla="*/ 2147483646 w 36"/>
                    <a:gd name="T13" fmla="*/ 2147483646 h 35"/>
                    <a:gd name="T14" fmla="*/ 2147483646 w 36"/>
                    <a:gd name="T15" fmla="*/ 2147483646 h 35"/>
                    <a:gd name="T16" fmla="*/ 2147483646 w 36"/>
                    <a:gd name="T17" fmla="*/ 0 h 35"/>
                    <a:gd name="T18" fmla="*/ 2147483646 w 36"/>
                    <a:gd name="T19" fmla="*/ 2147483646 h 35"/>
                    <a:gd name="T20" fmla="*/ 2147483646 w 36"/>
                    <a:gd name="T21" fmla="*/ 2147483646 h 35"/>
                    <a:gd name="T22" fmla="*/ 2147483646 w 36"/>
                    <a:gd name="T23" fmla="*/ 2147483646 h 35"/>
                    <a:gd name="T24" fmla="*/ 0 w 36"/>
                    <a:gd name="T25" fmla="*/ 2147483646 h 35"/>
                    <a:gd name="T26" fmla="*/ 2147483646 w 36"/>
                    <a:gd name="T27" fmla="*/ 2147483646 h 35"/>
                    <a:gd name="T28" fmla="*/ 2147483646 w 36"/>
                    <a:gd name="T29" fmla="*/ 2147483646 h 35"/>
                    <a:gd name="T30" fmla="*/ 2147483646 w 36"/>
                    <a:gd name="T31" fmla="*/ 2147483646 h 35"/>
                    <a:gd name="T32" fmla="*/ 2147483646 w 36"/>
                    <a:gd name="T33" fmla="*/ 2147483646 h 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5"/>
                    <a:gd name="T53" fmla="*/ 36 w 36"/>
                    <a:gd name="T54" fmla="*/ 35 h 3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5">
                      <a:moveTo>
                        <a:pt x="19" y="35"/>
                      </a:moveTo>
                      <a:lnTo>
                        <a:pt x="26" y="34"/>
                      </a:lnTo>
                      <a:lnTo>
                        <a:pt x="32" y="30"/>
                      </a:lnTo>
                      <a:lnTo>
                        <a:pt x="35" y="24"/>
                      </a:lnTo>
                      <a:lnTo>
                        <a:pt x="36" y="17"/>
                      </a:lnTo>
                      <a:lnTo>
                        <a:pt x="35" y="10"/>
                      </a:lnTo>
                      <a:lnTo>
                        <a:pt x="32" y="4"/>
                      </a:lnTo>
                      <a:lnTo>
                        <a:pt x="26" y="1"/>
                      </a:lnTo>
                      <a:lnTo>
                        <a:pt x="19" y="0"/>
                      </a:lnTo>
                      <a:lnTo>
                        <a:pt x="12" y="1"/>
                      </a:lnTo>
                      <a:lnTo>
                        <a:pt x="6" y="4"/>
                      </a:lnTo>
                      <a:lnTo>
                        <a:pt x="2" y="10"/>
                      </a:lnTo>
                      <a:lnTo>
                        <a:pt x="0" y="17"/>
                      </a:lnTo>
                      <a:lnTo>
                        <a:pt x="2" y="24"/>
                      </a:lnTo>
                      <a:lnTo>
                        <a:pt x="6" y="30"/>
                      </a:lnTo>
                      <a:lnTo>
                        <a:pt x="12" y="34"/>
                      </a:lnTo>
                      <a:lnTo>
                        <a:pt x="19" y="35"/>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16" name="Freeform 507">
                  <a:extLst>
                    <a:ext uri="{FF2B5EF4-FFF2-40B4-BE49-F238E27FC236}">
                      <a16:creationId xmlns:a16="http://schemas.microsoft.com/office/drawing/2014/main" id="{186DDC92-1651-4E73-A114-900410ED150C}"/>
                    </a:ext>
                  </a:extLst>
                </p:cNvPr>
                <p:cNvSpPr>
                  <a:spLocks/>
                </p:cNvSpPr>
                <p:nvPr/>
              </p:nvSpPr>
              <p:spPr bwMode="auto">
                <a:xfrm>
                  <a:off x="3221027" y="3825877"/>
                  <a:ext cx="28575" cy="28575"/>
                </a:xfrm>
                <a:custGeom>
                  <a:avLst/>
                  <a:gdLst>
                    <a:gd name="T0" fmla="*/ 2147483646 w 36"/>
                    <a:gd name="T1" fmla="*/ 2147483646 h 36"/>
                    <a:gd name="T2" fmla="*/ 2147483646 w 36"/>
                    <a:gd name="T3" fmla="*/ 2147483646 h 36"/>
                    <a:gd name="T4" fmla="*/ 2147483646 w 36"/>
                    <a:gd name="T5" fmla="*/ 2147483646 h 36"/>
                    <a:gd name="T6" fmla="*/ 2147483646 w 36"/>
                    <a:gd name="T7" fmla="*/ 2147483646 h 36"/>
                    <a:gd name="T8" fmla="*/ 2147483646 w 36"/>
                    <a:gd name="T9" fmla="*/ 2147483646 h 36"/>
                    <a:gd name="T10" fmla="*/ 2147483646 w 36"/>
                    <a:gd name="T11" fmla="*/ 2147483646 h 36"/>
                    <a:gd name="T12" fmla="*/ 2147483646 w 36"/>
                    <a:gd name="T13" fmla="*/ 2147483646 h 36"/>
                    <a:gd name="T14" fmla="*/ 2147483646 w 36"/>
                    <a:gd name="T15" fmla="*/ 2147483646 h 36"/>
                    <a:gd name="T16" fmla="*/ 2147483646 w 36"/>
                    <a:gd name="T17" fmla="*/ 0 h 36"/>
                    <a:gd name="T18" fmla="*/ 2147483646 w 36"/>
                    <a:gd name="T19" fmla="*/ 2147483646 h 36"/>
                    <a:gd name="T20" fmla="*/ 2147483646 w 36"/>
                    <a:gd name="T21" fmla="*/ 2147483646 h 36"/>
                    <a:gd name="T22" fmla="*/ 2147483646 w 36"/>
                    <a:gd name="T23" fmla="*/ 2147483646 h 36"/>
                    <a:gd name="T24" fmla="*/ 0 w 36"/>
                    <a:gd name="T25" fmla="*/ 2147483646 h 36"/>
                    <a:gd name="T26" fmla="*/ 2147483646 w 36"/>
                    <a:gd name="T27" fmla="*/ 2147483646 h 36"/>
                    <a:gd name="T28" fmla="*/ 2147483646 w 36"/>
                    <a:gd name="T29" fmla="*/ 2147483646 h 36"/>
                    <a:gd name="T30" fmla="*/ 2147483646 w 36"/>
                    <a:gd name="T31" fmla="*/ 2147483646 h 36"/>
                    <a:gd name="T32" fmla="*/ 2147483646 w 36"/>
                    <a:gd name="T33" fmla="*/ 214748364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6"/>
                    <a:gd name="T53" fmla="*/ 36 w 36"/>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6">
                      <a:moveTo>
                        <a:pt x="18" y="36"/>
                      </a:moveTo>
                      <a:lnTo>
                        <a:pt x="25" y="35"/>
                      </a:lnTo>
                      <a:lnTo>
                        <a:pt x="30" y="30"/>
                      </a:lnTo>
                      <a:lnTo>
                        <a:pt x="35" y="25"/>
                      </a:lnTo>
                      <a:lnTo>
                        <a:pt x="36" y="18"/>
                      </a:lnTo>
                      <a:lnTo>
                        <a:pt x="35" y="11"/>
                      </a:lnTo>
                      <a:lnTo>
                        <a:pt x="30" y="6"/>
                      </a:lnTo>
                      <a:lnTo>
                        <a:pt x="25" y="1"/>
                      </a:lnTo>
                      <a:lnTo>
                        <a:pt x="18" y="0"/>
                      </a:lnTo>
                      <a:lnTo>
                        <a:pt x="11" y="1"/>
                      </a:lnTo>
                      <a:lnTo>
                        <a:pt x="6" y="6"/>
                      </a:lnTo>
                      <a:lnTo>
                        <a:pt x="1" y="11"/>
                      </a:lnTo>
                      <a:lnTo>
                        <a:pt x="0" y="18"/>
                      </a:lnTo>
                      <a:lnTo>
                        <a:pt x="1" y="25"/>
                      </a:lnTo>
                      <a:lnTo>
                        <a:pt x="6" y="30"/>
                      </a:lnTo>
                      <a:lnTo>
                        <a:pt x="11" y="35"/>
                      </a:lnTo>
                      <a:lnTo>
                        <a:pt x="18" y="36"/>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17" name="Freeform 508">
                  <a:extLst>
                    <a:ext uri="{FF2B5EF4-FFF2-40B4-BE49-F238E27FC236}">
                      <a16:creationId xmlns:a16="http://schemas.microsoft.com/office/drawing/2014/main" id="{5F297F64-C165-4D23-8B92-A2A14118D61C}"/>
                    </a:ext>
                  </a:extLst>
                </p:cNvPr>
                <p:cNvSpPr>
                  <a:spLocks/>
                </p:cNvSpPr>
                <p:nvPr/>
              </p:nvSpPr>
              <p:spPr bwMode="auto">
                <a:xfrm>
                  <a:off x="3186102" y="3878265"/>
                  <a:ext cx="28575" cy="28575"/>
                </a:xfrm>
                <a:custGeom>
                  <a:avLst/>
                  <a:gdLst>
                    <a:gd name="T0" fmla="*/ 2147483646 w 36"/>
                    <a:gd name="T1" fmla="*/ 2147483646 h 36"/>
                    <a:gd name="T2" fmla="*/ 2147483646 w 36"/>
                    <a:gd name="T3" fmla="*/ 2147483646 h 36"/>
                    <a:gd name="T4" fmla="*/ 2147483646 w 36"/>
                    <a:gd name="T5" fmla="*/ 2147483646 h 36"/>
                    <a:gd name="T6" fmla="*/ 2147483646 w 36"/>
                    <a:gd name="T7" fmla="*/ 2147483646 h 36"/>
                    <a:gd name="T8" fmla="*/ 2147483646 w 36"/>
                    <a:gd name="T9" fmla="*/ 2147483646 h 36"/>
                    <a:gd name="T10" fmla="*/ 2147483646 w 36"/>
                    <a:gd name="T11" fmla="*/ 2147483646 h 36"/>
                    <a:gd name="T12" fmla="*/ 2147483646 w 36"/>
                    <a:gd name="T13" fmla="*/ 2147483646 h 36"/>
                    <a:gd name="T14" fmla="*/ 2147483646 w 36"/>
                    <a:gd name="T15" fmla="*/ 2147483646 h 36"/>
                    <a:gd name="T16" fmla="*/ 2147483646 w 36"/>
                    <a:gd name="T17" fmla="*/ 0 h 36"/>
                    <a:gd name="T18" fmla="*/ 2147483646 w 36"/>
                    <a:gd name="T19" fmla="*/ 2147483646 h 36"/>
                    <a:gd name="T20" fmla="*/ 2147483646 w 36"/>
                    <a:gd name="T21" fmla="*/ 2147483646 h 36"/>
                    <a:gd name="T22" fmla="*/ 2147483646 w 36"/>
                    <a:gd name="T23" fmla="*/ 2147483646 h 36"/>
                    <a:gd name="T24" fmla="*/ 0 w 36"/>
                    <a:gd name="T25" fmla="*/ 2147483646 h 36"/>
                    <a:gd name="T26" fmla="*/ 2147483646 w 36"/>
                    <a:gd name="T27" fmla="*/ 2147483646 h 36"/>
                    <a:gd name="T28" fmla="*/ 2147483646 w 36"/>
                    <a:gd name="T29" fmla="*/ 2147483646 h 36"/>
                    <a:gd name="T30" fmla="*/ 2147483646 w 36"/>
                    <a:gd name="T31" fmla="*/ 2147483646 h 36"/>
                    <a:gd name="T32" fmla="*/ 2147483646 w 36"/>
                    <a:gd name="T33" fmla="*/ 214748364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6"/>
                    <a:gd name="T53" fmla="*/ 36 w 36"/>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6">
                      <a:moveTo>
                        <a:pt x="18" y="36"/>
                      </a:moveTo>
                      <a:lnTo>
                        <a:pt x="25" y="34"/>
                      </a:lnTo>
                      <a:lnTo>
                        <a:pt x="30" y="30"/>
                      </a:lnTo>
                      <a:lnTo>
                        <a:pt x="35" y="24"/>
                      </a:lnTo>
                      <a:lnTo>
                        <a:pt x="36" y="17"/>
                      </a:lnTo>
                      <a:lnTo>
                        <a:pt x="35" y="10"/>
                      </a:lnTo>
                      <a:lnTo>
                        <a:pt x="30" y="4"/>
                      </a:lnTo>
                      <a:lnTo>
                        <a:pt x="25" y="1"/>
                      </a:lnTo>
                      <a:lnTo>
                        <a:pt x="18" y="0"/>
                      </a:lnTo>
                      <a:lnTo>
                        <a:pt x="11" y="1"/>
                      </a:lnTo>
                      <a:lnTo>
                        <a:pt x="6" y="4"/>
                      </a:lnTo>
                      <a:lnTo>
                        <a:pt x="2" y="10"/>
                      </a:lnTo>
                      <a:lnTo>
                        <a:pt x="0" y="17"/>
                      </a:lnTo>
                      <a:lnTo>
                        <a:pt x="2" y="24"/>
                      </a:lnTo>
                      <a:lnTo>
                        <a:pt x="6" y="30"/>
                      </a:lnTo>
                      <a:lnTo>
                        <a:pt x="11" y="34"/>
                      </a:lnTo>
                      <a:lnTo>
                        <a:pt x="18" y="36"/>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18" name="Freeform 509">
                  <a:extLst>
                    <a:ext uri="{FF2B5EF4-FFF2-40B4-BE49-F238E27FC236}">
                      <a16:creationId xmlns:a16="http://schemas.microsoft.com/office/drawing/2014/main" id="{26C0D118-8B32-4D89-B85D-320EAE071E28}"/>
                    </a:ext>
                  </a:extLst>
                </p:cNvPr>
                <p:cNvSpPr>
                  <a:spLocks/>
                </p:cNvSpPr>
                <p:nvPr/>
              </p:nvSpPr>
              <p:spPr bwMode="auto">
                <a:xfrm>
                  <a:off x="3301989" y="3852865"/>
                  <a:ext cx="28575" cy="28575"/>
                </a:xfrm>
                <a:custGeom>
                  <a:avLst/>
                  <a:gdLst>
                    <a:gd name="T0" fmla="*/ 2147483646 w 36"/>
                    <a:gd name="T1" fmla="*/ 2147483646 h 35"/>
                    <a:gd name="T2" fmla="*/ 2147483646 w 36"/>
                    <a:gd name="T3" fmla="*/ 2147483646 h 35"/>
                    <a:gd name="T4" fmla="*/ 2147483646 w 36"/>
                    <a:gd name="T5" fmla="*/ 2147483646 h 35"/>
                    <a:gd name="T6" fmla="*/ 2147483646 w 36"/>
                    <a:gd name="T7" fmla="*/ 2147483646 h 35"/>
                    <a:gd name="T8" fmla="*/ 2147483646 w 36"/>
                    <a:gd name="T9" fmla="*/ 2147483646 h 35"/>
                    <a:gd name="T10" fmla="*/ 2147483646 w 36"/>
                    <a:gd name="T11" fmla="*/ 2147483646 h 35"/>
                    <a:gd name="T12" fmla="*/ 2147483646 w 36"/>
                    <a:gd name="T13" fmla="*/ 2147483646 h 35"/>
                    <a:gd name="T14" fmla="*/ 2147483646 w 36"/>
                    <a:gd name="T15" fmla="*/ 2147483646 h 35"/>
                    <a:gd name="T16" fmla="*/ 2147483646 w 36"/>
                    <a:gd name="T17" fmla="*/ 0 h 35"/>
                    <a:gd name="T18" fmla="*/ 2147483646 w 36"/>
                    <a:gd name="T19" fmla="*/ 2147483646 h 35"/>
                    <a:gd name="T20" fmla="*/ 2147483646 w 36"/>
                    <a:gd name="T21" fmla="*/ 2147483646 h 35"/>
                    <a:gd name="T22" fmla="*/ 2147483646 w 36"/>
                    <a:gd name="T23" fmla="*/ 2147483646 h 35"/>
                    <a:gd name="T24" fmla="*/ 0 w 36"/>
                    <a:gd name="T25" fmla="*/ 2147483646 h 35"/>
                    <a:gd name="T26" fmla="*/ 2147483646 w 36"/>
                    <a:gd name="T27" fmla="*/ 2147483646 h 35"/>
                    <a:gd name="T28" fmla="*/ 2147483646 w 36"/>
                    <a:gd name="T29" fmla="*/ 2147483646 h 35"/>
                    <a:gd name="T30" fmla="*/ 2147483646 w 36"/>
                    <a:gd name="T31" fmla="*/ 2147483646 h 35"/>
                    <a:gd name="T32" fmla="*/ 2147483646 w 36"/>
                    <a:gd name="T33" fmla="*/ 2147483646 h 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5"/>
                    <a:gd name="T53" fmla="*/ 36 w 36"/>
                    <a:gd name="T54" fmla="*/ 35 h 3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5">
                      <a:moveTo>
                        <a:pt x="17" y="35"/>
                      </a:moveTo>
                      <a:lnTo>
                        <a:pt x="24" y="34"/>
                      </a:lnTo>
                      <a:lnTo>
                        <a:pt x="30" y="29"/>
                      </a:lnTo>
                      <a:lnTo>
                        <a:pt x="34" y="25"/>
                      </a:lnTo>
                      <a:lnTo>
                        <a:pt x="36" y="18"/>
                      </a:lnTo>
                      <a:lnTo>
                        <a:pt x="34" y="11"/>
                      </a:lnTo>
                      <a:lnTo>
                        <a:pt x="30" y="5"/>
                      </a:lnTo>
                      <a:lnTo>
                        <a:pt x="24" y="1"/>
                      </a:lnTo>
                      <a:lnTo>
                        <a:pt x="17" y="0"/>
                      </a:lnTo>
                      <a:lnTo>
                        <a:pt x="10" y="1"/>
                      </a:lnTo>
                      <a:lnTo>
                        <a:pt x="6" y="5"/>
                      </a:lnTo>
                      <a:lnTo>
                        <a:pt x="1" y="11"/>
                      </a:lnTo>
                      <a:lnTo>
                        <a:pt x="0" y="18"/>
                      </a:lnTo>
                      <a:lnTo>
                        <a:pt x="1" y="25"/>
                      </a:lnTo>
                      <a:lnTo>
                        <a:pt x="6" y="29"/>
                      </a:lnTo>
                      <a:lnTo>
                        <a:pt x="10" y="34"/>
                      </a:lnTo>
                      <a:lnTo>
                        <a:pt x="17" y="35"/>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19" name="Freeform 510">
                  <a:extLst>
                    <a:ext uri="{FF2B5EF4-FFF2-40B4-BE49-F238E27FC236}">
                      <a16:creationId xmlns:a16="http://schemas.microsoft.com/office/drawing/2014/main" id="{8900CEE4-F6FA-4F83-8CD8-0FB751867671}"/>
                    </a:ext>
                  </a:extLst>
                </p:cNvPr>
                <p:cNvSpPr>
                  <a:spLocks/>
                </p:cNvSpPr>
                <p:nvPr/>
              </p:nvSpPr>
              <p:spPr bwMode="auto">
                <a:xfrm>
                  <a:off x="3259127" y="3900490"/>
                  <a:ext cx="26988" cy="28575"/>
                </a:xfrm>
                <a:custGeom>
                  <a:avLst/>
                  <a:gdLst>
                    <a:gd name="T0" fmla="*/ 2147483646 w 34"/>
                    <a:gd name="T1" fmla="*/ 2147483646 h 36"/>
                    <a:gd name="T2" fmla="*/ 2147483646 w 34"/>
                    <a:gd name="T3" fmla="*/ 2147483646 h 36"/>
                    <a:gd name="T4" fmla="*/ 2147483646 w 34"/>
                    <a:gd name="T5" fmla="*/ 2147483646 h 36"/>
                    <a:gd name="T6" fmla="*/ 2147483646 w 34"/>
                    <a:gd name="T7" fmla="*/ 2147483646 h 36"/>
                    <a:gd name="T8" fmla="*/ 2147483646 w 34"/>
                    <a:gd name="T9" fmla="*/ 2147483646 h 36"/>
                    <a:gd name="T10" fmla="*/ 2147483646 w 34"/>
                    <a:gd name="T11" fmla="*/ 2147483646 h 36"/>
                    <a:gd name="T12" fmla="*/ 2147483646 w 34"/>
                    <a:gd name="T13" fmla="*/ 2147483646 h 36"/>
                    <a:gd name="T14" fmla="*/ 2147483646 w 34"/>
                    <a:gd name="T15" fmla="*/ 2147483646 h 36"/>
                    <a:gd name="T16" fmla="*/ 2147483646 w 34"/>
                    <a:gd name="T17" fmla="*/ 0 h 36"/>
                    <a:gd name="T18" fmla="*/ 2147483646 w 34"/>
                    <a:gd name="T19" fmla="*/ 2147483646 h 36"/>
                    <a:gd name="T20" fmla="*/ 2147483646 w 34"/>
                    <a:gd name="T21" fmla="*/ 2147483646 h 36"/>
                    <a:gd name="T22" fmla="*/ 2147483646 w 34"/>
                    <a:gd name="T23" fmla="*/ 2147483646 h 36"/>
                    <a:gd name="T24" fmla="*/ 0 w 34"/>
                    <a:gd name="T25" fmla="*/ 2147483646 h 36"/>
                    <a:gd name="T26" fmla="*/ 2147483646 w 34"/>
                    <a:gd name="T27" fmla="*/ 2147483646 h 36"/>
                    <a:gd name="T28" fmla="*/ 2147483646 w 34"/>
                    <a:gd name="T29" fmla="*/ 2147483646 h 36"/>
                    <a:gd name="T30" fmla="*/ 2147483646 w 34"/>
                    <a:gd name="T31" fmla="*/ 2147483646 h 36"/>
                    <a:gd name="T32" fmla="*/ 2147483646 w 34"/>
                    <a:gd name="T33" fmla="*/ 214748364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36"/>
                    <a:gd name="T53" fmla="*/ 34 w 34"/>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36">
                      <a:moveTo>
                        <a:pt x="17" y="36"/>
                      </a:moveTo>
                      <a:lnTo>
                        <a:pt x="24" y="35"/>
                      </a:lnTo>
                      <a:lnTo>
                        <a:pt x="30" y="30"/>
                      </a:lnTo>
                      <a:lnTo>
                        <a:pt x="33" y="25"/>
                      </a:lnTo>
                      <a:lnTo>
                        <a:pt x="34" y="18"/>
                      </a:lnTo>
                      <a:lnTo>
                        <a:pt x="33" y="11"/>
                      </a:lnTo>
                      <a:lnTo>
                        <a:pt x="30" y="5"/>
                      </a:lnTo>
                      <a:lnTo>
                        <a:pt x="24" y="2"/>
                      </a:lnTo>
                      <a:lnTo>
                        <a:pt x="17" y="0"/>
                      </a:lnTo>
                      <a:lnTo>
                        <a:pt x="10" y="2"/>
                      </a:lnTo>
                      <a:lnTo>
                        <a:pt x="5" y="5"/>
                      </a:lnTo>
                      <a:lnTo>
                        <a:pt x="1" y="11"/>
                      </a:lnTo>
                      <a:lnTo>
                        <a:pt x="0" y="18"/>
                      </a:lnTo>
                      <a:lnTo>
                        <a:pt x="1" y="25"/>
                      </a:lnTo>
                      <a:lnTo>
                        <a:pt x="5" y="30"/>
                      </a:lnTo>
                      <a:lnTo>
                        <a:pt x="10" y="35"/>
                      </a:lnTo>
                      <a:lnTo>
                        <a:pt x="17" y="36"/>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20" name="Freeform 511">
                  <a:extLst>
                    <a:ext uri="{FF2B5EF4-FFF2-40B4-BE49-F238E27FC236}">
                      <a16:creationId xmlns:a16="http://schemas.microsoft.com/office/drawing/2014/main" id="{C44EA8DA-3893-406D-8638-778AC779A250}"/>
                    </a:ext>
                  </a:extLst>
                </p:cNvPr>
                <p:cNvSpPr>
                  <a:spLocks/>
                </p:cNvSpPr>
                <p:nvPr/>
              </p:nvSpPr>
              <p:spPr bwMode="auto">
                <a:xfrm>
                  <a:off x="3348027" y="3930652"/>
                  <a:ext cx="26988" cy="28575"/>
                </a:xfrm>
                <a:custGeom>
                  <a:avLst/>
                  <a:gdLst>
                    <a:gd name="T0" fmla="*/ 2147483646 w 35"/>
                    <a:gd name="T1" fmla="*/ 2147483646 h 36"/>
                    <a:gd name="T2" fmla="*/ 2147483646 w 35"/>
                    <a:gd name="T3" fmla="*/ 2147483646 h 36"/>
                    <a:gd name="T4" fmla="*/ 2147483646 w 35"/>
                    <a:gd name="T5" fmla="*/ 2147483646 h 36"/>
                    <a:gd name="T6" fmla="*/ 2147483646 w 35"/>
                    <a:gd name="T7" fmla="*/ 2147483646 h 36"/>
                    <a:gd name="T8" fmla="*/ 2147483646 w 35"/>
                    <a:gd name="T9" fmla="*/ 2147483646 h 36"/>
                    <a:gd name="T10" fmla="*/ 2147483646 w 35"/>
                    <a:gd name="T11" fmla="*/ 2147483646 h 36"/>
                    <a:gd name="T12" fmla="*/ 2147483646 w 35"/>
                    <a:gd name="T13" fmla="*/ 2147483646 h 36"/>
                    <a:gd name="T14" fmla="*/ 2147483646 w 35"/>
                    <a:gd name="T15" fmla="*/ 2147483646 h 36"/>
                    <a:gd name="T16" fmla="*/ 2147483646 w 35"/>
                    <a:gd name="T17" fmla="*/ 0 h 36"/>
                    <a:gd name="T18" fmla="*/ 2147483646 w 35"/>
                    <a:gd name="T19" fmla="*/ 2147483646 h 36"/>
                    <a:gd name="T20" fmla="*/ 2147483646 w 35"/>
                    <a:gd name="T21" fmla="*/ 2147483646 h 36"/>
                    <a:gd name="T22" fmla="*/ 2147483646 w 35"/>
                    <a:gd name="T23" fmla="*/ 2147483646 h 36"/>
                    <a:gd name="T24" fmla="*/ 0 w 35"/>
                    <a:gd name="T25" fmla="*/ 2147483646 h 36"/>
                    <a:gd name="T26" fmla="*/ 2147483646 w 35"/>
                    <a:gd name="T27" fmla="*/ 2147483646 h 36"/>
                    <a:gd name="T28" fmla="*/ 2147483646 w 35"/>
                    <a:gd name="T29" fmla="*/ 2147483646 h 36"/>
                    <a:gd name="T30" fmla="*/ 2147483646 w 35"/>
                    <a:gd name="T31" fmla="*/ 2147483646 h 36"/>
                    <a:gd name="T32" fmla="*/ 2147483646 w 35"/>
                    <a:gd name="T33" fmla="*/ 214748364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36"/>
                    <a:gd name="T53" fmla="*/ 35 w 35"/>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36">
                      <a:moveTo>
                        <a:pt x="18" y="36"/>
                      </a:moveTo>
                      <a:lnTo>
                        <a:pt x="25" y="35"/>
                      </a:lnTo>
                      <a:lnTo>
                        <a:pt x="30" y="30"/>
                      </a:lnTo>
                      <a:lnTo>
                        <a:pt x="34" y="26"/>
                      </a:lnTo>
                      <a:lnTo>
                        <a:pt x="35" y="19"/>
                      </a:lnTo>
                      <a:lnTo>
                        <a:pt x="34" y="12"/>
                      </a:lnTo>
                      <a:lnTo>
                        <a:pt x="30" y="6"/>
                      </a:lnTo>
                      <a:lnTo>
                        <a:pt x="25" y="2"/>
                      </a:lnTo>
                      <a:lnTo>
                        <a:pt x="18" y="0"/>
                      </a:lnTo>
                      <a:lnTo>
                        <a:pt x="11" y="2"/>
                      </a:lnTo>
                      <a:lnTo>
                        <a:pt x="6" y="6"/>
                      </a:lnTo>
                      <a:lnTo>
                        <a:pt x="1" y="12"/>
                      </a:lnTo>
                      <a:lnTo>
                        <a:pt x="0" y="19"/>
                      </a:lnTo>
                      <a:lnTo>
                        <a:pt x="1" y="26"/>
                      </a:lnTo>
                      <a:lnTo>
                        <a:pt x="6" y="30"/>
                      </a:lnTo>
                      <a:lnTo>
                        <a:pt x="11" y="35"/>
                      </a:lnTo>
                      <a:lnTo>
                        <a:pt x="18" y="36"/>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21" name="Freeform 512">
                  <a:extLst>
                    <a:ext uri="{FF2B5EF4-FFF2-40B4-BE49-F238E27FC236}">
                      <a16:creationId xmlns:a16="http://schemas.microsoft.com/office/drawing/2014/main" id="{B9DFC536-1344-4045-9F5A-08143E8E68BA}"/>
                    </a:ext>
                  </a:extLst>
                </p:cNvPr>
                <p:cNvSpPr>
                  <a:spLocks/>
                </p:cNvSpPr>
                <p:nvPr/>
              </p:nvSpPr>
              <p:spPr bwMode="auto">
                <a:xfrm>
                  <a:off x="3317864" y="3984627"/>
                  <a:ext cx="28575" cy="28575"/>
                </a:xfrm>
                <a:custGeom>
                  <a:avLst/>
                  <a:gdLst>
                    <a:gd name="T0" fmla="*/ 2147483646 w 36"/>
                    <a:gd name="T1" fmla="*/ 2147483646 h 35"/>
                    <a:gd name="T2" fmla="*/ 2147483646 w 36"/>
                    <a:gd name="T3" fmla="*/ 2147483646 h 35"/>
                    <a:gd name="T4" fmla="*/ 2147483646 w 36"/>
                    <a:gd name="T5" fmla="*/ 2147483646 h 35"/>
                    <a:gd name="T6" fmla="*/ 2147483646 w 36"/>
                    <a:gd name="T7" fmla="*/ 2147483646 h 35"/>
                    <a:gd name="T8" fmla="*/ 2147483646 w 36"/>
                    <a:gd name="T9" fmla="*/ 2147483646 h 35"/>
                    <a:gd name="T10" fmla="*/ 2147483646 w 36"/>
                    <a:gd name="T11" fmla="*/ 2147483646 h 35"/>
                    <a:gd name="T12" fmla="*/ 2147483646 w 36"/>
                    <a:gd name="T13" fmla="*/ 2147483646 h 35"/>
                    <a:gd name="T14" fmla="*/ 2147483646 w 36"/>
                    <a:gd name="T15" fmla="*/ 2147483646 h 35"/>
                    <a:gd name="T16" fmla="*/ 2147483646 w 36"/>
                    <a:gd name="T17" fmla="*/ 0 h 35"/>
                    <a:gd name="T18" fmla="*/ 2147483646 w 36"/>
                    <a:gd name="T19" fmla="*/ 2147483646 h 35"/>
                    <a:gd name="T20" fmla="*/ 2147483646 w 36"/>
                    <a:gd name="T21" fmla="*/ 2147483646 h 35"/>
                    <a:gd name="T22" fmla="*/ 2147483646 w 36"/>
                    <a:gd name="T23" fmla="*/ 2147483646 h 35"/>
                    <a:gd name="T24" fmla="*/ 0 w 36"/>
                    <a:gd name="T25" fmla="*/ 2147483646 h 35"/>
                    <a:gd name="T26" fmla="*/ 2147483646 w 36"/>
                    <a:gd name="T27" fmla="*/ 2147483646 h 35"/>
                    <a:gd name="T28" fmla="*/ 2147483646 w 36"/>
                    <a:gd name="T29" fmla="*/ 2147483646 h 35"/>
                    <a:gd name="T30" fmla="*/ 2147483646 w 36"/>
                    <a:gd name="T31" fmla="*/ 2147483646 h 35"/>
                    <a:gd name="T32" fmla="*/ 2147483646 w 36"/>
                    <a:gd name="T33" fmla="*/ 2147483646 h 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5"/>
                    <a:gd name="T53" fmla="*/ 36 w 36"/>
                    <a:gd name="T54" fmla="*/ 35 h 3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5">
                      <a:moveTo>
                        <a:pt x="18" y="35"/>
                      </a:moveTo>
                      <a:lnTo>
                        <a:pt x="25" y="34"/>
                      </a:lnTo>
                      <a:lnTo>
                        <a:pt x="30" y="29"/>
                      </a:lnTo>
                      <a:lnTo>
                        <a:pt x="35" y="25"/>
                      </a:lnTo>
                      <a:lnTo>
                        <a:pt x="36" y="18"/>
                      </a:lnTo>
                      <a:lnTo>
                        <a:pt x="35" y="11"/>
                      </a:lnTo>
                      <a:lnTo>
                        <a:pt x="30" y="5"/>
                      </a:lnTo>
                      <a:lnTo>
                        <a:pt x="25" y="2"/>
                      </a:lnTo>
                      <a:lnTo>
                        <a:pt x="18" y="0"/>
                      </a:lnTo>
                      <a:lnTo>
                        <a:pt x="11" y="2"/>
                      </a:lnTo>
                      <a:lnTo>
                        <a:pt x="6" y="5"/>
                      </a:lnTo>
                      <a:lnTo>
                        <a:pt x="2" y="11"/>
                      </a:lnTo>
                      <a:lnTo>
                        <a:pt x="0" y="18"/>
                      </a:lnTo>
                      <a:lnTo>
                        <a:pt x="2" y="25"/>
                      </a:lnTo>
                      <a:lnTo>
                        <a:pt x="6" y="29"/>
                      </a:lnTo>
                      <a:lnTo>
                        <a:pt x="11" y="34"/>
                      </a:lnTo>
                      <a:lnTo>
                        <a:pt x="18" y="35"/>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22" name="Freeform 513">
                  <a:extLst>
                    <a:ext uri="{FF2B5EF4-FFF2-40B4-BE49-F238E27FC236}">
                      <a16:creationId xmlns:a16="http://schemas.microsoft.com/office/drawing/2014/main" id="{B1A86E38-4D17-4FAA-8239-89D7CBFD8808}"/>
                    </a:ext>
                  </a:extLst>
                </p:cNvPr>
                <p:cNvSpPr>
                  <a:spLocks/>
                </p:cNvSpPr>
                <p:nvPr/>
              </p:nvSpPr>
              <p:spPr bwMode="auto">
                <a:xfrm>
                  <a:off x="3194039" y="4075115"/>
                  <a:ext cx="28575" cy="28575"/>
                </a:xfrm>
                <a:custGeom>
                  <a:avLst/>
                  <a:gdLst>
                    <a:gd name="T0" fmla="*/ 2147483646 w 36"/>
                    <a:gd name="T1" fmla="*/ 2147483646 h 36"/>
                    <a:gd name="T2" fmla="*/ 2147483646 w 36"/>
                    <a:gd name="T3" fmla="*/ 2147483646 h 36"/>
                    <a:gd name="T4" fmla="*/ 2147483646 w 36"/>
                    <a:gd name="T5" fmla="*/ 2147483646 h 36"/>
                    <a:gd name="T6" fmla="*/ 2147483646 w 36"/>
                    <a:gd name="T7" fmla="*/ 2147483646 h 36"/>
                    <a:gd name="T8" fmla="*/ 2147483646 w 36"/>
                    <a:gd name="T9" fmla="*/ 2147483646 h 36"/>
                    <a:gd name="T10" fmla="*/ 2147483646 w 36"/>
                    <a:gd name="T11" fmla="*/ 2147483646 h 36"/>
                    <a:gd name="T12" fmla="*/ 2147483646 w 36"/>
                    <a:gd name="T13" fmla="*/ 2147483646 h 36"/>
                    <a:gd name="T14" fmla="*/ 2147483646 w 36"/>
                    <a:gd name="T15" fmla="*/ 2147483646 h 36"/>
                    <a:gd name="T16" fmla="*/ 2147483646 w 36"/>
                    <a:gd name="T17" fmla="*/ 0 h 36"/>
                    <a:gd name="T18" fmla="*/ 2147483646 w 36"/>
                    <a:gd name="T19" fmla="*/ 2147483646 h 36"/>
                    <a:gd name="T20" fmla="*/ 2147483646 w 36"/>
                    <a:gd name="T21" fmla="*/ 2147483646 h 36"/>
                    <a:gd name="T22" fmla="*/ 2147483646 w 36"/>
                    <a:gd name="T23" fmla="*/ 2147483646 h 36"/>
                    <a:gd name="T24" fmla="*/ 0 w 36"/>
                    <a:gd name="T25" fmla="*/ 2147483646 h 36"/>
                    <a:gd name="T26" fmla="*/ 2147483646 w 36"/>
                    <a:gd name="T27" fmla="*/ 2147483646 h 36"/>
                    <a:gd name="T28" fmla="*/ 2147483646 w 36"/>
                    <a:gd name="T29" fmla="*/ 2147483646 h 36"/>
                    <a:gd name="T30" fmla="*/ 2147483646 w 36"/>
                    <a:gd name="T31" fmla="*/ 2147483646 h 36"/>
                    <a:gd name="T32" fmla="*/ 2147483646 w 36"/>
                    <a:gd name="T33" fmla="*/ 214748364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6"/>
                    <a:gd name="T53" fmla="*/ 36 w 36"/>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6">
                      <a:moveTo>
                        <a:pt x="18" y="36"/>
                      </a:moveTo>
                      <a:lnTo>
                        <a:pt x="25" y="35"/>
                      </a:lnTo>
                      <a:lnTo>
                        <a:pt x="31" y="30"/>
                      </a:lnTo>
                      <a:lnTo>
                        <a:pt x="34" y="26"/>
                      </a:lnTo>
                      <a:lnTo>
                        <a:pt x="36" y="19"/>
                      </a:lnTo>
                      <a:lnTo>
                        <a:pt x="34" y="12"/>
                      </a:lnTo>
                      <a:lnTo>
                        <a:pt x="31" y="6"/>
                      </a:lnTo>
                      <a:lnTo>
                        <a:pt x="25" y="2"/>
                      </a:lnTo>
                      <a:lnTo>
                        <a:pt x="18" y="0"/>
                      </a:lnTo>
                      <a:lnTo>
                        <a:pt x="11" y="2"/>
                      </a:lnTo>
                      <a:lnTo>
                        <a:pt x="6" y="6"/>
                      </a:lnTo>
                      <a:lnTo>
                        <a:pt x="1" y="12"/>
                      </a:lnTo>
                      <a:lnTo>
                        <a:pt x="0" y="19"/>
                      </a:lnTo>
                      <a:lnTo>
                        <a:pt x="1" y="26"/>
                      </a:lnTo>
                      <a:lnTo>
                        <a:pt x="6" y="30"/>
                      </a:lnTo>
                      <a:lnTo>
                        <a:pt x="11" y="35"/>
                      </a:lnTo>
                      <a:lnTo>
                        <a:pt x="18" y="36"/>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23" name="Freeform 514">
                  <a:extLst>
                    <a:ext uri="{FF2B5EF4-FFF2-40B4-BE49-F238E27FC236}">
                      <a16:creationId xmlns:a16="http://schemas.microsoft.com/office/drawing/2014/main" id="{F000C96F-11FB-4EAC-9E6A-967960473425}"/>
                    </a:ext>
                  </a:extLst>
                </p:cNvPr>
                <p:cNvSpPr>
                  <a:spLocks/>
                </p:cNvSpPr>
                <p:nvPr/>
              </p:nvSpPr>
              <p:spPr bwMode="auto">
                <a:xfrm>
                  <a:off x="3324214" y="4065590"/>
                  <a:ext cx="28575" cy="28575"/>
                </a:xfrm>
                <a:custGeom>
                  <a:avLst/>
                  <a:gdLst>
                    <a:gd name="T0" fmla="*/ 2147483646 w 35"/>
                    <a:gd name="T1" fmla="*/ 2147483646 h 36"/>
                    <a:gd name="T2" fmla="*/ 2147483646 w 35"/>
                    <a:gd name="T3" fmla="*/ 2147483646 h 36"/>
                    <a:gd name="T4" fmla="*/ 2147483646 w 35"/>
                    <a:gd name="T5" fmla="*/ 2147483646 h 36"/>
                    <a:gd name="T6" fmla="*/ 2147483646 w 35"/>
                    <a:gd name="T7" fmla="*/ 2147483646 h 36"/>
                    <a:gd name="T8" fmla="*/ 2147483646 w 35"/>
                    <a:gd name="T9" fmla="*/ 2147483646 h 36"/>
                    <a:gd name="T10" fmla="*/ 2147483646 w 35"/>
                    <a:gd name="T11" fmla="*/ 2147483646 h 36"/>
                    <a:gd name="T12" fmla="*/ 2147483646 w 35"/>
                    <a:gd name="T13" fmla="*/ 2147483646 h 36"/>
                    <a:gd name="T14" fmla="*/ 2147483646 w 35"/>
                    <a:gd name="T15" fmla="*/ 2147483646 h 36"/>
                    <a:gd name="T16" fmla="*/ 2147483646 w 35"/>
                    <a:gd name="T17" fmla="*/ 0 h 36"/>
                    <a:gd name="T18" fmla="*/ 2147483646 w 35"/>
                    <a:gd name="T19" fmla="*/ 2147483646 h 36"/>
                    <a:gd name="T20" fmla="*/ 2147483646 w 35"/>
                    <a:gd name="T21" fmla="*/ 2147483646 h 36"/>
                    <a:gd name="T22" fmla="*/ 2147483646 w 35"/>
                    <a:gd name="T23" fmla="*/ 2147483646 h 36"/>
                    <a:gd name="T24" fmla="*/ 0 w 35"/>
                    <a:gd name="T25" fmla="*/ 2147483646 h 36"/>
                    <a:gd name="T26" fmla="*/ 2147483646 w 35"/>
                    <a:gd name="T27" fmla="*/ 2147483646 h 36"/>
                    <a:gd name="T28" fmla="*/ 2147483646 w 35"/>
                    <a:gd name="T29" fmla="*/ 2147483646 h 36"/>
                    <a:gd name="T30" fmla="*/ 2147483646 w 35"/>
                    <a:gd name="T31" fmla="*/ 2147483646 h 36"/>
                    <a:gd name="T32" fmla="*/ 2147483646 w 35"/>
                    <a:gd name="T33" fmla="*/ 214748364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36"/>
                    <a:gd name="T53" fmla="*/ 35 w 35"/>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36">
                      <a:moveTo>
                        <a:pt x="17" y="36"/>
                      </a:moveTo>
                      <a:lnTo>
                        <a:pt x="24" y="34"/>
                      </a:lnTo>
                      <a:lnTo>
                        <a:pt x="29" y="30"/>
                      </a:lnTo>
                      <a:lnTo>
                        <a:pt x="34" y="25"/>
                      </a:lnTo>
                      <a:lnTo>
                        <a:pt x="35" y="18"/>
                      </a:lnTo>
                      <a:lnTo>
                        <a:pt x="34" y="11"/>
                      </a:lnTo>
                      <a:lnTo>
                        <a:pt x="29" y="6"/>
                      </a:lnTo>
                      <a:lnTo>
                        <a:pt x="24" y="1"/>
                      </a:lnTo>
                      <a:lnTo>
                        <a:pt x="17" y="0"/>
                      </a:lnTo>
                      <a:lnTo>
                        <a:pt x="10" y="1"/>
                      </a:lnTo>
                      <a:lnTo>
                        <a:pt x="5" y="6"/>
                      </a:lnTo>
                      <a:lnTo>
                        <a:pt x="1" y="11"/>
                      </a:lnTo>
                      <a:lnTo>
                        <a:pt x="0" y="18"/>
                      </a:lnTo>
                      <a:lnTo>
                        <a:pt x="1" y="25"/>
                      </a:lnTo>
                      <a:lnTo>
                        <a:pt x="5" y="30"/>
                      </a:lnTo>
                      <a:lnTo>
                        <a:pt x="10" y="34"/>
                      </a:lnTo>
                      <a:lnTo>
                        <a:pt x="17" y="36"/>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24" name="Freeform 519">
                  <a:extLst>
                    <a:ext uri="{FF2B5EF4-FFF2-40B4-BE49-F238E27FC236}">
                      <a16:creationId xmlns:a16="http://schemas.microsoft.com/office/drawing/2014/main" id="{4EF09AE4-3368-4232-BEC6-420829F87AC5}"/>
                    </a:ext>
                  </a:extLst>
                </p:cNvPr>
                <p:cNvSpPr>
                  <a:spLocks/>
                </p:cNvSpPr>
                <p:nvPr/>
              </p:nvSpPr>
              <p:spPr bwMode="auto">
                <a:xfrm>
                  <a:off x="3352789" y="3805240"/>
                  <a:ext cx="26988" cy="28575"/>
                </a:xfrm>
                <a:custGeom>
                  <a:avLst/>
                  <a:gdLst>
                    <a:gd name="T0" fmla="*/ 2147483646 w 35"/>
                    <a:gd name="T1" fmla="*/ 2147483646 h 35"/>
                    <a:gd name="T2" fmla="*/ 2147483646 w 35"/>
                    <a:gd name="T3" fmla="*/ 2147483646 h 35"/>
                    <a:gd name="T4" fmla="*/ 2147483646 w 35"/>
                    <a:gd name="T5" fmla="*/ 2147483646 h 35"/>
                    <a:gd name="T6" fmla="*/ 2147483646 w 35"/>
                    <a:gd name="T7" fmla="*/ 2147483646 h 35"/>
                    <a:gd name="T8" fmla="*/ 2147483646 w 35"/>
                    <a:gd name="T9" fmla="*/ 2147483646 h 35"/>
                    <a:gd name="T10" fmla="*/ 2147483646 w 35"/>
                    <a:gd name="T11" fmla="*/ 2147483646 h 35"/>
                    <a:gd name="T12" fmla="*/ 2147483646 w 35"/>
                    <a:gd name="T13" fmla="*/ 2147483646 h 35"/>
                    <a:gd name="T14" fmla="*/ 2147483646 w 35"/>
                    <a:gd name="T15" fmla="*/ 2147483646 h 35"/>
                    <a:gd name="T16" fmla="*/ 2147483646 w 35"/>
                    <a:gd name="T17" fmla="*/ 0 h 35"/>
                    <a:gd name="T18" fmla="*/ 2147483646 w 35"/>
                    <a:gd name="T19" fmla="*/ 2147483646 h 35"/>
                    <a:gd name="T20" fmla="*/ 2147483646 w 35"/>
                    <a:gd name="T21" fmla="*/ 2147483646 h 35"/>
                    <a:gd name="T22" fmla="*/ 2147483646 w 35"/>
                    <a:gd name="T23" fmla="*/ 2147483646 h 35"/>
                    <a:gd name="T24" fmla="*/ 0 w 35"/>
                    <a:gd name="T25" fmla="*/ 2147483646 h 35"/>
                    <a:gd name="T26" fmla="*/ 2147483646 w 35"/>
                    <a:gd name="T27" fmla="*/ 2147483646 h 35"/>
                    <a:gd name="T28" fmla="*/ 2147483646 w 35"/>
                    <a:gd name="T29" fmla="*/ 2147483646 h 35"/>
                    <a:gd name="T30" fmla="*/ 2147483646 w 35"/>
                    <a:gd name="T31" fmla="*/ 2147483646 h 35"/>
                    <a:gd name="T32" fmla="*/ 2147483646 w 35"/>
                    <a:gd name="T33" fmla="*/ 2147483646 h 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35"/>
                    <a:gd name="T53" fmla="*/ 35 w 35"/>
                    <a:gd name="T54" fmla="*/ 35 h 3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35">
                      <a:moveTo>
                        <a:pt x="19" y="35"/>
                      </a:moveTo>
                      <a:lnTo>
                        <a:pt x="24" y="34"/>
                      </a:lnTo>
                      <a:lnTo>
                        <a:pt x="30" y="30"/>
                      </a:lnTo>
                      <a:lnTo>
                        <a:pt x="34" y="25"/>
                      </a:lnTo>
                      <a:lnTo>
                        <a:pt x="35" y="18"/>
                      </a:lnTo>
                      <a:lnTo>
                        <a:pt x="34" y="11"/>
                      </a:lnTo>
                      <a:lnTo>
                        <a:pt x="30" y="5"/>
                      </a:lnTo>
                      <a:lnTo>
                        <a:pt x="24" y="1"/>
                      </a:lnTo>
                      <a:lnTo>
                        <a:pt x="19" y="0"/>
                      </a:lnTo>
                      <a:lnTo>
                        <a:pt x="12" y="1"/>
                      </a:lnTo>
                      <a:lnTo>
                        <a:pt x="6" y="5"/>
                      </a:lnTo>
                      <a:lnTo>
                        <a:pt x="1" y="11"/>
                      </a:lnTo>
                      <a:lnTo>
                        <a:pt x="0" y="18"/>
                      </a:lnTo>
                      <a:lnTo>
                        <a:pt x="1" y="25"/>
                      </a:lnTo>
                      <a:lnTo>
                        <a:pt x="6" y="30"/>
                      </a:lnTo>
                      <a:lnTo>
                        <a:pt x="12" y="34"/>
                      </a:lnTo>
                      <a:lnTo>
                        <a:pt x="19" y="35"/>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25" name="Freeform 520">
                  <a:extLst>
                    <a:ext uri="{FF2B5EF4-FFF2-40B4-BE49-F238E27FC236}">
                      <a16:creationId xmlns:a16="http://schemas.microsoft.com/office/drawing/2014/main" id="{D2277AAC-2789-45F3-AACB-EE82085C2BF4}"/>
                    </a:ext>
                  </a:extLst>
                </p:cNvPr>
                <p:cNvSpPr>
                  <a:spLocks/>
                </p:cNvSpPr>
                <p:nvPr/>
              </p:nvSpPr>
              <p:spPr bwMode="auto">
                <a:xfrm>
                  <a:off x="3413114" y="3879852"/>
                  <a:ext cx="28575" cy="26988"/>
                </a:xfrm>
                <a:custGeom>
                  <a:avLst/>
                  <a:gdLst>
                    <a:gd name="T0" fmla="*/ 2147483646 w 36"/>
                    <a:gd name="T1" fmla="*/ 2147483646 h 35"/>
                    <a:gd name="T2" fmla="*/ 2147483646 w 36"/>
                    <a:gd name="T3" fmla="*/ 2147483646 h 35"/>
                    <a:gd name="T4" fmla="*/ 2147483646 w 36"/>
                    <a:gd name="T5" fmla="*/ 2147483646 h 35"/>
                    <a:gd name="T6" fmla="*/ 2147483646 w 36"/>
                    <a:gd name="T7" fmla="*/ 2147483646 h 35"/>
                    <a:gd name="T8" fmla="*/ 2147483646 w 36"/>
                    <a:gd name="T9" fmla="*/ 2147483646 h 35"/>
                    <a:gd name="T10" fmla="*/ 2147483646 w 36"/>
                    <a:gd name="T11" fmla="*/ 2147483646 h 35"/>
                    <a:gd name="T12" fmla="*/ 2147483646 w 36"/>
                    <a:gd name="T13" fmla="*/ 2147483646 h 35"/>
                    <a:gd name="T14" fmla="*/ 2147483646 w 36"/>
                    <a:gd name="T15" fmla="*/ 2147483646 h 35"/>
                    <a:gd name="T16" fmla="*/ 2147483646 w 36"/>
                    <a:gd name="T17" fmla="*/ 0 h 35"/>
                    <a:gd name="T18" fmla="*/ 2147483646 w 36"/>
                    <a:gd name="T19" fmla="*/ 2147483646 h 35"/>
                    <a:gd name="T20" fmla="*/ 2147483646 w 36"/>
                    <a:gd name="T21" fmla="*/ 2147483646 h 35"/>
                    <a:gd name="T22" fmla="*/ 2147483646 w 36"/>
                    <a:gd name="T23" fmla="*/ 2147483646 h 35"/>
                    <a:gd name="T24" fmla="*/ 0 w 36"/>
                    <a:gd name="T25" fmla="*/ 2147483646 h 35"/>
                    <a:gd name="T26" fmla="*/ 2147483646 w 36"/>
                    <a:gd name="T27" fmla="*/ 2147483646 h 35"/>
                    <a:gd name="T28" fmla="*/ 2147483646 w 36"/>
                    <a:gd name="T29" fmla="*/ 2147483646 h 35"/>
                    <a:gd name="T30" fmla="*/ 2147483646 w 36"/>
                    <a:gd name="T31" fmla="*/ 2147483646 h 35"/>
                    <a:gd name="T32" fmla="*/ 2147483646 w 36"/>
                    <a:gd name="T33" fmla="*/ 2147483646 h 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5"/>
                    <a:gd name="T53" fmla="*/ 36 w 36"/>
                    <a:gd name="T54" fmla="*/ 35 h 3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5">
                      <a:moveTo>
                        <a:pt x="18" y="35"/>
                      </a:moveTo>
                      <a:lnTo>
                        <a:pt x="24" y="33"/>
                      </a:lnTo>
                      <a:lnTo>
                        <a:pt x="30" y="30"/>
                      </a:lnTo>
                      <a:lnTo>
                        <a:pt x="35" y="24"/>
                      </a:lnTo>
                      <a:lnTo>
                        <a:pt x="36" y="17"/>
                      </a:lnTo>
                      <a:lnTo>
                        <a:pt x="35" y="10"/>
                      </a:lnTo>
                      <a:lnTo>
                        <a:pt x="30" y="5"/>
                      </a:lnTo>
                      <a:lnTo>
                        <a:pt x="24" y="1"/>
                      </a:lnTo>
                      <a:lnTo>
                        <a:pt x="18" y="0"/>
                      </a:lnTo>
                      <a:lnTo>
                        <a:pt x="11" y="1"/>
                      </a:lnTo>
                      <a:lnTo>
                        <a:pt x="6" y="5"/>
                      </a:lnTo>
                      <a:lnTo>
                        <a:pt x="1" y="10"/>
                      </a:lnTo>
                      <a:lnTo>
                        <a:pt x="0" y="17"/>
                      </a:lnTo>
                      <a:lnTo>
                        <a:pt x="1" y="24"/>
                      </a:lnTo>
                      <a:lnTo>
                        <a:pt x="6" y="30"/>
                      </a:lnTo>
                      <a:lnTo>
                        <a:pt x="11" y="33"/>
                      </a:lnTo>
                      <a:lnTo>
                        <a:pt x="18" y="35"/>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26" name="Freeform 523">
                  <a:extLst>
                    <a:ext uri="{FF2B5EF4-FFF2-40B4-BE49-F238E27FC236}">
                      <a16:creationId xmlns:a16="http://schemas.microsoft.com/office/drawing/2014/main" id="{3D55E59B-2B7F-4442-A3AC-793FAAC70369}"/>
                    </a:ext>
                  </a:extLst>
                </p:cNvPr>
                <p:cNvSpPr>
                  <a:spLocks/>
                </p:cNvSpPr>
                <p:nvPr/>
              </p:nvSpPr>
              <p:spPr bwMode="auto">
                <a:xfrm>
                  <a:off x="3100377" y="3821115"/>
                  <a:ext cx="26988" cy="28575"/>
                </a:xfrm>
                <a:custGeom>
                  <a:avLst/>
                  <a:gdLst>
                    <a:gd name="T0" fmla="*/ 2147483646 w 35"/>
                    <a:gd name="T1" fmla="*/ 2147483646 h 36"/>
                    <a:gd name="T2" fmla="*/ 2147483646 w 35"/>
                    <a:gd name="T3" fmla="*/ 2147483646 h 36"/>
                    <a:gd name="T4" fmla="*/ 2147483646 w 35"/>
                    <a:gd name="T5" fmla="*/ 2147483646 h 36"/>
                    <a:gd name="T6" fmla="*/ 2147483646 w 35"/>
                    <a:gd name="T7" fmla="*/ 2147483646 h 36"/>
                    <a:gd name="T8" fmla="*/ 2147483646 w 35"/>
                    <a:gd name="T9" fmla="*/ 2147483646 h 36"/>
                    <a:gd name="T10" fmla="*/ 2147483646 w 35"/>
                    <a:gd name="T11" fmla="*/ 2147483646 h 36"/>
                    <a:gd name="T12" fmla="*/ 2147483646 w 35"/>
                    <a:gd name="T13" fmla="*/ 2147483646 h 36"/>
                    <a:gd name="T14" fmla="*/ 2147483646 w 35"/>
                    <a:gd name="T15" fmla="*/ 2147483646 h 36"/>
                    <a:gd name="T16" fmla="*/ 2147483646 w 35"/>
                    <a:gd name="T17" fmla="*/ 0 h 36"/>
                    <a:gd name="T18" fmla="*/ 2147483646 w 35"/>
                    <a:gd name="T19" fmla="*/ 2147483646 h 36"/>
                    <a:gd name="T20" fmla="*/ 2147483646 w 35"/>
                    <a:gd name="T21" fmla="*/ 2147483646 h 36"/>
                    <a:gd name="T22" fmla="*/ 2147483646 w 35"/>
                    <a:gd name="T23" fmla="*/ 2147483646 h 36"/>
                    <a:gd name="T24" fmla="*/ 0 w 35"/>
                    <a:gd name="T25" fmla="*/ 2147483646 h 36"/>
                    <a:gd name="T26" fmla="*/ 2147483646 w 35"/>
                    <a:gd name="T27" fmla="*/ 2147483646 h 36"/>
                    <a:gd name="T28" fmla="*/ 2147483646 w 35"/>
                    <a:gd name="T29" fmla="*/ 2147483646 h 36"/>
                    <a:gd name="T30" fmla="*/ 2147483646 w 35"/>
                    <a:gd name="T31" fmla="*/ 2147483646 h 36"/>
                    <a:gd name="T32" fmla="*/ 2147483646 w 35"/>
                    <a:gd name="T33" fmla="*/ 214748364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36"/>
                    <a:gd name="T53" fmla="*/ 35 w 35"/>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36">
                      <a:moveTo>
                        <a:pt x="17" y="36"/>
                      </a:moveTo>
                      <a:lnTo>
                        <a:pt x="24" y="35"/>
                      </a:lnTo>
                      <a:lnTo>
                        <a:pt x="30" y="30"/>
                      </a:lnTo>
                      <a:lnTo>
                        <a:pt x="34" y="24"/>
                      </a:lnTo>
                      <a:lnTo>
                        <a:pt x="35" y="17"/>
                      </a:lnTo>
                      <a:lnTo>
                        <a:pt x="34" y="11"/>
                      </a:lnTo>
                      <a:lnTo>
                        <a:pt x="30" y="5"/>
                      </a:lnTo>
                      <a:lnTo>
                        <a:pt x="24" y="1"/>
                      </a:lnTo>
                      <a:lnTo>
                        <a:pt x="17" y="0"/>
                      </a:lnTo>
                      <a:lnTo>
                        <a:pt x="11" y="1"/>
                      </a:lnTo>
                      <a:lnTo>
                        <a:pt x="5" y="5"/>
                      </a:lnTo>
                      <a:lnTo>
                        <a:pt x="1" y="11"/>
                      </a:lnTo>
                      <a:lnTo>
                        <a:pt x="0" y="17"/>
                      </a:lnTo>
                      <a:lnTo>
                        <a:pt x="1" y="24"/>
                      </a:lnTo>
                      <a:lnTo>
                        <a:pt x="5" y="30"/>
                      </a:lnTo>
                      <a:lnTo>
                        <a:pt x="11" y="35"/>
                      </a:lnTo>
                      <a:lnTo>
                        <a:pt x="17" y="36"/>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27" name="Freeform 532">
                  <a:extLst>
                    <a:ext uri="{FF2B5EF4-FFF2-40B4-BE49-F238E27FC236}">
                      <a16:creationId xmlns:a16="http://schemas.microsoft.com/office/drawing/2014/main" id="{B379F0E1-A45E-4244-8207-B8B1138457E9}"/>
                    </a:ext>
                  </a:extLst>
                </p:cNvPr>
                <p:cNvSpPr>
                  <a:spLocks/>
                </p:cNvSpPr>
                <p:nvPr/>
              </p:nvSpPr>
              <p:spPr bwMode="auto">
                <a:xfrm>
                  <a:off x="3073389" y="3894140"/>
                  <a:ext cx="28575" cy="28575"/>
                </a:xfrm>
                <a:custGeom>
                  <a:avLst/>
                  <a:gdLst>
                    <a:gd name="T0" fmla="*/ 2147483646 w 36"/>
                    <a:gd name="T1" fmla="*/ 2147483646 h 36"/>
                    <a:gd name="T2" fmla="*/ 2147483646 w 36"/>
                    <a:gd name="T3" fmla="*/ 2147483646 h 36"/>
                    <a:gd name="T4" fmla="*/ 2147483646 w 36"/>
                    <a:gd name="T5" fmla="*/ 2147483646 h 36"/>
                    <a:gd name="T6" fmla="*/ 2147483646 w 36"/>
                    <a:gd name="T7" fmla="*/ 2147483646 h 36"/>
                    <a:gd name="T8" fmla="*/ 2147483646 w 36"/>
                    <a:gd name="T9" fmla="*/ 2147483646 h 36"/>
                    <a:gd name="T10" fmla="*/ 2147483646 w 36"/>
                    <a:gd name="T11" fmla="*/ 2147483646 h 36"/>
                    <a:gd name="T12" fmla="*/ 2147483646 w 36"/>
                    <a:gd name="T13" fmla="*/ 2147483646 h 36"/>
                    <a:gd name="T14" fmla="*/ 2147483646 w 36"/>
                    <a:gd name="T15" fmla="*/ 2147483646 h 36"/>
                    <a:gd name="T16" fmla="*/ 2147483646 w 36"/>
                    <a:gd name="T17" fmla="*/ 0 h 36"/>
                    <a:gd name="T18" fmla="*/ 2147483646 w 36"/>
                    <a:gd name="T19" fmla="*/ 2147483646 h 36"/>
                    <a:gd name="T20" fmla="*/ 2147483646 w 36"/>
                    <a:gd name="T21" fmla="*/ 2147483646 h 36"/>
                    <a:gd name="T22" fmla="*/ 2147483646 w 36"/>
                    <a:gd name="T23" fmla="*/ 2147483646 h 36"/>
                    <a:gd name="T24" fmla="*/ 0 w 36"/>
                    <a:gd name="T25" fmla="*/ 2147483646 h 36"/>
                    <a:gd name="T26" fmla="*/ 2147483646 w 36"/>
                    <a:gd name="T27" fmla="*/ 2147483646 h 36"/>
                    <a:gd name="T28" fmla="*/ 2147483646 w 36"/>
                    <a:gd name="T29" fmla="*/ 2147483646 h 36"/>
                    <a:gd name="T30" fmla="*/ 2147483646 w 36"/>
                    <a:gd name="T31" fmla="*/ 2147483646 h 36"/>
                    <a:gd name="T32" fmla="*/ 2147483646 w 36"/>
                    <a:gd name="T33" fmla="*/ 214748364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6"/>
                    <a:gd name="T53" fmla="*/ 36 w 36"/>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6">
                      <a:moveTo>
                        <a:pt x="17" y="36"/>
                      </a:moveTo>
                      <a:lnTo>
                        <a:pt x="24" y="35"/>
                      </a:lnTo>
                      <a:lnTo>
                        <a:pt x="30" y="30"/>
                      </a:lnTo>
                      <a:lnTo>
                        <a:pt x="34" y="26"/>
                      </a:lnTo>
                      <a:lnTo>
                        <a:pt x="36" y="19"/>
                      </a:lnTo>
                      <a:lnTo>
                        <a:pt x="34" y="12"/>
                      </a:lnTo>
                      <a:lnTo>
                        <a:pt x="30" y="6"/>
                      </a:lnTo>
                      <a:lnTo>
                        <a:pt x="24" y="2"/>
                      </a:lnTo>
                      <a:lnTo>
                        <a:pt x="17" y="0"/>
                      </a:lnTo>
                      <a:lnTo>
                        <a:pt x="10" y="2"/>
                      </a:lnTo>
                      <a:lnTo>
                        <a:pt x="6" y="6"/>
                      </a:lnTo>
                      <a:lnTo>
                        <a:pt x="1" y="12"/>
                      </a:lnTo>
                      <a:lnTo>
                        <a:pt x="0" y="19"/>
                      </a:lnTo>
                      <a:lnTo>
                        <a:pt x="1" y="26"/>
                      </a:lnTo>
                      <a:lnTo>
                        <a:pt x="6" y="30"/>
                      </a:lnTo>
                      <a:lnTo>
                        <a:pt x="10" y="35"/>
                      </a:lnTo>
                      <a:lnTo>
                        <a:pt x="17" y="36"/>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28" name="Freeform 535">
                  <a:extLst>
                    <a:ext uri="{FF2B5EF4-FFF2-40B4-BE49-F238E27FC236}">
                      <a16:creationId xmlns:a16="http://schemas.microsoft.com/office/drawing/2014/main" id="{ECE6A0C5-1E18-4BFA-9145-01C6E25664C1}"/>
                    </a:ext>
                  </a:extLst>
                </p:cNvPr>
                <p:cNvSpPr>
                  <a:spLocks/>
                </p:cNvSpPr>
                <p:nvPr/>
              </p:nvSpPr>
              <p:spPr bwMode="auto">
                <a:xfrm>
                  <a:off x="3140064" y="3938590"/>
                  <a:ext cx="28575" cy="26988"/>
                </a:xfrm>
                <a:custGeom>
                  <a:avLst/>
                  <a:gdLst>
                    <a:gd name="T0" fmla="*/ 2147483646 w 36"/>
                    <a:gd name="T1" fmla="*/ 2147483646 h 34"/>
                    <a:gd name="T2" fmla="*/ 2147483646 w 36"/>
                    <a:gd name="T3" fmla="*/ 2147483646 h 34"/>
                    <a:gd name="T4" fmla="*/ 2147483646 w 36"/>
                    <a:gd name="T5" fmla="*/ 2147483646 h 34"/>
                    <a:gd name="T6" fmla="*/ 2147483646 w 36"/>
                    <a:gd name="T7" fmla="*/ 2147483646 h 34"/>
                    <a:gd name="T8" fmla="*/ 2147483646 w 36"/>
                    <a:gd name="T9" fmla="*/ 2147483646 h 34"/>
                    <a:gd name="T10" fmla="*/ 2147483646 w 36"/>
                    <a:gd name="T11" fmla="*/ 2147483646 h 34"/>
                    <a:gd name="T12" fmla="*/ 2147483646 w 36"/>
                    <a:gd name="T13" fmla="*/ 2147483646 h 34"/>
                    <a:gd name="T14" fmla="*/ 2147483646 w 36"/>
                    <a:gd name="T15" fmla="*/ 2147483646 h 34"/>
                    <a:gd name="T16" fmla="*/ 2147483646 w 36"/>
                    <a:gd name="T17" fmla="*/ 0 h 34"/>
                    <a:gd name="T18" fmla="*/ 2147483646 w 36"/>
                    <a:gd name="T19" fmla="*/ 2147483646 h 34"/>
                    <a:gd name="T20" fmla="*/ 2147483646 w 36"/>
                    <a:gd name="T21" fmla="*/ 2147483646 h 34"/>
                    <a:gd name="T22" fmla="*/ 2147483646 w 36"/>
                    <a:gd name="T23" fmla="*/ 2147483646 h 34"/>
                    <a:gd name="T24" fmla="*/ 0 w 36"/>
                    <a:gd name="T25" fmla="*/ 2147483646 h 34"/>
                    <a:gd name="T26" fmla="*/ 2147483646 w 36"/>
                    <a:gd name="T27" fmla="*/ 2147483646 h 34"/>
                    <a:gd name="T28" fmla="*/ 2147483646 w 36"/>
                    <a:gd name="T29" fmla="*/ 2147483646 h 34"/>
                    <a:gd name="T30" fmla="*/ 2147483646 w 36"/>
                    <a:gd name="T31" fmla="*/ 2147483646 h 34"/>
                    <a:gd name="T32" fmla="*/ 2147483646 w 36"/>
                    <a:gd name="T33" fmla="*/ 2147483646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4"/>
                    <a:gd name="T53" fmla="*/ 36 w 36"/>
                    <a:gd name="T54" fmla="*/ 34 h 3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4">
                      <a:moveTo>
                        <a:pt x="17" y="34"/>
                      </a:moveTo>
                      <a:lnTo>
                        <a:pt x="24" y="33"/>
                      </a:lnTo>
                      <a:lnTo>
                        <a:pt x="30" y="29"/>
                      </a:lnTo>
                      <a:lnTo>
                        <a:pt x="34" y="24"/>
                      </a:lnTo>
                      <a:lnTo>
                        <a:pt x="36" y="17"/>
                      </a:lnTo>
                      <a:lnTo>
                        <a:pt x="34" y="10"/>
                      </a:lnTo>
                      <a:lnTo>
                        <a:pt x="30" y="4"/>
                      </a:lnTo>
                      <a:lnTo>
                        <a:pt x="24" y="1"/>
                      </a:lnTo>
                      <a:lnTo>
                        <a:pt x="17" y="0"/>
                      </a:lnTo>
                      <a:lnTo>
                        <a:pt x="10" y="1"/>
                      </a:lnTo>
                      <a:lnTo>
                        <a:pt x="6" y="4"/>
                      </a:lnTo>
                      <a:lnTo>
                        <a:pt x="1" y="10"/>
                      </a:lnTo>
                      <a:lnTo>
                        <a:pt x="0" y="17"/>
                      </a:lnTo>
                      <a:lnTo>
                        <a:pt x="1" y="24"/>
                      </a:lnTo>
                      <a:lnTo>
                        <a:pt x="6" y="29"/>
                      </a:lnTo>
                      <a:lnTo>
                        <a:pt x="10" y="33"/>
                      </a:lnTo>
                      <a:lnTo>
                        <a:pt x="17" y="34"/>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29" name="Freeform 536">
                  <a:extLst>
                    <a:ext uri="{FF2B5EF4-FFF2-40B4-BE49-F238E27FC236}">
                      <a16:creationId xmlns:a16="http://schemas.microsoft.com/office/drawing/2014/main" id="{9573C2A1-0560-4256-86F3-A7E2F0919A8D}"/>
                    </a:ext>
                  </a:extLst>
                </p:cNvPr>
                <p:cNvSpPr>
                  <a:spLocks/>
                </p:cNvSpPr>
                <p:nvPr/>
              </p:nvSpPr>
              <p:spPr bwMode="auto">
                <a:xfrm>
                  <a:off x="3084502" y="3984627"/>
                  <a:ext cx="28575" cy="26988"/>
                </a:xfrm>
                <a:custGeom>
                  <a:avLst/>
                  <a:gdLst>
                    <a:gd name="T0" fmla="*/ 2147483646 w 35"/>
                    <a:gd name="T1" fmla="*/ 2147483646 h 35"/>
                    <a:gd name="T2" fmla="*/ 2147483646 w 35"/>
                    <a:gd name="T3" fmla="*/ 2147483646 h 35"/>
                    <a:gd name="T4" fmla="*/ 2147483646 w 35"/>
                    <a:gd name="T5" fmla="*/ 2147483646 h 35"/>
                    <a:gd name="T6" fmla="*/ 2147483646 w 35"/>
                    <a:gd name="T7" fmla="*/ 2147483646 h 35"/>
                    <a:gd name="T8" fmla="*/ 2147483646 w 35"/>
                    <a:gd name="T9" fmla="*/ 2147483646 h 35"/>
                    <a:gd name="T10" fmla="*/ 2147483646 w 35"/>
                    <a:gd name="T11" fmla="*/ 2147483646 h 35"/>
                    <a:gd name="T12" fmla="*/ 2147483646 w 35"/>
                    <a:gd name="T13" fmla="*/ 2147483646 h 35"/>
                    <a:gd name="T14" fmla="*/ 2147483646 w 35"/>
                    <a:gd name="T15" fmla="*/ 2147483646 h 35"/>
                    <a:gd name="T16" fmla="*/ 2147483646 w 35"/>
                    <a:gd name="T17" fmla="*/ 0 h 35"/>
                    <a:gd name="T18" fmla="*/ 2147483646 w 35"/>
                    <a:gd name="T19" fmla="*/ 2147483646 h 35"/>
                    <a:gd name="T20" fmla="*/ 2147483646 w 35"/>
                    <a:gd name="T21" fmla="*/ 2147483646 h 35"/>
                    <a:gd name="T22" fmla="*/ 2147483646 w 35"/>
                    <a:gd name="T23" fmla="*/ 2147483646 h 35"/>
                    <a:gd name="T24" fmla="*/ 0 w 35"/>
                    <a:gd name="T25" fmla="*/ 2147483646 h 35"/>
                    <a:gd name="T26" fmla="*/ 2147483646 w 35"/>
                    <a:gd name="T27" fmla="*/ 2147483646 h 35"/>
                    <a:gd name="T28" fmla="*/ 2147483646 w 35"/>
                    <a:gd name="T29" fmla="*/ 2147483646 h 35"/>
                    <a:gd name="T30" fmla="*/ 2147483646 w 35"/>
                    <a:gd name="T31" fmla="*/ 2147483646 h 35"/>
                    <a:gd name="T32" fmla="*/ 2147483646 w 35"/>
                    <a:gd name="T33" fmla="*/ 2147483646 h 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35"/>
                    <a:gd name="T53" fmla="*/ 35 w 35"/>
                    <a:gd name="T54" fmla="*/ 35 h 3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35">
                      <a:moveTo>
                        <a:pt x="17" y="35"/>
                      </a:moveTo>
                      <a:lnTo>
                        <a:pt x="24" y="34"/>
                      </a:lnTo>
                      <a:lnTo>
                        <a:pt x="30" y="29"/>
                      </a:lnTo>
                      <a:lnTo>
                        <a:pt x="34" y="25"/>
                      </a:lnTo>
                      <a:lnTo>
                        <a:pt x="35" y="18"/>
                      </a:lnTo>
                      <a:lnTo>
                        <a:pt x="34" y="11"/>
                      </a:lnTo>
                      <a:lnTo>
                        <a:pt x="30" y="5"/>
                      </a:lnTo>
                      <a:lnTo>
                        <a:pt x="24" y="1"/>
                      </a:lnTo>
                      <a:lnTo>
                        <a:pt x="17" y="0"/>
                      </a:lnTo>
                      <a:lnTo>
                        <a:pt x="10" y="1"/>
                      </a:lnTo>
                      <a:lnTo>
                        <a:pt x="5" y="5"/>
                      </a:lnTo>
                      <a:lnTo>
                        <a:pt x="1" y="11"/>
                      </a:lnTo>
                      <a:lnTo>
                        <a:pt x="0" y="18"/>
                      </a:lnTo>
                      <a:lnTo>
                        <a:pt x="1" y="25"/>
                      </a:lnTo>
                      <a:lnTo>
                        <a:pt x="5" y="29"/>
                      </a:lnTo>
                      <a:lnTo>
                        <a:pt x="10" y="34"/>
                      </a:lnTo>
                      <a:lnTo>
                        <a:pt x="17" y="35"/>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30" name="Freeform 544">
                  <a:extLst>
                    <a:ext uri="{FF2B5EF4-FFF2-40B4-BE49-F238E27FC236}">
                      <a16:creationId xmlns:a16="http://schemas.microsoft.com/office/drawing/2014/main" id="{032F008E-12E5-4958-B93F-6BA2559A1847}"/>
                    </a:ext>
                  </a:extLst>
                </p:cNvPr>
                <p:cNvSpPr>
                  <a:spLocks/>
                </p:cNvSpPr>
                <p:nvPr/>
              </p:nvSpPr>
              <p:spPr bwMode="auto">
                <a:xfrm>
                  <a:off x="3125777" y="4044952"/>
                  <a:ext cx="28575" cy="26988"/>
                </a:xfrm>
                <a:custGeom>
                  <a:avLst/>
                  <a:gdLst>
                    <a:gd name="T0" fmla="*/ 2147483646 w 35"/>
                    <a:gd name="T1" fmla="*/ 2147483646 h 35"/>
                    <a:gd name="T2" fmla="*/ 2147483646 w 35"/>
                    <a:gd name="T3" fmla="*/ 2147483646 h 35"/>
                    <a:gd name="T4" fmla="*/ 2147483646 w 35"/>
                    <a:gd name="T5" fmla="*/ 2147483646 h 35"/>
                    <a:gd name="T6" fmla="*/ 2147483646 w 35"/>
                    <a:gd name="T7" fmla="*/ 2147483646 h 35"/>
                    <a:gd name="T8" fmla="*/ 2147483646 w 35"/>
                    <a:gd name="T9" fmla="*/ 2147483646 h 35"/>
                    <a:gd name="T10" fmla="*/ 2147483646 w 35"/>
                    <a:gd name="T11" fmla="*/ 2147483646 h 35"/>
                    <a:gd name="T12" fmla="*/ 2147483646 w 35"/>
                    <a:gd name="T13" fmla="*/ 2147483646 h 35"/>
                    <a:gd name="T14" fmla="*/ 2147483646 w 35"/>
                    <a:gd name="T15" fmla="*/ 2147483646 h 35"/>
                    <a:gd name="T16" fmla="*/ 2147483646 w 35"/>
                    <a:gd name="T17" fmla="*/ 0 h 35"/>
                    <a:gd name="T18" fmla="*/ 2147483646 w 35"/>
                    <a:gd name="T19" fmla="*/ 2147483646 h 35"/>
                    <a:gd name="T20" fmla="*/ 2147483646 w 35"/>
                    <a:gd name="T21" fmla="*/ 2147483646 h 35"/>
                    <a:gd name="T22" fmla="*/ 2147483646 w 35"/>
                    <a:gd name="T23" fmla="*/ 2147483646 h 35"/>
                    <a:gd name="T24" fmla="*/ 0 w 35"/>
                    <a:gd name="T25" fmla="*/ 2147483646 h 35"/>
                    <a:gd name="T26" fmla="*/ 2147483646 w 35"/>
                    <a:gd name="T27" fmla="*/ 2147483646 h 35"/>
                    <a:gd name="T28" fmla="*/ 2147483646 w 35"/>
                    <a:gd name="T29" fmla="*/ 2147483646 h 35"/>
                    <a:gd name="T30" fmla="*/ 2147483646 w 35"/>
                    <a:gd name="T31" fmla="*/ 2147483646 h 35"/>
                    <a:gd name="T32" fmla="*/ 2147483646 w 35"/>
                    <a:gd name="T33" fmla="*/ 2147483646 h 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35"/>
                    <a:gd name="T53" fmla="*/ 35 w 35"/>
                    <a:gd name="T54" fmla="*/ 35 h 3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35">
                      <a:moveTo>
                        <a:pt x="18" y="35"/>
                      </a:moveTo>
                      <a:lnTo>
                        <a:pt x="25" y="34"/>
                      </a:lnTo>
                      <a:lnTo>
                        <a:pt x="31" y="30"/>
                      </a:lnTo>
                      <a:lnTo>
                        <a:pt x="34" y="25"/>
                      </a:lnTo>
                      <a:lnTo>
                        <a:pt x="35" y="18"/>
                      </a:lnTo>
                      <a:lnTo>
                        <a:pt x="34" y="11"/>
                      </a:lnTo>
                      <a:lnTo>
                        <a:pt x="31" y="5"/>
                      </a:lnTo>
                      <a:lnTo>
                        <a:pt x="25" y="2"/>
                      </a:lnTo>
                      <a:lnTo>
                        <a:pt x="18" y="0"/>
                      </a:lnTo>
                      <a:lnTo>
                        <a:pt x="11" y="2"/>
                      </a:lnTo>
                      <a:lnTo>
                        <a:pt x="5" y="5"/>
                      </a:lnTo>
                      <a:lnTo>
                        <a:pt x="1" y="11"/>
                      </a:lnTo>
                      <a:lnTo>
                        <a:pt x="0" y="18"/>
                      </a:lnTo>
                      <a:lnTo>
                        <a:pt x="1" y="25"/>
                      </a:lnTo>
                      <a:lnTo>
                        <a:pt x="5" y="30"/>
                      </a:lnTo>
                      <a:lnTo>
                        <a:pt x="11" y="34"/>
                      </a:lnTo>
                      <a:lnTo>
                        <a:pt x="18" y="35"/>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31" name="Freeform 545">
                  <a:extLst>
                    <a:ext uri="{FF2B5EF4-FFF2-40B4-BE49-F238E27FC236}">
                      <a16:creationId xmlns:a16="http://schemas.microsoft.com/office/drawing/2014/main" id="{3DB0D19E-7811-4100-8E34-31D0FE5B63A7}"/>
                    </a:ext>
                  </a:extLst>
                </p:cNvPr>
                <p:cNvSpPr>
                  <a:spLocks/>
                </p:cNvSpPr>
                <p:nvPr/>
              </p:nvSpPr>
              <p:spPr bwMode="auto">
                <a:xfrm>
                  <a:off x="3181339" y="3990977"/>
                  <a:ext cx="28575" cy="26988"/>
                </a:xfrm>
                <a:custGeom>
                  <a:avLst/>
                  <a:gdLst>
                    <a:gd name="T0" fmla="*/ 2147483646 w 36"/>
                    <a:gd name="T1" fmla="*/ 2147483646 h 35"/>
                    <a:gd name="T2" fmla="*/ 2147483646 w 36"/>
                    <a:gd name="T3" fmla="*/ 2147483646 h 35"/>
                    <a:gd name="T4" fmla="*/ 2147483646 w 36"/>
                    <a:gd name="T5" fmla="*/ 2147483646 h 35"/>
                    <a:gd name="T6" fmla="*/ 2147483646 w 36"/>
                    <a:gd name="T7" fmla="*/ 2147483646 h 35"/>
                    <a:gd name="T8" fmla="*/ 2147483646 w 36"/>
                    <a:gd name="T9" fmla="*/ 2147483646 h 35"/>
                    <a:gd name="T10" fmla="*/ 2147483646 w 36"/>
                    <a:gd name="T11" fmla="*/ 2147483646 h 35"/>
                    <a:gd name="T12" fmla="*/ 2147483646 w 36"/>
                    <a:gd name="T13" fmla="*/ 2147483646 h 35"/>
                    <a:gd name="T14" fmla="*/ 2147483646 w 36"/>
                    <a:gd name="T15" fmla="*/ 2147483646 h 35"/>
                    <a:gd name="T16" fmla="*/ 2147483646 w 36"/>
                    <a:gd name="T17" fmla="*/ 0 h 35"/>
                    <a:gd name="T18" fmla="*/ 2147483646 w 36"/>
                    <a:gd name="T19" fmla="*/ 2147483646 h 35"/>
                    <a:gd name="T20" fmla="*/ 2147483646 w 36"/>
                    <a:gd name="T21" fmla="*/ 2147483646 h 35"/>
                    <a:gd name="T22" fmla="*/ 2147483646 w 36"/>
                    <a:gd name="T23" fmla="*/ 2147483646 h 35"/>
                    <a:gd name="T24" fmla="*/ 0 w 36"/>
                    <a:gd name="T25" fmla="*/ 2147483646 h 35"/>
                    <a:gd name="T26" fmla="*/ 2147483646 w 36"/>
                    <a:gd name="T27" fmla="*/ 2147483646 h 35"/>
                    <a:gd name="T28" fmla="*/ 2147483646 w 36"/>
                    <a:gd name="T29" fmla="*/ 2147483646 h 35"/>
                    <a:gd name="T30" fmla="*/ 2147483646 w 36"/>
                    <a:gd name="T31" fmla="*/ 2147483646 h 35"/>
                    <a:gd name="T32" fmla="*/ 2147483646 w 36"/>
                    <a:gd name="T33" fmla="*/ 2147483646 h 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5"/>
                    <a:gd name="T53" fmla="*/ 36 w 36"/>
                    <a:gd name="T54" fmla="*/ 35 h 3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5">
                      <a:moveTo>
                        <a:pt x="17" y="35"/>
                      </a:moveTo>
                      <a:lnTo>
                        <a:pt x="24" y="34"/>
                      </a:lnTo>
                      <a:lnTo>
                        <a:pt x="30" y="30"/>
                      </a:lnTo>
                      <a:lnTo>
                        <a:pt x="34" y="25"/>
                      </a:lnTo>
                      <a:lnTo>
                        <a:pt x="36" y="18"/>
                      </a:lnTo>
                      <a:lnTo>
                        <a:pt x="34" y="11"/>
                      </a:lnTo>
                      <a:lnTo>
                        <a:pt x="30" y="5"/>
                      </a:lnTo>
                      <a:lnTo>
                        <a:pt x="24" y="2"/>
                      </a:lnTo>
                      <a:lnTo>
                        <a:pt x="17" y="0"/>
                      </a:lnTo>
                      <a:lnTo>
                        <a:pt x="10" y="2"/>
                      </a:lnTo>
                      <a:lnTo>
                        <a:pt x="6" y="5"/>
                      </a:lnTo>
                      <a:lnTo>
                        <a:pt x="1" y="11"/>
                      </a:lnTo>
                      <a:lnTo>
                        <a:pt x="0" y="18"/>
                      </a:lnTo>
                      <a:lnTo>
                        <a:pt x="1" y="25"/>
                      </a:lnTo>
                      <a:lnTo>
                        <a:pt x="6" y="30"/>
                      </a:lnTo>
                      <a:lnTo>
                        <a:pt x="10" y="34"/>
                      </a:lnTo>
                      <a:lnTo>
                        <a:pt x="17" y="35"/>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32" name="Freeform 546">
                  <a:extLst>
                    <a:ext uri="{FF2B5EF4-FFF2-40B4-BE49-F238E27FC236}">
                      <a16:creationId xmlns:a16="http://schemas.microsoft.com/office/drawing/2014/main" id="{29E95028-95AF-4CB5-85C5-6E9CF251DADE}"/>
                    </a:ext>
                  </a:extLst>
                </p:cNvPr>
                <p:cNvSpPr>
                  <a:spLocks/>
                </p:cNvSpPr>
                <p:nvPr/>
              </p:nvSpPr>
              <p:spPr bwMode="auto">
                <a:xfrm>
                  <a:off x="3241664" y="4021140"/>
                  <a:ext cx="28575" cy="28575"/>
                </a:xfrm>
                <a:custGeom>
                  <a:avLst/>
                  <a:gdLst>
                    <a:gd name="T0" fmla="*/ 2147483646 w 36"/>
                    <a:gd name="T1" fmla="*/ 2147483646 h 36"/>
                    <a:gd name="T2" fmla="*/ 2147483646 w 36"/>
                    <a:gd name="T3" fmla="*/ 2147483646 h 36"/>
                    <a:gd name="T4" fmla="*/ 2147483646 w 36"/>
                    <a:gd name="T5" fmla="*/ 2147483646 h 36"/>
                    <a:gd name="T6" fmla="*/ 2147483646 w 36"/>
                    <a:gd name="T7" fmla="*/ 2147483646 h 36"/>
                    <a:gd name="T8" fmla="*/ 2147483646 w 36"/>
                    <a:gd name="T9" fmla="*/ 2147483646 h 36"/>
                    <a:gd name="T10" fmla="*/ 2147483646 w 36"/>
                    <a:gd name="T11" fmla="*/ 2147483646 h 36"/>
                    <a:gd name="T12" fmla="*/ 2147483646 w 36"/>
                    <a:gd name="T13" fmla="*/ 2147483646 h 36"/>
                    <a:gd name="T14" fmla="*/ 2147483646 w 36"/>
                    <a:gd name="T15" fmla="*/ 2147483646 h 36"/>
                    <a:gd name="T16" fmla="*/ 2147483646 w 36"/>
                    <a:gd name="T17" fmla="*/ 0 h 36"/>
                    <a:gd name="T18" fmla="*/ 2147483646 w 36"/>
                    <a:gd name="T19" fmla="*/ 2147483646 h 36"/>
                    <a:gd name="T20" fmla="*/ 2147483646 w 36"/>
                    <a:gd name="T21" fmla="*/ 2147483646 h 36"/>
                    <a:gd name="T22" fmla="*/ 2147483646 w 36"/>
                    <a:gd name="T23" fmla="*/ 2147483646 h 36"/>
                    <a:gd name="T24" fmla="*/ 0 w 36"/>
                    <a:gd name="T25" fmla="*/ 2147483646 h 36"/>
                    <a:gd name="T26" fmla="*/ 2147483646 w 36"/>
                    <a:gd name="T27" fmla="*/ 2147483646 h 36"/>
                    <a:gd name="T28" fmla="*/ 2147483646 w 36"/>
                    <a:gd name="T29" fmla="*/ 2147483646 h 36"/>
                    <a:gd name="T30" fmla="*/ 2147483646 w 36"/>
                    <a:gd name="T31" fmla="*/ 2147483646 h 36"/>
                    <a:gd name="T32" fmla="*/ 2147483646 w 36"/>
                    <a:gd name="T33" fmla="*/ 214748364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6"/>
                    <a:gd name="T53" fmla="*/ 36 w 36"/>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6">
                      <a:moveTo>
                        <a:pt x="18" y="36"/>
                      </a:moveTo>
                      <a:lnTo>
                        <a:pt x="25" y="35"/>
                      </a:lnTo>
                      <a:lnTo>
                        <a:pt x="31" y="30"/>
                      </a:lnTo>
                      <a:lnTo>
                        <a:pt x="34" y="25"/>
                      </a:lnTo>
                      <a:lnTo>
                        <a:pt x="36" y="18"/>
                      </a:lnTo>
                      <a:lnTo>
                        <a:pt x="34" y="11"/>
                      </a:lnTo>
                      <a:lnTo>
                        <a:pt x="31" y="5"/>
                      </a:lnTo>
                      <a:lnTo>
                        <a:pt x="25" y="2"/>
                      </a:lnTo>
                      <a:lnTo>
                        <a:pt x="18" y="0"/>
                      </a:lnTo>
                      <a:lnTo>
                        <a:pt x="11" y="2"/>
                      </a:lnTo>
                      <a:lnTo>
                        <a:pt x="6" y="5"/>
                      </a:lnTo>
                      <a:lnTo>
                        <a:pt x="1" y="11"/>
                      </a:lnTo>
                      <a:lnTo>
                        <a:pt x="0" y="18"/>
                      </a:lnTo>
                      <a:lnTo>
                        <a:pt x="1" y="25"/>
                      </a:lnTo>
                      <a:lnTo>
                        <a:pt x="6" y="30"/>
                      </a:lnTo>
                      <a:lnTo>
                        <a:pt x="11" y="35"/>
                      </a:lnTo>
                      <a:lnTo>
                        <a:pt x="18" y="36"/>
                      </a:lnTo>
                      <a:close/>
                    </a:path>
                  </a:pathLst>
                </a:custGeom>
                <a:solidFill>
                  <a:srgbClr val="F7F9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33" name="Freeform 548">
                  <a:extLst>
                    <a:ext uri="{FF2B5EF4-FFF2-40B4-BE49-F238E27FC236}">
                      <a16:creationId xmlns:a16="http://schemas.microsoft.com/office/drawing/2014/main" id="{07C102EF-6DCF-4359-850D-318C7E812A69}"/>
                    </a:ext>
                  </a:extLst>
                </p:cNvPr>
                <p:cNvSpPr>
                  <a:spLocks/>
                </p:cNvSpPr>
                <p:nvPr/>
              </p:nvSpPr>
              <p:spPr bwMode="auto">
                <a:xfrm>
                  <a:off x="3428372" y="3873814"/>
                  <a:ext cx="141288" cy="255588"/>
                </a:xfrm>
                <a:custGeom>
                  <a:avLst/>
                  <a:gdLst>
                    <a:gd name="T0" fmla="*/ 2147483646 w 176"/>
                    <a:gd name="T1" fmla="*/ 2147483646 h 321"/>
                    <a:gd name="T2" fmla="*/ 2147483646 w 176"/>
                    <a:gd name="T3" fmla="*/ 2147483646 h 321"/>
                    <a:gd name="T4" fmla="*/ 0 w 176"/>
                    <a:gd name="T5" fmla="*/ 2147483646 h 321"/>
                    <a:gd name="T6" fmla="*/ 2147483646 w 176"/>
                    <a:gd name="T7" fmla="*/ 2147483646 h 321"/>
                    <a:gd name="T8" fmla="*/ 2147483646 w 176"/>
                    <a:gd name="T9" fmla="*/ 2147483646 h 321"/>
                    <a:gd name="T10" fmla="*/ 2147483646 w 176"/>
                    <a:gd name="T11" fmla="*/ 2147483646 h 321"/>
                    <a:gd name="T12" fmla="*/ 2147483646 w 176"/>
                    <a:gd name="T13" fmla="*/ 2147483646 h 321"/>
                    <a:gd name="T14" fmla="*/ 2147483646 w 176"/>
                    <a:gd name="T15" fmla="*/ 2147483646 h 321"/>
                    <a:gd name="T16" fmla="*/ 2147483646 w 176"/>
                    <a:gd name="T17" fmla="*/ 2147483646 h 321"/>
                    <a:gd name="T18" fmla="*/ 2147483646 w 176"/>
                    <a:gd name="T19" fmla="*/ 2147483646 h 321"/>
                    <a:gd name="T20" fmla="*/ 2147483646 w 176"/>
                    <a:gd name="T21" fmla="*/ 2147483646 h 321"/>
                    <a:gd name="T22" fmla="*/ 2147483646 w 176"/>
                    <a:gd name="T23" fmla="*/ 2147483646 h 321"/>
                    <a:gd name="T24" fmla="*/ 2147483646 w 176"/>
                    <a:gd name="T25" fmla="*/ 2147483646 h 321"/>
                    <a:gd name="T26" fmla="*/ 2147483646 w 176"/>
                    <a:gd name="T27" fmla="*/ 2147483646 h 321"/>
                    <a:gd name="T28" fmla="*/ 2147483646 w 176"/>
                    <a:gd name="T29" fmla="*/ 2147483646 h 321"/>
                    <a:gd name="T30" fmla="*/ 2147483646 w 176"/>
                    <a:gd name="T31" fmla="*/ 2147483646 h 321"/>
                    <a:gd name="T32" fmla="*/ 2147483646 w 176"/>
                    <a:gd name="T33" fmla="*/ 2147483646 h 321"/>
                    <a:gd name="T34" fmla="*/ 2147483646 w 176"/>
                    <a:gd name="T35" fmla="*/ 2147483646 h 321"/>
                    <a:gd name="T36" fmla="*/ 2147483646 w 176"/>
                    <a:gd name="T37" fmla="*/ 2147483646 h 321"/>
                    <a:gd name="T38" fmla="*/ 2147483646 w 176"/>
                    <a:gd name="T39" fmla="*/ 2147483646 h 321"/>
                    <a:gd name="T40" fmla="*/ 2147483646 w 176"/>
                    <a:gd name="T41" fmla="*/ 2147483646 h 321"/>
                    <a:gd name="T42" fmla="*/ 2147483646 w 176"/>
                    <a:gd name="T43" fmla="*/ 2147483646 h 321"/>
                    <a:gd name="T44" fmla="*/ 2147483646 w 176"/>
                    <a:gd name="T45" fmla="*/ 2147483646 h 321"/>
                    <a:gd name="T46" fmla="*/ 2147483646 w 176"/>
                    <a:gd name="T47" fmla="*/ 2147483646 h 321"/>
                    <a:gd name="T48" fmla="*/ 2147483646 w 176"/>
                    <a:gd name="T49" fmla="*/ 2147483646 h 321"/>
                    <a:gd name="T50" fmla="*/ 2147483646 w 176"/>
                    <a:gd name="T51" fmla="*/ 2147483646 h 321"/>
                    <a:gd name="T52" fmla="*/ 2147483646 w 176"/>
                    <a:gd name="T53" fmla="*/ 2147483646 h 321"/>
                    <a:gd name="T54" fmla="*/ 2147483646 w 176"/>
                    <a:gd name="T55" fmla="*/ 2147483646 h 321"/>
                    <a:gd name="T56" fmla="*/ 2147483646 w 176"/>
                    <a:gd name="T57" fmla="*/ 2147483646 h 321"/>
                    <a:gd name="T58" fmla="*/ 2147483646 w 176"/>
                    <a:gd name="T59" fmla="*/ 2147483646 h 321"/>
                    <a:gd name="T60" fmla="*/ 2147483646 w 176"/>
                    <a:gd name="T61" fmla="*/ 2147483646 h 321"/>
                    <a:gd name="T62" fmla="*/ 2147483646 w 176"/>
                    <a:gd name="T63" fmla="*/ 0 h 321"/>
                    <a:gd name="T64" fmla="*/ 2147483646 w 176"/>
                    <a:gd name="T65" fmla="*/ 2147483646 h 321"/>
                    <a:gd name="T66" fmla="*/ 2147483646 w 176"/>
                    <a:gd name="T67" fmla="*/ 2147483646 h 321"/>
                    <a:gd name="T68" fmla="*/ 2147483646 w 176"/>
                    <a:gd name="T69" fmla="*/ 2147483646 h 321"/>
                    <a:gd name="T70" fmla="*/ 2147483646 w 176"/>
                    <a:gd name="T71" fmla="*/ 2147483646 h 321"/>
                    <a:gd name="T72" fmla="*/ 2147483646 w 176"/>
                    <a:gd name="T73" fmla="*/ 2147483646 h 321"/>
                    <a:gd name="T74" fmla="*/ 2147483646 w 176"/>
                    <a:gd name="T75" fmla="*/ 2147483646 h 321"/>
                    <a:gd name="T76" fmla="*/ 2147483646 w 176"/>
                    <a:gd name="T77" fmla="*/ 2147483646 h 321"/>
                    <a:gd name="T78" fmla="*/ 2147483646 w 176"/>
                    <a:gd name="T79" fmla="*/ 2147483646 h 321"/>
                    <a:gd name="T80" fmla="*/ 2147483646 w 176"/>
                    <a:gd name="T81" fmla="*/ 2147483646 h 321"/>
                    <a:gd name="T82" fmla="*/ 2147483646 w 176"/>
                    <a:gd name="T83" fmla="*/ 2147483646 h 321"/>
                    <a:gd name="T84" fmla="*/ 2147483646 w 176"/>
                    <a:gd name="T85" fmla="*/ 2147483646 h 321"/>
                    <a:gd name="T86" fmla="*/ 2147483646 w 176"/>
                    <a:gd name="T87" fmla="*/ 2147483646 h 321"/>
                    <a:gd name="T88" fmla="*/ 2147483646 w 176"/>
                    <a:gd name="T89" fmla="*/ 2147483646 h 321"/>
                    <a:gd name="T90" fmla="*/ 2147483646 w 176"/>
                    <a:gd name="T91" fmla="*/ 2147483646 h 321"/>
                    <a:gd name="T92" fmla="*/ 2147483646 w 176"/>
                    <a:gd name="T93" fmla="*/ 2147483646 h 32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76"/>
                    <a:gd name="T142" fmla="*/ 0 h 321"/>
                    <a:gd name="T143" fmla="*/ 176 w 176"/>
                    <a:gd name="T144" fmla="*/ 321 h 32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76" h="321">
                      <a:moveTo>
                        <a:pt x="58" y="230"/>
                      </a:moveTo>
                      <a:lnTo>
                        <a:pt x="54" y="225"/>
                      </a:lnTo>
                      <a:lnTo>
                        <a:pt x="51" y="219"/>
                      </a:lnTo>
                      <a:lnTo>
                        <a:pt x="48" y="213"/>
                      </a:lnTo>
                      <a:lnTo>
                        <a:pt x="47" y="206"/>
                      </a:lnTo>
                      <a:lnTo>
                        <a:pt x="0" y="211"/>
                      </a:lnTo>
                      <a:lnTo>
                        <a:pt x="3" y="227"/>
                      </a:lnTo>
                      <a:lnTo>
                        <a:pt x="9" y="242"/>
                      </a:lnTo>
                      <a:lnTo>
                        <a:pt x="16" y="254"/>
                      </a:lnTo>
                      <a:lnTo>
                        <a:pt x="24" y="266"/>
                      </a:lnTo>
                      <a:lnTo>
                        <a:pt x="30" y="271"/>
                      </a:lnTo>
                      <a:lnTo>
                        <a:pt x="35" y="274"/>
                      </a:lnTo>
                      <a:lnTo>
                        <a:pt x="40" y="279"/>
                      </a:lnTo>
                      <a:lnTo>
                        <a:pt x="47" y="281"/>
                      </a:lnTo>
                      <a:lnTo>
                        <a:pt x="53" y="284"/>
                      </a:lnTo>
                      <a:lnTo>
                        <a:pt x="60" y="287"/>
                      </a:lnTo>
                      <a:lnTo>
                        <a:pt x="67" y="288"/>
                      </a:lnTo>
                      <a:lnTo>
                        <a:pt x="75" y="289"/>
                      </a:lnTo>
                      <a:lnTo>
                        <a:pt x="75" y="321"/>
                      </a:lnTo>
                      <a:lnTo>
                        <a:pt x="101" y="321"/>
                      </a:lnTo>
                      <a:lnTo>
                        <a:pt x="101" y="288"/>
                      </a:lnTo>
                      <a:lnTo>
                        <a:pt x="109" y="287"/>
                      </a:lnTo>
                      <a:lnTo>
                        <a:pt x="117" y="284"/>
                      </a:lnTo>
                      <a:lnTo>
                        <a:pt x="126" y="282"/>
                      </a:lnTo>
                      <a:lnTo>
                        <a:pt x="132" y="279"/>
                      </a:lnTo>
                      <a:lnTo>
                        <a:pt x="139" y="275"/>
                      </a:lnTo>
                      <a:lnTo>
                        <a:pt x="145" y="271"/>
                      </a:lnTo>
                      <a:lnTo>
                        <a:pt x="151" y="266"/>
                      </a:lnTo>
                      <a:lnTo>
                        <a:pt x="157" y="260"/>
                      </a:lnTo>
                      <a:lnTo>
                        <a:pt x="165" y="249"/>
                      </a:lnTo>
                      <a:lnTo>
                        <a:pt x="172" y="235"/>
                      </a:lnTo>
                      <a:lnTo>
                        <a:pt x="175" y="221"/>
                      </a:lnTo>
                      <a:lnTo>
                        <a:pt x="176" y="206"/>
                      </a:lnTo>
                      <a:lnTo>
                        <a:pt x="175" y="192"/>
                      </a:lnTo>
                      <a:lnTo>
                        <a:pt x="172" y="180"/>
                      </a:lnTo>
                      <a:lnTo>
                        <a:pt x="167" y="168"/>
                      </a:lnTo>
                      <a:lnTo>
                        <a:pt x="160" y="158"/>
                      </a:lnTo>
                      <a:lnTo>
                        <a:pt x="155" y="153"/>
                      </a:lnTo>
                      <a:lnTo>
                        <a:pt x="151" y="148"/>
                      </a:lnTo>
                      <a:lnTo>
                        <a:pt x="145" y="145"/>
                      </a:lnTo>
                      <a:lnTo>
                        <a:pt x="138" y="140"/>
                      </a:lnTo>
                      <a:lnTo>
                        <a:pt x="130" y="137"/>
                      </a:lnTo>
                      <a:lnTo>
                        <a:pt x="121" y="133"/>
                      </a:lnTo>
                      <a:lnTo>
                        <a:pt x="112" y="131"/>
                      </a:lnTo>
                      <a:lnTo>
                        <a:pt x="101" y="128"/>
                      </a:lnTo>
                      <a:lnTo>
                        <a:pt x="101" y="57"/>
                      </a:lnTo>
                      <a:lnTo>
                        <a:pt x="109" y="62"/>
                      </a:lnTo>
                      <a:lnTo>
                        <a:pt x="115" y="68"/>
                      </a:lnTo>
                      <a:lnTo>
                        <a:pt x="120" y="76"/>
                      </a:lnTo>
                      <a:lnTo>
                        <a:pt x="123" y="86"/>
                      </a:lnTo>
                      <a:lnTo>
                        <a:pt x="168" y="79"/>
                      </a:lnTo>
                      <a:lnTo>
                        <a:pt x="166" y="67"/>
                      </a:lnTo>
                      <a:lnTo>
                        <a:pt x="161" y="55"/>
                      </a:lnTo>
                      <a:lnTo>
                        <a:pt x="154" y="45"/>
                      </a:lnTo>
                      <a:lnTo>
                        <a:pt x="147" y="37"/>
                      </a:lnTo>
                      <a:lnTo>
                        <a:pt x="143" y="33"/>
                      </a:lnTo>
                      <a:lnTo>
                        <a:pt x="138" y="30"/>
                      </a:lnTo>
                      <a:lnTo>
                        <a:pt x="132" y="26"/>
                      </a:lnTo>
                      <a:lnTo>
                        <a:pt x="128" y="24"/>
                      </a:lnTo>
                      <a:lnTo>
                        <a:pt x="121" y="22"/>
                      </a:lnTo>
                      <a:lnTo>
                        <a:pt x="115" y="19"/>
                      </a:lnTo>
                      <a:lnTo>
                        <a:pt x="108" y="18"/>
                      </a:lnTo>
                      <a:lnTo>
                        <a:pt x="101" y="17"/>
                      </a:lnTo>
                      <a:lnTo>
                        <a:pt x="101" y="0"/>
                      </a:lnTo>
                      <a:lnTo>
                        <a:pt x="75" y="0"/>
                      </a:lnTo>
                      <a:lnTo>
                        <a:pt x="75" y="17"/>
                      </a:lnTo>
                      <a:lnTo>
                        <a:pt x="67" y="18"/>
                      </a:lnTo>
                      <a:lnTo>
                        <a:pt x="60" y="19"/>
                      </a:lnTo>
                      <a:lnTo>
                        <a:pt x="53" y="22"/>
                      </a:lnTo>
                      <a:lnTo>
                        <a:pt x="47" y="25"/>
                      </a:lnTo>
                      <a:lnTo>
                        <a:pt x="41" y="27"/>
                      </a:lnTo>
                      <a:lnTo>
                        <a:pt x="36" y="32"/>
                      </a:lnTo>
                      <a:lnTo>
                        <a:pt x="30" y="36"/>
                      </a:lnTo>
                      <a:lnTo>
                        <a:pt x="25" y="40"/>
                      </a:lnTo>
                      <a:lnTo>
                        <a:pt x="17" y="51"/>
                      </a:lnTo>
                      <a:lnTo>
                        <a:pt x="12" y="63"/>
                      </a:lnTo>
                      <a:lnTo>
                        <a:pt x="8" y="76"/>
                      </a:lnTo>
                      <a:lnTo>
                        <a:pt x="7" y="90"/>
                      </a:lnTo>
                      <a:lnTo>
                        <a:pt x="8" y="104"/>
                      </a:lnTo>
                      <a:lnTo>
                        <a:pt x="12" y="116"/>
                      </a:lnTo>
                      <a:lnTo>
                        <a:pt x="16" y="129"/>
                      </a:lnTo>
                      <a:lnTo>
                        <a:pt x="23" y="139"/>
                      </a:lnTo>
                      <a:lnTo>
                        <a:pt x="28" y="144"/>
                      </a:lnTo>
                      <a:lnTo>
                        <a:pt x="32" y="148"/>
                      </a:lnTo>
                      <a:lnTo>
                        <a:pt x="38" y="153"/>
                      </a:lnTo>
                      <a:lnTo>
                        <a:pt x="45" y="158"/>
                      </a:lnTo>
                      <a:lnTo>
                        <a:pt x="52" y="161"/>
                      </a:lnTo>
                      <a:lnTo>
                        <a:pt x="59" y="165"/>
                      </a:lnTo>
                      <a:lnTo>
                        <a:pt x="67" y="168"/>
                      </a:lnTo>
                      <a:lnTo>
                        <a:pt x="75" y="170"/>
                      </a:lnTo>
                      <a:lnTo>
                        <a:pt x="75" y="245"/>
                      </a:lnTo>
                      <a:lnTo>
                        <a:pt x="70" y="243"/>
                      </a:lnTo>
                      <a:lnTo>
                        <a:pt x="67" y="239"/>
                      </a:lnTo>
                      <a:lnTo>
                        <a:pt x="62" y="235"/>
                      </a:lnTo>
                      <a:lnTo>
                        <a:pt x="58" y="230"/>
                      </a:lnTo>
                      <a:close/>
                    </a:path>
                  </a:pathLst>
                </a:custGeom>
                <a:solidFill>
                  <a:srgbClr val="0021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34" name="Freeform 549">
                  <a:extLst>
                    <a:ext uri="{FF2B5EF4-FFF2-40B4-BE49-F238E27FC236}">
                      <a16:creationId xmlns:a16="http://schemas.microsoft.com/office/drawing/2014/main" id="{33909788-8820-43CC-B6FB-3559B9DFF102}"/>
                    </a:ext>
                  </a:extLst>
                </p:cNvPr>
                <p:cNvSpPr>
                  <a:spLocks/>
                </p:cNvSpPr>
                <p:nvPr/>
              </p:nvSpPr>
              <p:spPr bwMode="auto">
                <a:xfrm>
                  <a:off x="3471720" y="3928312"/>
                  <a:ext cx="25290" cy="48284"/>
                </a:xfrm>
                <a:custGeom>
                  <a:avLst/>
                  <a:gdLst>
                    <a:gd name="T0" fmla="*/ 2147483646 w 23"/>
                    <a:gd name="T1" fmla="*/ 2147483646 h 62"/>
                    <a:gd name="T2" fmla="*/ 2147483646 w 23"/>
                    <a:gd name="T3" fmla="*/ 2147483646 h 62"/>
                    <a:gd name="T4" fmla="*/ 2147483646 w 23"/>
                    <a:gd name="T5" fmla="*/ 2147483646 h 62"/>
                    <a:gd name="T6" fmla="*/ 0 w 23"/>
                    <a:gd name="T7" fmla="*/ 2147483646 h 62"/>
                    <a:gd name="T8" fmla="*/ 0 w 23"/>
                    <a:gd name="T9" fmla="*/ 2147483646 h 62"/>
                    <a:gd name="T10" fmla="*/ 0 w 23"/>
                    <a:gd name="T11" fmla="*/ 2147483646 h 62"/>
                    <a:gd name="T12" fmla="*/ 2147483646 w 23"/>
                    <a:gd name="T13" fmla="*/ 2147483646 h 62"/>
                    <a:gd name="T14" fmla="*/ 2147483646 w 23"/>
                    <a:gd name="T15" fmla="*/ 2147483646 h 62"/>
                    <a:gd name="T16" fmla="*/ 2147483646 w 23"/>
                    <a:gd name="T17" fmla="*/ 2147483646 h 62"/>
                    <a:gd name="T18" fmla="*/ 2147483646 w 23"/>
                    <a:gd name="T19" fmla="*/ 2147483646 h 62"/>
                    <a:gd name="T20" fmla="*/ 2147483646 w 23"/>
                    <a:gd name="T21" fmla="*/ 2147483646 h 62"/>
                    <a:gd name="T22" fmla="*/ 2147483646 w 23"/>
                    <a:gd name="T23" fmla="*/ 2147483646 h 62"/>
                    <a:gd name="T24" fmla="*/ 2147483646 w 23"/>
                    <a:gd name="T25" fmla="*/ 0 h 62"/>
                    <a:gd name="T26" fmla="*/ 2147483646 w 23"/>
                    <a:gd name="T27" fmla="*/ 2147483646 h 62"/>
                    <a:gd name="T28" fmla="*/ 2147483646 w 23"/>
                    <a:gd name="T29" fmla="*/ 2147483646 h 62"/>
                    <a:gd name="T30" fmla="*/ 2147483646 w 23"/>
                    <a:gd name="T31" fmla="*/ 2147483646 h 62"/>
                    <a:gd name="T32" fmla="*/ 2147483646 w 23"/>
                    <a:gd name="T33" fmla="*/ 2147483646 h 62"/>
                    <a:gd name="T34" fmla="*/ 2147483646 w 23"/>
                    <a:gd name="T35" fmla="*/ 2147483646 h 6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
                    <a:gd name="T55" fmla="*/ 0 h 62"/>
                    <a:gd name="T56" fmla="*/ 23 w 23"/>
                    <a:gd name="T57" fmla="*/ 62 h 6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 h="62">
                      <a:moveTo>
                        <a:pt x="6" y="50"/>
                      </a:moveTo>
                      <a:lnTo>
                        <a:pt x="3" y="45"/>
                      </a:lnTo>
                      <a:lnTo>
                        <a:pt x="1" y="41"/>
                      </a:lnTo>
                      <a:lnTo>
                        <a:pt x="0" y="36"/>
                      </a:lnTo>
                      <a:lnTo>
                        <a:pt x="0" y="31"/>
                      </a:lnTo>
                      <a:lnTo>
                        <a:pt x="0" y="27"/>
                      </a:lnTo>
                      <a:lnTo>
                        <a:pt x="2" y="22"/>
                      </a:lnTo>
                      <a:lnTo>
                        <a:pt x="3" y="18"/>
                      </a:lnTo>
                      <a:lnTo>
                        <a:pt x="7" y="13"/>
                      </a:lnTo>
                      <a:lnTo>
                        <a:pt x="10" y="8"/>
                      </a:lnTo>
                      <a:lnTo>
                        <a:pt x="14" y="5"/>
                      </a:lnTo>
                      <a:lnTo>
                        <a:pt x="18" y="3"/>
                      </a:lnTo>
                      <a:lnTo>
                        <a:pt x="23" y="0"/>
                      </a:lnTo>
                      <a:lnTo>
                        <a:pt x="23" y="62"/>
                      </a:lnTo>
                      <a:lnTo>
                        <a:pt x="18" y="60"/>
                      </a:lnTo>
                      <a:lnTo>
                        <a:pt x="14" y="57"/>
                      </a:lnTo>
                      <a:lnTo>
                        <a:pt x="9" y="53"/>
                      </a:lnTo>
                      <a:lnTo>
                        <a:pt x="6" y="50"/>
                      </a:lnTo>
                      <a:close/>
                    </a:path>
                  </a:pathLst>
                </a:custGeom>
                <a:solidFill>
                  <a:srgbClr val="93CDD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35" name="Freeform 550">
                  <a:extLst>
                    <a:ext uri="{FF2B5EF4-FFF2-40B4-BE49-F238E27FC236}">
                      <a16:creationId xmlns:a16="http://schemas.microsoft.com/office/drawing/2014/main" id="{8BE15854-E489-4206-99B8-5E16AE722CE5}"/>
                    </a:ext>
                  </a:extLst>
                </p:cNvPr>
                <p:cNvSpPr>
                  <a:spLocks/>
                </p:cNvSpPr>
                <p:nvPr/>
              </p:nvSpPr>
              <p:spPr bwMode="auto">
                <a:xfrm>
                  <a:off x="3505437" y="4016835"/>
                  <a:ext cx="25290" cy="56329"/>
                </a:xfrm>
                <a:custGeom>
                  <a:avLst/>
                  <a:gdLst>
                    <a:gd name="T0" fmla="*/ 2147483646 w 30"/>
                    <a:gd name="T1" fmla="*/ 2147483646 h 71"/>
                    <a:gd name="T2" fmla="*/ 2147483646 w 30"/>
                    <a:gd name="T3" fmla="*/ 2147483646 h 71"/>
                    <a:gd name="T4" fmla="*/ 2147483646 w 30"/>
                    <a:gd name="T5" fmla="*/ 2147483646 h 71"/>
                    <a:gd name="T6" fmla="*/ 2147483646 w 30"/>
                    <a:gd name="T7" fmla="*/ 2147483646 h 71"/>
                    <a:gd name="T8" fmla="*/ 2147483646 w 30"/>
                    <a:gd name="T9" fmla="*/ 2147483646 h 71"/>
                    <a:gd name="T10" fmla="*/ 2147483646 w 30"/>
                    <a:gd name="T11" fmla="*/ 2147483646 h 71"/>
                    <a:gd name="T12" fmla="*/ 2147483646 w 30"/>
                    <a:gd name="T13" fmla="*/ 2147483646 h 71"/>
                    <a:gd name="T14" fmla="*/ 2147483646 w 30"/>
                    <a:gd name="T15" fmla="*/ 2147483646 h 71"/>
                    <a:gd name="T16" fmla="*/ 2147483646 w 30"/>
                    <a:gd name="T17" fmla="*/ 2147483646 h 71"/>
                    <a:gd name="T18" fmla="*/ 2147483646 w 30"/>
                    <a:gd name="T19" fmla="*/ 2147483646 h 71"/>
                    <a:gd name="T20" fmla="*/ 2147483646 w 30"/>
                    <a:gd name="T21" fmla="*/ 2147483646 h 71"/>
                    <a:gd name="T22" fmla="*/ 2147483646 w 30"/>
                    <a:gd name="T23" fmla="*/ 2147483646 h 71"/>
                    <a:gd name="T24" fmla="*/ 0 w 30"/>
                    <a:gd name="T25" fmla="*/ 2147483646 h 71"/>
                    <a:gd name="T26" fmla="*/ 0 w 30"/>
                    <a:gd name="T27" fmla="*/ 0 h 71"/>
                    <a:gd name="T28" fmla="*/ 2147483646 w 30"/>
                    <a:gd name="T29" fmla="*/ 2147483646 h 71"/>
                    <a:gd name="T30" fmla="*/ 2147483646 w 30"/>
                    <a:gd name="T31" fmla="*/ 2147483646 h 71"/>
                    <a:gd name="T32" fmla="*/ 2147483646 w 30"/>
                    <a:gd name="T33" fmla="*/ 2147483646 h 71"/>
                    <a:gd name="T34" fmla="*/ 2147483646 w 30"/>
                    <a:gd name="T35" fmla="*/ 2147483646 h 7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
                    <a:gd name="T55" fmla="*/ 0 h 71"/>
                    <a:gd name="T56" fmla="*/ 30 w 30"/>
                    <a:gd name="T57" fmla="*/ 71 h 7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 h="71">
                      <a:moveTo>
                        <a:pt x="23" y="14"/>
                      </a:moveTo>
                      <a:lnTo>
                        <a:pt x="27" y="19"/>
                      </a:lnTo>
                      <a:lnTo>
                        <a:pt x="29" y="23"/>
                      </a:lnTo>
                      <a:lnTo>
                        <a:pt x="30" y="29"/>
                      </a:lnTo>
                      <a:lnTo>
                        <a:pt x="30" y="35"/>
                      </a:lnTo>
                      <a:lnTo>
                        <a:pt x="30" y="42"/>
                      </a:lnTo>
                      <a:lnTo>
                        <a:pt x="28" y="48"/>
                      </a:lnTo>
                      <a:lnTo>
                        <a:pt x="26" y="53"/>
                      </a:lnTo>
                      <a:lnTo>
                        <a:pt x="22" y="59"/>
                      </a:lnTo>
                      <a:lnTo>
                        <a:pt x="18" y="64"/>
                      </a:lnTo>
                      <a:lnTo>
                        <a:pt x="13" y="66"/>
                      </a:lnTo>
                      <a:lnTo>
                        <a:pt x="7" y="69"/>
                      </a:lnTo>
                      <a:lnTo>
                        <a:pt x="0" y="71"/>
                      </a:lnTo>
                      <a:lnTo>
                        <a:pt x="0" y="0"/>
                      </a:lnTo>
                      <a:lnTo>
                        <a:pt x="7" y="3"/>
                      </a:lnTo>
                      <a:lnTo>
                        <a:pt x="14" y="6"/>
                      </a:lnTo>
                      <a:lnTo>
                        <a:pt x="19" y="9"/>
                      </a:lnTo>
                      <a:lnTo>
                        <a:pt x="23" y="14"/>
                      </a:lnTo>
                      <a:close/>
                    </a:path>
                  </a:pathLst>
                </a:custGeom>
                <a:solidFill>
                  <a:srgbClr val="93CDD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36" name="Freeform 551">
                  <a:extLst>
                    <a:ext uri="{FF2B5EF4-FFF2-40B4-BE49-F238E27FC236}">
                      <a16:creationId xmlns:a16="http://schemas.microsoft.com/office/drawing/2014/main" id="{7707E24E-1AF2-4BC2-ADE6-FB18759C2A1F}"/>
                    </a:ext>
                  </a:extLst>
                </p:cNvPr>
                <p:cNvSpPr>
                  <a:spLocks/>
                </p:cNvSpPr>
                <p:nvPr/>
              </p:nvSpPr>
              <p:spPr bwMode="auto">
                <a:xfrm>
                  <a:off x="3354377" y="3706815"/>
                  <a:ext cx="58738" cy="69850"/>
                </a:xfrm>
                <a:custGeom>
                  <a:avLst/>
                  <a:gdLst>
                    <a:gd name="T0" fmla="*/ 2147483646 w 74"/>
                    <a:gd name="T1" fmla="*/ 2147483646 h 89"/>
                    <a:gd name="T2" fmla="*/ 2147483646 w 74"/>
                    <a:gd name="T3" fmla="*/ 2147483646 h 89"/>
                    <a:gd name="T4" fmla="*/ 2147483646 w 74"/>
                    <a:gd name="T5" fmla="*/ 2147483646 h 89"/>
                    <a:gd name="T6" fmla="*/ 2147483646 w 74"/>
                    <a:gd name="T7" fmla="*/ 2147483646 h 89"/>
                    <a:gd name="T8" fmla="*/ 2147483646 w 74"/>
                    <a:gd name="T9" fmla="*/ 2147483646 h 89"/>
                    <a:gd name="T10" fmla="*/ 2147483646 w 74"/>
                    <a:gd name="T11" fmla="*/ 2147483646 h 89"/>
                    <a:gd name="T12" fmla="*/ 2147483646 w 74"/>
                    <a:gd name="T13" fmla="*/ 2147483646 h 89"/>
                    <a:gd name="T14" fmla="*/ 2147483646 w 74"/>
                    <a:gd name="T15" fmla="*/ 2147483646 h 89"/>
                    <a:gd name="T16" fmla="*/ 2147483646 w 74"/>
                    <a:gd name="T17" fmla="*/ 2147483646 h 89"/>
                    <a:gd name="T18" fmla="*/ 2147483646 w 74"/>
                    <a:gd name="T19" fmla="*/ 2147483646 h 89"/>
                    <a:gd name="T20" fmla="*/ 2147483646 w 74"/>
                    <a:gd name="T21" fmla="*/ 2147483646 h 89"/>
                    <a:gd name="T22" fmla="*/ 2147483646 w 74"/>
                    <a:gd name="T23" fmla="*/ 2147483646 h 89"/>
                    <a:gd name="T24" fmla="*/ 2147483646 w 74"/>
                    <a:gd name="T25" fmla="*/ 2147483646 h 89"/>
                    <a:gd name="T26" fmla="*/ 2147483646 w 74"/>
                    <a:gd name="T27" fmla="*/ 2147483646 h 89"/>
                    <a:gd name="T28" fmla="*/ 2147483646 w 74"/>
                    <a:gd name="T29" fmla="*/ 2147483646 h 89"/>
                    <a:gd name="T30" fmla="*/ 2147483646 w 74"/>
                    <a:gd name="T31" fmla="*/ 2147483646 h 89"/>
                    <a:gd name="T32" fmla="*/ 2147483646 w 74"/>
                    <a:gd name="T33" fmla="*/ 2147483646 h 89"/>
                    <a:gd name="T34" fmla="*/ 2147483646 w 74"/>
                    <a:gd name="T35" fmla="*/ 2147483646 h 89"/>
                    <a:gd name="T36" fmla="*/ 2147483646 w 74"/>
                    <a:gd name="T37" fmla="*/ 2147483646 h 89"/>
                    <a:gd name="T38" fmla="*/ 2147483646 w 74"/>
                    <a:gd name="T39" fmla="*/ 2147483646 h 89"/>
                    <a:gd name="T40" fmla="*/ 2147483646 w 74"/>
                    <a:gd name="T41" fmla="*/ 0 h 89"/>
                    <a:gd name="T42" fmla="*/ 2147483646 w 74"/>
                    <a:gd name="T43" fmla="*/ 2147483646 h 89"/>
                    <a:gd name="T44" fmla="*/ 2147483646 w 74"/>
                    <a:gd name="T45" fmla="*/ 2147483646 h 89"/>
                    <a:gd name="T46" fmla="*/ 2147483646 w 74"/>
                    <a:gd name="T47" fmla="*/ 2147483646 h 89"/>
                    <a:gd name="T48" fmla="*/ 2147483646 w 74"/>
                    <a:gd name="T49" fmla="*/ 2147483646 h 89"/>
                    <a:gd name="T50" fmla="*/ 2147483646 w 74"/>
                    <a:gd name="T51" fmla="*/ 2147483646 h 89"/>
                    <a:gd name="T52" fmla="*/ 2147483646 w 74"/>
                    <a:gd name="T53" fmla="*/ 2147483646 h 89"/>
                    <a:gd name="T54" fmla="*/ 2147483646 w 74"/>
                    <a:gd name="T55" fmla="*/ 2147483646 h 89"/>
                    <a:gd name="T56" fmla="*/ 0 w 74"/>
                    <a:gd name="T57" fmla="*/ 2147483646 h 89"/>
                    <a:gd name="T58" fmla="*/ 2147483646 w 74"/>
                    <a:gd name="T59" fmla="*/ 2147483646 h 89"/>
                    <a:gd name="T60" fmla="*/ 2147483646 w 74"/>
                    <a:gd name="T61" fmla="*/ 2147483646 h 89"/>
                    <a:gd name="T62" fmla="*/ 2147483646 w 74"/>
                    <a:gd name="T63" fmla="*/ 2147483646 h 89"/>
                    <a:gd name="T64" fmla="*/ 2147483646 w 74"/>
                    <a:gd name="T65" fmla="*/ 2147483646 h 8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4"/>
                    <a:gd name="T100" fmla="*/ 0 h 89"/>
                    <a:gd name="T101" fmla="*/ 74 w 74"/>
                    <a:gd name="T102" fmla="*/ 89 h 8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4" h="89">
                      <a:moveTo>
                        <a:pt x="11" y="78"/>
                      </a:moveTo>
                      <a:lnTo>
                        <a:pt x="17" y="83"/>
                      </a:lnTo>
                      <a:lnTo>
                        <a:pt x="22" y="86"/>
                      </a:lnTo>
                      <a:lnTo>
                        <a:pt x="29" y="88"/>
                      </a:lnTo>
                      <a:lnTo>
                        <a:pt x="37" y="89"/>
                      </a:lnTo>
                      <a:lnTo>
                        <a:pt x="45" y="88"/>
                      </a:lnTo>
                      <a:lnTo>
                        <a:pt x="52" y="86"/>
                      </a:lnTo>
                      <a:lnTo>
                        <a:pt x="58" y="83"/>
                      </a:lnTo>
                      <a:lnTo>
                        <a:pt x="64" y="78"/>
                      </a:lnTo>
                      <a:lnTo>
                        <a:pt x="68" y="73"/>
                      </a:lnTo>
                      <a:lnTo>
                        <a:pt x="72" y="65"/>
                      </a:lnTo>
                      <a:lnTo>
                        <a:pt x="73" y="55"/>
                      </a:lnTo>
                      <a:lnTo>
                        <a:pt x="74" y="45"/>
                      </a:lnTo>
                      <a:lnTo>
                        <a:pt x="73" y="33"/>
                      </a:lnTo>
                      <a:lnTo>
                        <a:pt x="72" y="24"/>
                      </a:lnTo>
                      <a:lnTo>
                        <a:pt x="68" y="17"/>
                      </a:lnTo>
                      <a:lnTo>
                        <a:pt x="64" y="10"/>
                      </a:lnTo>
                      <a:lnTo>
                        <a:pt x="58" y="6"/>
                      </a:lnTo>
                      <a:lnTo>
                        <a:pt x="52" y="2"/>
                      </a:lnTo>
                      <a:lnTo>
                        <a:pt x="44" y="1"/>
                      </a:lnTo>
                      <a:lnTo>
                        <a:pt x="36" y="0"/>
                      </a:lnTo>
                      <a:lnTo>
                        <a:pt x="28" y="1"/>
                      </a:lnTo>
                      <a:lnTo>
                        <a:pt x="22" y="2"/>
                      </a:lnTo>
                      <a:lnTo>
                        <a:pt x="17" y="6"/>
                      </a:lnTo>
                      <a:lnTo>
                        <a:pt x="11" y="10"/>
                      </a:lnTo>
                      <a:lnTo>
                        <a:pt x="6" y="17"/>
                      </a:lnTo>
                      <a:lnTo>
                        <a:pt x="3" y="25"/>
                      </a:lnTo>
                      <a:lnTo>
                        <a:pt x="2" y="35"/>
                      </a:lnTo>
                      <a:lnTo>
                        <a:pt x="0" y="45"/>
                      </a:lnTo>
                      <a:lnTo>
                        <a:pt x="2" y="55"/>
                      </a:lnTo>
                      <a:lnTo>
                        <a:pt x="3" y="65"/>
                      </a:lnTo>
                      <a:lnTo>
                        <a:pt x="6" y="73"/>
                      </a:lnTo>
                      <a:lnTo>
                        <a:pt x="11" y="78"/>
                      </a:lnTo>
                      <a:close/>
                    </a:path>
                  </a:pathLst>
                </a:custGeom>
                <a:solidFill>
                  <a:srgbClr val="3F00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37" name="Freeform 552">
                  <a:extLst>
                    <a:ext uri="{FF2B5EF4-FFF2-40B4-BE49-F238E27FC236}">
                      <a16:creationId xmlns:a16="http://schemas.microsoft.com/office/drawing/2014/main" id="{7A7F5131-1CCB-47F4-AB57-2C86F49EB0F5}"/>
                    </a:ext>
                  </a:extLst>
                </p:cNvPr>
                <p:cNvSpPr>
                  <a:spLocks/>
                </p:cNvSpPr>
                <p:nvPr/>
              </p:nvSpPr>
              <p:spPr bwMode="auto">
                <a:xfrm>
                  <a:off x="3443277" y="3776665"/>
                  <a:ext cx="60325" cy="71438"/>
                </a:xfrm>
                <a:custGeom>
                  <a:avLst/>
                  <a:gdLst>
                    <a:gd name="T0" fmla="*/ 2147483646 w 75"/>
                    <a:gd name="T1" fmla="*/ 2147483646 h 90"/>
                    <a:gd name="T2" fmla="*/ 2147483646 w 75"/>
                    <a:gd name="T3" fmla="*/ 2147483646 h 90"/>
                    <a:gd name="T4" fmla="*/ 2147483646 w 75"/>
                    <a:gd name="T5" fmla="*/ 2147483646 h 90"/>
                    <a:gd name="T6" fmla="*/ 2147483646 w 75"/>
                    <a:gd name="T7" fmla="*/ 2147483646 h 90"/>
                    <a:gd name="T8" fmla="*/ 2147483646 w 75"/>
                    <a:gd name="T9" fmla="*/ 2147483646 h 90"/>
                    <a:gd name="T10" fmla="*/ 2147483646 w 75"/>
                    <a:gd name="T11" fmla="*/ 2147483646 h 90"/>
                    <a:gd name="T12" fmla="*/ 2147483646 w 75"/>
                    <a:gd name="T13" fmla="*/ 2147483646 h 90"/>
                    <a:gd name="T14" fmla="*/ 2147483646 w 75"/>
                    <a:gd name="T15" fmla="*/ 2147483646 h 90"/>
                    <a:gd name="T16" fmla="*/ 2147483646 w 75"/>
                    <a:gd name="T17" fmla="*/ 2147483646 h 90"/>
                    <a:gd name="T18" fmla="*/ 2147483646 w 75"/>
                    <a:gd name="T19" fmla="*/ 2147483646 h 90"/>
                    <a:gd name="T20" fmla="*/ 2147483646 w 75"/>
                    <a:gd name="T21" fmla="*/ 2147483646 h 90"/>
                    <a:gd name="T22" fmla="*/ 2147483646 w 75"/>
                    <a:gd name="T23" fmla="*/ 2147483646 h 90"/>
                    <a:gd name="T24" fmla="*/ 2147483646 w 75"/>
                    <a:gd name="T25" fmla="*/ 2147483646 h 90"/>
                    <a:gd name="T26" fmla="*/ 2147483646 w 75"/>
                    <a:gd name="T27" fmla="*/ 2147483646 h 90"/>
                    <a:gd name="T28" fmla="*/ 2147483646 w 75"/>
                    <a:gd name="T29" fmla="*/ 2147483646 h 90"/>
                    <a:gd name="T30" fmla="*/ 2147483646 w 75"/>
                    <a:gd name="T31" fmla="*/ 2147483646 h 90"/>
                    <a:gd name="T32" fmla="*/ 2147483646 w 75"/>
                    <a:gd name="T33" fmla="*/ 2147483646 h 90"/>
                    <a:gd name="T34" fmla="*/ 2147483646 w 75"/>
                    <a:gd name="T35" fmla="*/ 2147483646 h 90"/>
                    <a:gd name="T36" fmla="*/ 2147483646 w 75"/>
                    <a:gd name="T37" fmla="*/ 2147483646 h 90"/>
                    <a:gd name="T38" fmla="*/ 2147483646 w 75"/>
                    <a:gd name="T39" fmla="*/ 2147483646 h 90"/>
                    <a:gd name="T40" fmla="*/ 2147483646 w 75"/>
                    <a:gd name="T41" fmla="*/ 0 h 90"/>
                    <a:gd name="T42" fmla="*/ 2147483646 w 75"/>
                    <a:gd name="T43" fmla="*/ 2147483646 h 90"/>
                    <a:gd name="T44" fmla="*/ 2147483646 w 75"/>
                    <a:gd name="T45" fmla="*/ 2147483646 h 90"/>
                    <a:gd name="T46" fmla="*/ 2147483646 w 75"/>
                    <a:gd name="T47" fmla="*/ 2147483646 h 90"/>
                    <a:gd name="T48" fmla="*/ 2147483646 w 75"/>
                    <a:gd name="T49" fmla="*/ 2147483646 h 90"/>
                    <a:gd name="T50" fmla="*/ 2147483646 w 75"/>
                    <a:gd name="T51" fmla="*/ 2147483646 h 90"/>
                    <a:gd name="T52" fmla="*/ 2147483646 w 75"/>
                    <a:gd name="T53" fmla="*/ 2147483646 h 90"/>
                    <a:gd name="T54" fmla="*/ 2147483646 w 75"/>
                    <a:gd name="T55" fmla="*/ 2147483646 h 90"/>
                    <a:gd name="T56" fmla="*/ 0 w 75"/>
                    <a:gd name="T57" fmla="*/ 2147483646 h 90"/>
                    <a:gd name="T58" fmla="*/ 2147483646 w 75"/>
                    <a:gd name="T59" fmla="*/ 2147483646 h 90"/>
                    <a:gd name="T60" fmla="*/ 2147483646 w 75"/>
                    <a:gd name="T61" fmla="*/ 2147483646 h 90"/>
                    <a:gd name="T62" fmla="*/ 2147483646 w 75"/>
                    <a:gd name="T63" fmla="*/ 2147483646 h 90"/>
                    <a:gd name="T64" fmla="*/ 2147483646 w 75"/>
                    <a:gd name="T65" fmla="*/ 2147483646 h 9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5"/>
                    <a:gd name="T100" fmla="*/ 0 h 90"/>
                    <a:gd name="T101" fmla="*/ 75 w 75"/>
                    <a:gd name="T102" fmla="*/ 90 h 9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5" h="90">
                      <a:moveTo>
                        <a:pt x="11" y="78"/>
                      </a:moveTo>
                      <a:lnTo>
                        <a:pt x="15" y="84"/>
                      </a:lnTo>
                      <a:lnTo>
                        <a:pt x="22" y="87"/>
                      </a:lnTo>
                      <a:lnTo>
                        <a:pt x="29" y="88"/>
                      </a:lnTo>
                      <a:lnTo>
                        <a:pt x="38" y="90"/>
                      </a:lnTo>
                      <a:lnTo>
                        <a:pt x="46" y="88"/>
                      </a:lnTo>
                      <a:lnTo>
                        <a:pt x="53" y="87"/>
                      </a:lnTo>
                      <a:lnTo>
                        <a:pt x="59" y="84"/>
                      </a:lnTo>
                      <a:lnTo>
                        <a:pt x="65" y="78"/>
                      </a:lnTo>
                      <a:lnTo>
                        <a:pt x="69" y="72"/>
                      </a:lnTo>
                      <a:lnTo>
                        <a:pt x="73" y="64"/>
                      </a:lnTo>
                      <a:lnTo>
                        <a:pt x="74" y="55"/>
                      </a:lnTo>
                      <a:lnTo>
                        <a:pt x="75" y="45"/>
                      </a:lnTo>
                      <a:lnTo>
                        <a:pt x="74" y="34"/>
                      </a:lnTo>
                      <a:lnTo>
                        <a:pt x="73" y="25"/>
                      </a:lnTo>
                      <a:lnTo>
                        <a:pt x="69" y="17"/>
                      </a:lnTo>
                      <a:lnTo>
                        <a:pt x="65" y="11"/>
                      </a:lnTo>
                      <a:lnTo>
                        <a:pt x="59" y="7"/>
                      </a:lnTo>
                      <a:lnTo>
                        <a:pt x="53" y="3"/>
                      </a:lnTo>
                      <a:lnTo>
                        <a:pt x="45" y="1"/>
                      </a:lnTo>
                      <a:lnTo>
                        <a:pt x="37" y="0"/>
                      </a:lnTo>
                      <a:lnTo>
                        <a:pt x="29" y="1"/>
                      </a:lnTo>
                      <a:lnTo>
                        <a:pt x="22" y="3"/>
                      </a:lnTo>
                      <a:lnTo>
                        <a:pt x="15" y="7"/>
                      </a:lnTo>
                      <a:lnTo>
                        <a:pt x="11" y="11"/>
                      </a:lnTo>
                      <a:lnTo>
                        <a:pt x="6" y="17"/>
                      </a:lnTo>
                      <a:lnTo>
                        <a:pt x="3" y="25"/>
                      </a:lnTo>
                      <a:lnTo>
                        <a:pt x="1" y="34"/>
                      </a:lnTo>
                      <a:lnTo>
                        <a:pt x="0" y="45"/>
                      </a:lnTo>
                      <a:lnTo>
                        <a:pt x="1" y="55"/>
                      </a:lnTo>
                      <a:lnTo>
                        <a:pt x="3" y="64"/>
                      </a:lnTo>
                      <a:lnTo>
                        <a:pt x="6" y="72"/>
                      </a:lnTo>
                      <a:lnTo>
                        <a:pt x="11" y="78"/>
                      </a:lnTo>
                      <a:close/>
                    </a:path>
                  </a:pathLst>
                </a:custGeom>
                <a:solidFill>
                  <a:srgbClr val="3F00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38" name="Freeform 553">
                  <a:extLst>
                    <a:ext uri="{FF2B5EF4-FFF2-40B4-BE49-F238E27FC236}">
                      <a16:creationId xmlns:a16="http://schemas.microsoft.com/office/drawing/2014/main" id="{C239B67F-6CB3-499F-B5D9-53AF78464CB0}"/>
                    </a:ext>
                  </a:extLst>
                </p:cNvPr>
                <p:cNvSpPr>
                  <a:spLocks/>
                </p:cNvSpPr>
                <p:nvPr/>
              </p:nvSpPr>
              <p:spPr bwMode="auto">
                <a:xfrm>
                  <a:off x="3382952" y="3706815"/>
                  <a:ext cx="90488" cy="141288"/>
                </a:xfrm>
                <a:custGeom>
                  <a:avLst/>
                  <a:gdLst>
                    <a:gd name="T0" fmla="*/ 2147483646 w 113"/>
                    <a:gd name="T1" fmla="*/ 0 h 179"/>
                    <a:gd name="T2" fmla="*/ 0 w 113"/>
                    <a:gd name="T3" fmla="*/ 2147483646 h 179"/>
                    <a:gd name="T4" fmla="*/ 2147483646 w 113"/>
                    <a:gd name="T5" fmla="*/ 2147483646 h 179"/>
                    <a:gd name="T6" fmla="*/ 2147483646 w 113"/>
                    <a:gd name="T7" fmla="*/ 0 h 179"/>
                    <a:gd name="T8" fmla="*/ 2147483646 w 113"/>
                    <a:gd name="T9" fmla="*/ 0 h 179"/>
                    <a:gd name="T10" fmla="*/ 0 60000 65536"/>
                    <a:gd name="T11" fmla="*/ 0 60000 65536"/>
                    <a:gd name="T12" fmla="*/ 0 60000 65536"/>
                    <a:gd name="T13" fmla="*/ 0 60000 65536"/>
                    <a:gd name="T14" fmla="*/ 0 60000 65536"/>
                    <a:gd name="T15" fmla="*/ 0 w 113"/>
                    <a:gd name="T16" fmla="*/ 0 h 179"/>
                    <a:gd name="T17" fmla="*/ 113 w 113"/>
                    <a:gd name="T18" fmla="*/ 179 h 179"/>
                  </a:gdLst>
                  <a:ahLst/>
                  <a:cxnLst>
                    <a:cxn ang="T10">
                      <a:pos x="T0" y="T1"/>
                    </a:cxn>
                    <a:cxn ang="T11">
                      <a:pos x="T2" y="T3"/>
                    </a:cxn>
                    <a:cxn ang="T12">
                      <a:pos x="T4" y="T5"/>
                    </a:cxn>
                    <a:cxn ang="T13">
                      <a:pos x="T6" y="T7"/>
                    </a:cxn>
                    <a:cxn ang="T14">
                      <a:pos x="T8" y="T9"/>
                    </a:cxn>
                  </a:cxnLst>
                  <a:rect l="T15" t="T16" r="T17" b="T18"/>
                  <a:pathLst>
                    <a:path w="113" h="179">
                      <a:moveTo>
                        <a:pt x="90" y="0"/>
                      </a:moveTo>
                      <a:lnTo>
                        <a:pt x="0" y="179"/>
                      </a:lnTo>
                      <a:lnTo>
                        <a:pt x="24" y="179"/>
                      </a:lnTo>
                      <a:lnTo>
                        <a:pt x="113" y="0"/>
                      </a:lnTo>
                      <a:lnTo>
                        <a:pt x="90" y="0"/>
                      </a:lnTo>
                      <a:close/>
                    </a:path>
                  </a:pathLst>
                </a:custGeom>
                <a:solidFill>
                  <a:srgbClr val="3F003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39" name="Freeform 554">
                  <a:extLst>
                    <a:ext uri="{FF2B5EF4-FFF2-40B4-BE49-F238E27FC236}">
                      <a16:creationId xmlns:a16="http://schemas.microsoft.com/office/drawing/2014/main" id="{114FE60F-F486-4AF4-A6DE-12DCB5CF5ECA}"/>
                    </a:ext>
                  </a:extLst>
                </p:cNvPr>
                <p:cNvSpPr>
                  <a:spLocks/>
                </p:cNvSpPr>
                <p:nvPr/>
              </p:nvSpPr>
              <p:spPr bwMode="auto">
                <a:xfrm>
                  <a:off x="3370570" y="3719081"/>
                  <a:ext cx="16858" cy="40239"/>
                </a:xfrm>
                <a:custGeom>
                  <a:avLst/>
                  <a:gdLst>
                    <a:gd name="T0" fmla="*/ 2147483646 w 23"/>
                    <a:gd name="T1" fmla="*/ 2147483646 h 52"/>
                    <a:gd name="T2" fmla="*/ 2147483646 w 23"/>
                    <a:gd name="T3" fmla="*/ 2147483646 h 52"/>
                    <a:gd name="T4" fmla="*/ 2147483646 w 23"/>
                    <a:gd name="T5" fmla="*/ 2147483646 h 52"/>
                    <a:gd name="T6" fmla="*/ 2147483646 w 23"/>
                    <a:gd name="T7" fmla="*/ 0 h 52"/>
                    <a:gd name="T8" fmla="*/ 2147483646 w 23"/>
                    <a:gd name="T9" fmla="*/ 0 h 52"/>
                    <a:gd name="T10" fmla="*/ 2147483646 w 23"/>
                    <a:gd name="T11" fmla="*/ 0 h 52"/>
                    <a:gd name="T12" fmla="*/ 2147483646 w 23"/>
                    <a:gd name="T13" fmla="*/ 2147483646 h 52"/>
                    <a:gd name="T14" fmla="*/ 2147483646 w 23"/>
                    <a:gd name="T15" fmla="*/ 2147483646 h 52"/>
                    <a:gd name="T16" fmla="*/ 2147483646 w 23"/>
                    <a:gd name="T17" fmla="*/ 2147483646 h 52"/>
                    <a:gd name="T18" fmla="*/ 2147483646 w 23"/>
                    <a:gd name="T19" fmla="*/ 2147483646 h 52"/>
                    <a:gd name="T20" fmla="*/ 2147483646 w 23"/>
                    <a:gd name="T21" fmla="*/ 2147483646 h 52"/>
                    <a:gd name="T22" fmla="*/ 2147483646 w 23"/>
                    <a:gd name="T23" fmla="*/ 2147483646 h 52"/>
                    <a:gd name="T24" fmla="*/ 2147483646 w 23"/>
                    <a:gd name="T25" fmla="*/ 2147483646 h 52"/>
                    <a:gd name="T26" fmla="*/ 2147483646 w 23"/>
                    <a:gd name="T27" fmla="*/ 2147483646 h 52"/>
                    <a:gd name="T28" fmla="*/ 2147483646 w 23"/>
                    <a:gd name="T29" fmla="*/ 2147483646 h 52"/>
                    <a:gd name="T30" fmla="*/ 2147483646 w 23"/>
                    <a:gd name="T31" fmla="*/ 2147483646 h 52"/>
                    <a:gd name="T32" fmla="*/ 2147483646 w 23"/>
                    <a:gd name="T33" fmla="*/ 2147483646 h 52"/>
                    <a:gd name="T34" fmla="*/ 2147483646 w 23"/>
                    <a:gd name="T35" fmla="*/ 2147483646 h 52"/>
                    <a:gd name="T36" fmla="*/ 2147483646 w 23"/>
                    <a:gd name="T37" fmla="*/ 2147483646 h 52"/>
                    <a:gd name="T38" fmla="*/ 2147483646 w 23"/>
                    <a:gd name="T39" fmla="*/ 2147483646 h 52"/>
                    <a:gd name="T40" fmla="*/ 2147483646 w 23"/>
                    <a:gd name="T41" fmla="*/ 2147483646 h 52"/>
                    <a:gd name="T42" fmla="*/ 2147483646 w 23"/>
                    <a:gd name="T43" fmla="*/ 2147483646 h 52"/>
                    <a:gd name="T44" fmla="*/ 2147483646 w 23"/>
                    <a:gd name="T45" fmla="*/ 2147483646 h 52"/>
                    <a:gd name="T46" fmla="*/ 2147483646 w 23"/>
                    <a:gd name="T47" fmla="*/ 2147483646 h 52"/>
                    <a:gd name="T48" fmla="*/ 2147483646 w 23"/>
                    <a:gd name="T49" fmla="*/ 2147483646 h 52"/>
                    <a:gd name="T50" fmla="*/ 2147483646 w 23"/>
                    <a:gd name="T51" fmla="*/ 2147483646 h 52"/>
                    <a:gd name="T52" fmla="*/ 2147483646 w 23"/>
                    <a:gd name="T53" fmla="*/ 2147483646 h 52"/>
                    <a:gd name="T54" fmla="*/ 0 w 23"/>
                    <a:gd name="T55" fmla="*/ 2147483646 h 52"/>
                    <a:gd name="T56" fmla="*/ 0 w 23"/>
                    <a:gd name="T57" fmla="*/ 2147483646 h 52"/>
                    <a:gd name="T58" fmla="*/ 0 w 23"/>
                    <a:gd name="T59" fmla="*/ 2147483646 h 52"/>
                    <a:gd name="T60" fmla="*/ 2147483646 w 23"/>
                    <a:gd name="T61" fmla="*/ 2147483646 h 52"/>
                    <a:gd name="T62" fmla="*/ 2147483646 w 23"/>
                    <a:gd name="T63" fmla="*/ 2147483646 h 52"/>
                    <a:gd name="T64" fmla="*/ 2147483646 w 23"/>
                    <a:gd name="T65" fmla="*/ 2147483646 h 5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
                    <a:gd name="T100" fmla="*/ 0 h 52"/>
                    <a:gd name="T101" fmla="*/ 23 w 23"/>
                    <a:gd name="T102" fmla="*/ 52 h 5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 h="52">
                      <a:moveTo>
                        <a:pt x="3" y="4"/>
                      </a:moveTo>
                      <a:lnTo>
                        <a:pt x="5" y="3"/>
                      </a:lnTo>
                      <a:lnTo>
                        <a:pt x="6" y="2"/>
                      </a:lnTo>
                      <a:lnTo>
                        <a:pt x="9" y="0"/>
                      </a:lnTo>
                      <a:lnTo>
                        <a:pt x="11" y="0"/>
                      </a:lnTo>
                      <a:lnTo>
                        <a:pt x="13" y="0"/>
                      </a:lnTo>
                      <a:lnTo>
                        <a:pt x="16" y="2"/>
                      </a:lnTo>
                      <a:lnTo>
                        <a:pt x="18" y="3"/>
                      </a:lnTo>
                      <a:lnTo>
                        <a:pt x="19" y="4"/>
                      </a:lnTo>
                      <a:lnTo>
                        <a:pt x="20" y="7"/>
                      </a:lnTo>
                      <a:lnTo>
                        <a:pt x="21" y="13"/>
                      </a:lnTo>
                      <a:lnTo>
                        <a:pt x="23" y="19"/>
                      </a:lnTo>
                      <a:lnTo>
                        <a:pt x="23" y="26"/>
                      </a:lnTo>
                      <a:lnTo>
                        <a:pt x="23" y="34"/>
                      </a:lnTo>
                      <a:lnTo>
                        <a:pt x="21" y="40"/>
                      </a:lnTo>
                      <a:lnTo>
                        <a:pt x="20" y="45"/>
                      </a:lnTo>
                      <a:lnTo>
                        <a:pt x="19" y="49"/>
                      </a:lnTo>
                      <a:lnTo>
                        <a:pt x="18" y="50"/>
                      </a:lnTo>
                      <a:lnTo>
                        <a:pt x="16" y="51"/>
                      </a:lnTo>
                      <a:lnTo>
                        <a:pt x="13" y="52"/>
                      </a:lnTo>
                      <a:lnTo>
                        <a:pt x="11" y="52"/>
                      </a:lnTo>
                      <a:lnTo>
                        <a:pt x="9" y="52"/>
                      </a:lnTo>
                      <a:lnTo>
                        <a:pt x="6" y="51"/>
                      </a:lnTo>
                      <a:lnTo>
                        <a:pt x="5" y="50"/>
                      </a:lnTo>
                      <a:lnTo>
                        <a:pt x="3" y="49"/>
                      </a:lnTo>
                      <a:lnTo>
                        <a:pt x="2" y="45"/>
                      </a:lnTo>
                      <a:lnTo>
                        <a:pt x="1" y="40"/>
                      </a:lnTo>
                      <a:lnTo>
                        <a:pt x="0" y="34"/>
                      </a:lnTo>
                      <a:lnTo>
                        <a:pt x="0" y="26"/>
                      </a:lnTo>
                      <a:lnTo>
                        <a:pt x="0" y="19"/>
                      </a:lnTo>
                      <a:lnTo>
                        <a:pt x="1" y="13"/>
                      </a:lnTo>
                      <a:lnTo>
                        <a:pt x="2" y="7"/>
                      </a:lnTo>
                      <a:lnTo>
                        <a:pt x="3" y="4"/>
                      </a:lnTo>
                      <a:close/>
                    </a:path>
                  </a:pathLst>
                </a:custGeom>
                <a:solidFill>
                  <a:srgbClr val="93CDD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40" name="Freeform 555">
                  <a:extLst>
                    <a:ext uri="{FF2B5EF4-FFF2-40B4-BE49-F238E27FC236}">
                      <a16:creationId xmlns:a16="http://schemas.microsoft.com/office/drawing/2014/main" id="{7E4BFD57-42CD-48B5-9C0F-A93EBC75B22E}"/>
                    </a:ext>
                  </a:extLst>
                </p:cNvPr>
                <p:cNvSpPr>
                  <a:spLocks/>
                </p:cNvSpPr>
                <p:nvPr/>
              </p:nvSpPr>
              <p:spPr bwMode="auto">
                <a:xfrm>
                  <a:off x="3463293" y="3791509"/>
                  <a:ext cx="16858" cy="40234"/>
                </a:xfrm>
                <a:custGeom>
                  <a:avLst/>
                  <a:gdLst>
                    <a:gd name="T0" fmla="*/ 2147483646 w 23"/>
                    <a:gd name="T1" fmla="*/ 2147483646 h 53"/>
                    <a:gd name="T2" fmla="*/ 2147483646 w 23"/>
                    <a:gd name="T3" fmla="*/ 2147483646 h 53"/>
                    <a:gd name="T4" fmla="*/ 2147483646 w 23"/>
                    <a:gd name="T5" fmla="*/ 2147483646 h 53"/>
                    <a:gd name="T6" fmla="*/ 2147483646 w 23"/>
                    <a:gd name="T7" fmla="*/ 0 h 53"/>
                    <a:gd name="T8" fmla="*/ 2147483646 w 23"/>
                    <a:gd name="T9" fmla="*/ 0 h 53"/>
                    <a:gd name="T10" fmla="*/ 2147483646 w 23"/>
                    <a:gd name="T11" fmla="*/ 0 h 53"/>
                    <a:gd name="T12" fmla="*/ 2147483646 w 23"/>
                    <a:gd name="T13" fmla="*/ 2147483646 h 53"/>
                    <a:gd name="T14" fmla="*/ 2147483646 w 23"/>
                    <a:gd name="T15" fmla="*/ 2147483646 h 53"/>
                    <a:gd name="T16" fmla="*/ 2147483646 w 23"/>
                    <a:gd name="T17" fmla="*/ 2147483646 h 53"/>
                    <a:gd name="T18" fmla="*/ 2147483646 w 23"/>
                    <a:gd name="T19" fmla="*/ 2147483646 h 53"/>
                    <a:gd name="T20" fmla="*/ 2147483646 w 23"/>
                    <a:gd name="T21" fmla="*/ 2147483646 h 53"/>
                    <a:gd name="T22" fmla="*/ 2147483646 w 23"/>
                    <a:gd name="T23" fmla="*/ 2147483646 h 53"/>
                    <a:gd name="T24" fmla="*/ 2147483646 w 23"/>
                    <a:gd name="T25" fmla="*/ 2147483646 h 53"/>
                    <a:gd name="T26" fmla="*/ 2147483646 w 23"/>
                    <a:gd name="T27" fmla="*/ 2147483646 h 53"/>
                    <a:gd name="T28" fmla="*/ 2147483646 w 23"/>
                    <a:gd name="T29" fmla="*/ 2147483646 h 53"/>
                    <a:gd name="T30" fmla="*/ 2147483646 w 23"/>
                    <a:gd name="T31" fmla="*/ 2147483646 h 53"/>
                    <a:gd name="T32" fmla="*/ 2147483646 w 23"/>
                    <a:gd name="T33" fmla="*/ 2147483646 h 53"/>
                    <a:gd name="T34" fmla="*/ 2147483646 w 23"/>
                    <a:gd name="T35" fmla="*/ 2147483646 h 53"/>
                    <a:gd name="T36" fmla="*/ 2147483646 w 23"/>
                    <a:gd name="T37" fmla="*/ 2147483646 h 53"/>
                    <a:gd name="T38" fmla="*/ 2147483646 w 23"/>
                    <a:gd name="T39" fmla="*/ 2147483646 h 53"/>
                    <a:gd name="T40" fmla="*/ 2147483646 w 23"/>
                    <a:gd name="T41" fmla="*/ 2147483646 h 53"/>
                    <a:gd name="T42" fmla="*/ 2147483646 w 23"/>
                    <a:gd name="T43" fmla="*/ 2147483646 h 53"/>
                    <a:gd name="T44" fmla="*/ 2147483646 w 23"/>
                    <a:gd name="T45" fmla="*/ 2147483646 h 53"/>
                    <a:gd name="T46" fmla="*/ 2147483646 w 23"/>
                    <a:gd name="T47" fmla="*/ 2147483646 h 53"/>
                    <a:gd name="T48" fmla="*/ 2147483646 w 23"/>
                    <a:gd name="T49" fmla="*/ 2147483646 h 53"/>
                    <a:gd name="T50" fmla="*/ 2147483646 w 23"/>
                    <a:gd name="T51" fmla="*/ 2147483646 h 53"/>
                    <a:gd name="T52" fmla="*/ 2147483646 w 23"/>
                    <a:gd name="T53" fmla="*/ 2147483646 h 53"/>
                    <a:gd name="T54" fmla="*/ 0 w 23"/>
                    <a:gd name="T55" fmla="*/ 2147483646 h 53"/>
                    <a:gd name="T56" fmla="*/ 0 w 23"/>
                    <a:gd name="T57" fmla="*/ 2147483646 h 53"/>
                    <a:gd name="T58" fmla="*/ 0 w 23"/>
                    <a:gd name="T59" fmla="*/ 2147483646 h 53"/>
                    <a:gd name="T60" fmla="*/ 2147483646 w 23"/>
                    <a:gd name="T61" fmla="*/ 2147483646 h 53"/>
                    <a:gd name="T62" fmla="*/ 2147483646 w 23"/>
                    <a:gd name="T63" fmla="*/ 2147483646 h 53"/>
                    <a:gd name="T64" fmla="*/ 2147483646 w 23"/>
                    <a:gd name="T65" fmla="*/ 2147483646 h 5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
                    <a:gd name="T100" fmla="*/ 0 h 53"/>
                    <a:gd name="T101" fmla="*/ 23 w 23"/>
                    <a:gd name="T102" fmla="*/ 53 h 5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 h="53">
                      <a:moveTo>
                        <a:pt x="3" y="5"/>
                      </a:moveTo>
                      <a:lnTo>
                        <a:pt x="5" y="2"/>
                      </a:lnTo>
                      <a:lnTo>
                        <a:pt x="7" y="1"/>
                      </a:lnTo>
                      <a:lnTo>
                        <a:pt x="9" y="0"/>
                      </a:lnTo>
                      <a:lnTo>
                        <a:pt x="11" y="0"/>
                      </a:lnTo>
                      <a:lnTo>
                        <a:pt x="13" y="0"/>
                      </a:lnTo>
                      <a:lnTo>
                        <a:pt x="16" y="1"/>
                      </a:lnTo>
                      <a:lnTo>
                        <a:pt x="17" y="2"/>
                      </a:lnTo>
                      <a:lnTo>
                        <a:pt x="19" y="5"/>
                      </a:lnTo>
                      <a:lnTo>
                        <a:pt x="20" y="8"/>
                      </a:lnTo>
                      <a:lnTo>
                        <a:pt x="21" y="13"/>
                      </a:lnTo>
                      <a:lnTo>
                        <a:pt x="23" y="20"/>
                      </a:lnTo>
                      <a:lnTo>
                        <a:pt x="23" y="27"/>
                      </a:lnTo>
                      <a:lnTo>
                        <a:pt x="23" y="35"/>
                      </a:lnTo>
                      <a:lnTo>
                        <a:pt x="21" y="41"/>
                      </a:lnTo>
                      <a:lnTo>
                        <a:pt x="20" y="45"/>
                      </a:lnTo>
                      <a:lnTo>
                        <a:pt x="19" y="49"/>
                      </a:lnTo>
                      <a:lnTo>
                        <a:pt x="17" y="51"/>
                      </a:lnTo>
                      <a:lnTo>
                        <a:pt x="16" y="52"/>
                      </a:lnTo>
                      <a:lnTo>
                        <a:pt x="13" y="53"/>
                      </a:lnTo>
                      <a:lnTo>
                        <a:pt x="11" y="53"/>
                      </a:lnTo>
                      <a:lnTo>
                        <a:pt x="9" y="53"/>
                      </a:lnTo>
                      <a:lnTo>
                        <a:pt x="7" y="52"/>
                      </a:lnTo>
                      <a:lnTo>
                        <a:pt x="5" y="51"/>
                      </a:lnTo>
                      <a:lnTo>
                        <a:pt x="3" y="49"/>
                      </a:lnTo>
                      <a:lnTo>
                        <a:pt x="2" y="45"/>
                      </a:lnTo>
                      <a:lnTo>
                        <a:pt x="1" y="41"/>
                      </a:lnTo>
                      <a:lnTo>
                        <a:pt x="0" y="35"/>
                      </a:lnTo>
                      <a:lnTo>
                        <a:pt x="0" y="27"/>
                      </a:lnTo>
                      <a:lnTo>
                        <a:pt x="0" y="20"/>
                      </a:lnTo>
                      <a:lnTo>
                        <a:pt x="1" y="13"/>
                      </a:lnTo>
                      <a:lnTo>
                        <a:pt x="2" y="8"/>
                      </a:lnTo>
                      <a:lnTo>
                        <a:pt x="3" y="5"/>
                      </a:lnTo>
                      <a:close/>
                    </a:path>
                  </a:pathLst>
                </a:custGeom>
                <a:solidFill>
                  <a:srgbClr val="93CDD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41" name="Freeform 578">
                  <a:extLst>
                    <a:ext uri="{FF2B5EF4-FFF2-40B4-BE49-F238E27FC236}">
                      <a16:creationId xmlns:a16="http://schemas.microsoft.com/office/drawing/2014/main" id="{8AD47095-34C1-4CDE-8558-6BB7E9EA87BA}"/>
                    </a:ext>
                  </a:extLst>
                </p:cNvPr>
                <p:cNvSpPr>
                  <a:spLocks/>
                </p:cNvSpPr>
                <p:nvPr/>
              </p:nvSpPr>
              <p:spPr bwMode="auto">
                <a:xfrm>
                  <a:off x="3071802" y="3786190"/>
                  <a:ext cx="209550" cy="200025"/>
                </a:xfrm>
                <a:custGeom>
                  <a:avLst/>
                  <a:gdLst>
                    <a:gd name="T0" fmla="*/ 2147483646 w 262"/>
                    <a:gd name="T1" fmla="*/ 2147483646 h 253"/>
                    <a:gd name="T2" fmla="*/ 2147483646 w 262"/>
                    <a:gd name="T3" fmla="*/ 2147483646 h 253"/>
                    <a:gd name="T4" fmla="*/ 2147483646 w 262"/>
                    <a:gd name="T5" fmla="*/ 2147483646 h 253"/>
                    <a:gd name="T6" fmla="*/ 2147483646 w 262"/>
                    <a:gd name="T7" fmla="*/ 2147483646 h 253"/>
                    <a:gd name="T8" fmla="*/ 2147483646 w 262"/>
                    <a:gd name="T9" fmla="*/ 2147483646 h 253"/>
                    <a:gd name="T10" fmla="*/ 2147483646 w 262"/>
                    <a:gd name="T11" fmla="*/ 2147483646 h 253"/>
                    <a:gd name="T12" fmla="*/ 2147483646 w 262"/>
                    <a:gd name="T13" fmla="*/ 2147483646 h 253"/>
                    <a:gd name="T14" fmla="*/ 2147483646 w 262"/>
                    <a:gd name="T15" fmla="*/ 2147483646 h 253"/>
                    <a:gd name="T16" fmla="*/ 2147483646 w 262"/>
                    <a:gd name="T17" fmla="*/ 2147483646 h 253"/>
                    <a:gd name="T18" fmla="*/ 2147483646 w 262"/>
                    <a:gd name="T19" fmla="*/ 2147483646 h 253"/>
                    <a:gd name="T20" fmla="*/ 2147483646 w 262"/>
                    <a:gd name="T21" fmla="*/ 2147483646 h 253"/>
                    <a:gd name="T22" fmla="*/ 2147483646 w 262"/>
                    <a:gd name="T23" fmla="*/ 2147483646 h 253"/>
                    <a:gd name="T24" fmla="*/ 2147483646 w 262"/>
                    <a:gd name="T25" fmla="*/ 2147483646 h 253"/>
                    <a:gd name="T26" fmla="*/ 2147483646 w 262"/>
                    <a:gd name="T27" fmla="*/ 2147483646 h 253"/>
                    <a:gd name="T28" fmla="*/ 2147483646 w 262"/>
                    <a:gd name="T29" fmla="*/ 2147483646 h 253"/>
                    <a:gd name="T30" fmla="*/ 2147483646 w 262"/>
                    <a:gd name="T31" fmla="*/ 2147483646 h 253"/>
                    <a:gd name="T32" fmla="*/ 2147483646 w 262"/>
                    <a:gd name="T33" fmla="*/ 2147483646 h 253"/>
                    <a:gd name="T34" fmla="*/ 2147483646 w 262"/>
                    <a:gd name="T35" fmla="*/ 2147483646 h 253"/>
                    <a:gd name="T36" fmla="*/ 2147483646 w 262"/>
                    <a:gd name="T37" fmla="*/ 2147483646 h 253"/>
                    <a:gd name="T38" fmla="*/ 2147483646 w 262"/>
                    <a:gd name="T39" fmla="*/ 2147483646 h 253"/>
                    <a:gd name="T40" fmla="*/ 2147483646 w 262"/>
                    <a:gd name="T41" fmla="*/ 2147483646 h 253"/>
                    <a:gd name="T42" fmla="*/ 2147483646 w 262"/>
                    <a:gd name="T43" fmla="*/ 2147483646 h 253"/>
                    <a:gd name="T44" fmla="*/ 2147483646 w 262"/>
                    <a:gd name="T45" fmla="*/ 2147483646 h 253"/>
                    <a:gd name="T46" fmla="*/ 2147483646 w 262"/>
                    <a:gd name="T47" fmla="*/ 2147483646 h 253"/>
                    <a:gd name="T48" fmla="*/ 2147483646 w 262"/>
                    <a:gd name="T49" fmla="*/ 2147483646 h 253"/>
                    <a:gd name="T50" fmla="*/ 2147483646 w 262"/>
                    <a:gd name="T51" fmla="*/ 2147483646 h 253"/>
                    <a:gd name="T52" fmla="*/ 2147483646 w 262"/>
                    <a:gd name="T53" fmla="*/ 2147483646 h 253"/>
                    <a:gd name="T54" fmla="*/ 2147483646 w 262"/>
                    <a:gd name="T55" fmla="*/ 2147483646 h 253"/>
                    <a:gd name="T56" fmla="*/ 2147483646 w 262"/>
                    <a:gd name="T57" fmla="*/ 2147483646 h 253"/>
                    <a:gd name="T58" fmla="*/ 2147483646 w 262"/>
                    <a:gd name="T59" fmla="*/ 2147483646 h 253"/>
                    <a:gd name="T60" fmla="*/ 2147483646 w 262"/>
                    <a:gd name="T61" fmla="*/ 2147483646 h 253"/>
                    <a:gd name="T62" fmla="*/ 2147483646 w 262"/>
                    <a:gd name="T63" fmla="*/ 2147483646 h 253"/>
                    <a:gd name="T64" fmla="*/ 2147483646 w 262"/>
                    <a:gd name="T65" fmla="*/ 2147483646 h 253"/>
                    <a:gd name="T66" fmla="*/ 2147483646 w 262"/>
                    <a:gd name="T67" fmla="*/ 2147483646 h 253"/>
                    <a:gd name="T68" fmla="*/ 2147483646 w 262"/>
                    <a:gd name="T69" fmla="*/ 2147483646 h 253"/>
                    <a:gd name="T70" fmla="*/ 2147483646 w 262"/>
                    <a:gd name="T71" fmla="*/ 2147483646 h 253"/>
                    <a:gd name="T72" fmla="*/ 2147483646 w 262"/>
                    <a:gd name="T73" fmla="*/ 2147483646 h 253"/>
                    <a:gd name="T74" fmla="*/ 2147483646 w 262"/>
                    <a:gd name="T75" fmla="*/ 2147483646 h 253"/>
                    <a:gd name="T76" fmla="*/ 2147483646 w 262"/>
                    <a:gd name="T77" fmla="*/ 2147483646 h 253"/>
                    <a:gd name="T78" fmla="*/ 2147483646 w 262"/>
                    <a:gd name="T79" fmla="*/ 0 h 253"/>
                    <a:gd name="T80" fmla="*/ 2147483646 w 262"/>
                    <a:gd name="T81" fmla="*/ 2147483646 h 253"/>
                    <a:gd name="T82" fmla="*/ 2147483646 w 262"/>
                    <a:gd name="T83" fmla="*/ 2147483646 h 253"/>
                    <a:gd name="T84" fmla="*/ 2147483646 w 262"/>
                    <a:gd name="T85" fmla="*/ 2147483646 h 253"/>
                    <a:gd name="T86" fmla="*/ 2147483646 w 262"/>
                    <a:gd name="T87" fmla="*/ 2147483646 h 253"/>
                    <a:gd name="T88" fmla="*/ 2147483646 w 262"/>
                    <a:gd name="T89" fmla="*/ 2147483646 h 253"/>
                    <a:gd name="T90" fmla="*/ 2147483646 w 262"/>
                    <a:gd name="T91" fmla="*/ 2147483646 h 253"/>
                    <a:gd name="T92" fmla="*/ 2147483646 w 262"/>
                    <a:gd name="T93" fmla="*/ 2147483646 h 253"/>
                    <a:gd name="T94" fmla="*/ 2147483646 w 262"/>
                    <a:gd name="T95" fmla="*/ 2147483646 h 253"/>
                    <a:gd name="T96" fmla="*/ 2147483646 w 262"/>
                    <a:gd name="T97" fmla="*/ 2147483646 h 253"/>
                    <a:gd name="T98" fmla="*/ 2147483646 w 262"/>
                    <a:gd name="T99" fmla="*/ 2147483646 h 253"/>
                    <a:gd name="T100" fmla="*/ 2147483646 w 262"/>
                    <a:gd name="T101" fmla="*/ 2147483646 h 253"/>
                    <a:gd name="T102" fmla="*/ 2147483646 w 262"/>
                    <a:gd name="T103" fmla="*/ 2147483646 h 253"/>
                    <a:gd name="T104" fmla="*/ 2147483646 w 262"/>
                    <a:gd name="T105" fmla="*/ 2147483646 h 253"/>
                    <a:gd name="T106" fmla="*/ 2147483646 w 262"/>
                    <a:gd name="T107" fmla="*/ 2147483646 h 25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62"/>
                    <a:gd name="T163" fmla="*/ 0 h 253"/>
                    <a:gd name="T164" fmla="*/ 262 w 262"/>
                    <a:gd name="T165" fmla="*/ 253 h 25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62" h="253">
                      <a:moveTo>
                        <a:pt x="207" y="201"/>
                      </a:moveTo>
                      <a:lnTo>
                        <a:pt x="202" y="204"/>
                      </a:lnTo>
                      <a:lnTo>
                        <a:pt x="197" y="208"/>
                      </a:lnTo>
                      <a:lnTo>
                        <a:pt x="191" y="211"/>
                      </a:lnTo>
                      <a:lnTo>
                        <a:pt x="185" y="214"/>
                      </a:lnTo>
                      <a:lnTo>
                        <a:pt x="179" y="217"/>
                      </a:lnTo>
                      <a:lnTo>
                        <a:pt x="172" y="219"/>
                      </a:lnTo>
                      <a:lnTo>
                        <a:pt x="165" y="221"/>
                      </a:lnTo>
                      <a:lnTo>
                        <a:pt x="157" y="223"/>
                      </a:lnTo>
                      <a:lnTo>
                        <a:pt x="149" y="225"/>
                      </a:lnTo>
                      <a:lnTo>
                        <a:pt x="142" y="226"/>
                      </a:lnTo>
                      <a:lnTo>
                        <a:pt x="134" y="227"/>
                      </a:lnTo>
                      <a:lnTo>
                        <a:pt x="127" y="229"/>
                      </a:lnTo>
                      <a:lnTo>
                        <a:pt x="121" y="230"/>
                      </a:lnTo>
                      <a:lnTo>
                        <a:pt x="114" y="230"/>
                      </a:lnTo>
                      <a:lnTo>
                        <a:pt x="107" y="230"/>
                      </a:lnTo>
                      <a:lnTo>
                        <a:pt x="100" y="229"/>
                      </a:lnTo>
                      <a:lnTo>
                        <a:pt x="93" y="227"/>
                      </a:lnTo>
                      <a:lnTo>
                        <a:pt x="87" y="225"/>
                      </a:lnTo>
                      <a:lnTo>
                        <a:pt x="81" y="223"/>
                      </a:lnTo>
                      <a:lnTo>
                        <a:pt x="76" y="221"/>
                      </a:lnTo>
                      <a:lnTo>
                        <a:pt x="70" y="218"/>
                      </a:lnTo>
                      <a:lnTo>
                        <a:pt x="64" y="215"/>
                      </a:lnTo>
                      <a:lnTo>
                        <a:pt x="58" y="211"/>
                      </a:lnTo>
                      <a:lnTo>
                        <a:pt x="54" y="207"/>
                      </a:lnTo>
                      <a:lnTo>
                        <a:pt x="45" y="196"/>
                      </a:lnTo>
                      <a:lnTo>
                        <a:pt x="38" y="186"/>
                      </a:lnTo>
                      <a:lnTo>
                        <a:pt x="33" y="174"/>
                      </a:lnTo>
                      <a:lnTo>
                        <a:pt x="28" y="162"/>
                      </a:lnTo>
                      <a:lnTo>
                        <a:pt x="26" y="148"/>
                      </a:lnTo>
                      <a:lnTo>
                        <a:pt x="24" y="134"/>
                      </a:lnTo>
                      <a:lnTo>
                        <a:pt x="24" y="120"/>
                      </a:lnTo>
                      <a:lnTo>
                        <a:pt x="26" y="106"/>
                      </a:lnTo>
                      <a:lnTo>
                        <a:pt x="30" y="93"/>
                      </a:lnTo>
                      <a:lnTo>
                        <a:pt x="35" y="80"/>
                      </a:lnTo>
                      <a:lnTo>
                        <a:pt x="42" y="68"/>
                      </a:lnTo>
                      <a:lnTo>
                        <a:pt x="51" y="58"/>
                      </a:lnTo>
                      <a:lnTo>
                        <a:pt x="56" y="53"/>
                      </a:lnTo>
                      <a:lnTo>
                        <a:pt x="62" y="49"/>
                      </a:lnTo>
                      <a:lnTo>
                        <a:pt x="68" y="44"/>
                      </a:lnTo>
                      <a:lnTo>
                        <a:pt x="74" y="41"/>
                      </a:lnTo>
                      <a:lnTo>
                        <a:pt x="81" y="37"/>
                      </a:lnTo>
                      <a:lnTo>
                        <a:pt x="89" y="34"/>
                      </a:lnTo>
                      <a:lnTo>
                        <a:pt x="97" y="32"/>
                      </a:lnTo>
                      <a:lnTo>
                        <a:pt x="106" y="29"/>
                      </a:lnTo>
                      <a:lnTo>
                        <a:pt x="115" y="27"/>
                      </a:lnTo>
                      <a:lnTo>
                        <a:pt x="125" y="25"/>
                      </a:lnTo>
                      <a:lnTo>
                        <a:pt x="133" y="25"/>
                      </a:lnTo>
                      <a:lnTo>
                        <a:pt x="142" y="25"/>
                      </a:lnTo>
                      <a:lnTo>
                        <a:pt x="150" y="26"/>
                      </a:lnTo>
                      <a:lnTo>
                        <a:pt x="159" y="27"/>
                      </a:lnTo>
                      <a:lnTo>
                        <a:pt x="167" y="29"/>
                      </a:lnTo>
                      <a:lnTo>
                        <a:pt x="174" y="33"/>
                      </a:lnTo>
                      <a:lnTo>
                        <a:pt x="180" y="37"/>
                      </a:lnTo>
                      <a:lnTo>
                        <a:pt x="186" y="42"/>
                      </a:lnTo>
                      <a:lnTo>
                        <a:pt x="192" y="47"/>
                      </a:lnTo>
                      <a:lnTo>
                        <a:pt x="197" y="52"/>
                      </a:lnTo>
                      <a:lnTo>
                        <a:pt x="200" y="58"/>
                      </a:lnTo>
                      <a:lnTo>
                        <a:pt x="203" y="64"/>
                      </a:lnTo>
                      <a:lnTo>
                        <a:pt x="207" y="71"/>
                      </a:lnTo>
                      <a:lnTo>
                        <a:pt x="209" y="79"/>
                      </a:lnTo>
                      <a:lnTo>
                        <a:pt x="210" y="87"/>
                      </a:lnTo>
                      <a:lnTo>
                        <a:pt x="212" y="96"/>
                      </a:lnTo>
                      <a:lnTo>
                        <a:pt x="212" y="104"/>
                      </a:lnTo>
                      <a:lnTo>
                        <a:pt x="210" y="113"/>
                      </a:lnTo>
                      <a:lnTo>
                        <a:pt x="208" y="123"/>
                      </a:lnTo>
                      <a:lnTo>
                        <a:pt x="205" y="131"/>
                      </a:lnTo>
                      <a:lnTo>
                        <a:pt x="201" y="138"/>
                      </a:lnTo>
                      <a:lnTo>
                        <a:pt x="197" y="144"/>
                      </a:lnTo>
                      <a:lnTo>
                        <a:pt x="192" y="149"/>
                      </a:lnTo>
                      <a:lnTo>
                        <a:pt x="188" y="153"/>
                      </a:lnTo>
                      <a:lnTo>
                        <a:pt x="185" y="155"/>
                      </a:lnTo>
                      <a:lnTo>
                        <a:pt x="183" y="156"/>
                      </a:lnTo>
                      <a:lnTo>
                        <a:pt x="182" y="156"/>
                      </a:lnTo>
                      <a:lnTo>
                        <a:pt x="180" y="156"/>
                      </a:lnTo>
                      <a:lnTo>
                        <a:pt x="179" y="156"/>
                      </a:lnTo>
                      <a:lnTo>
                        <a:pt x="178" y="156"/>
                      </a:lnTo>
                      <a:lnTo>
                        <a:pt x="177" y="155"/>
                      </a:lnTo>
                      <a:lnTo>
                        <a:pt x="177" y="154"/>
                      </a:lnTo>
                      <a:lnTo>
                        <a:pt x="177" y="153"/>
                      </a:lnTo>
                      <a:lnTo>
                        <a:pt x="176" y="151"/>
                      </a:lnTo>
                      <a:lnTo>
                        <a:pt x="176" y="150"/>
                      </a:lnTo>
                      <a:lnTo>
                        <a:pt x="176" y="147"/>
                      </a:lnTo>
                      <a:lnTo>
                        <a:pt x="175" y="144"/>
                      </a:lnTo>
                      <a:lnTo>
                        <a:pt x="175" y="140"/>
                      </a:lnTo>
                      <a:lnTo>
                        <a:pt x="170" y="45"/>
                      </a:lnTo>
                      <a:lnTo>
                        <a:pt x="137" y="53"/>
                      </a:lnTo>
                      <a:lnTo>
                        <a:pt x="138" y="68"/>
                      </a:lnTo>
                      <a:lnTo>
                        <a:pt x="134" y="65"/>
                      </a:lnTo>
                      <a:lnTo>
                        <a:pt x="130" y="63"/>
                      </a:lnTo>
                      <a:lnTo>
                        <a:pt x="125" y="60"/>
                      </a:lnTo>
                      <a:lnTo>
                        <a:pt x="121" y="59"/>
                      </a:lnTo>
                      <a:lnTo>
                        <a:pt x="116" y="58"/>
                      </a:lnTo>
                      <a:lnTo>
                        <a:pt x="110" y="58"/>
                      </a:lnTo>
                      <a:lnTo>
                        <a:pt x="106" y="59"/>
                      </a:lnTo>
                      <a:lnTo>
                        <a:pt x="100" y="60"/>
                      </a:lnTo>
                      <a:lnTo>
                        <a:pt x="92" y="63"/>
                      </a:lnTo>
                      <a:lnTo>
                        <a:pt x="85" y="66"/>
                      </a:lnTo>
                      <a:lnTo>
                        <a:pt x="79" y="71"/>
                      </a:lnTo>
                      <a:lnTo>
                        <a:pt x="73" y="75"/>
                      </a:lnTo>
                      <a:lnTo>
                        <a:pt x="68" y="81"/>
                      </a:lnTo>
                      <a:lnTo>
                        <a:pt x="63" y="87"/>
                      </a:lnTo>
                      <a:lnTo>
                        <a:pt x="59" y="95"/>
                      </a:lnTo>
                      <a:lnTo>
                        <a:pt x="56" y="103"/>
                      </a:lnTo>
                      <a:lnTo>
                        <a:pt x="53" y="118"/>
                      </a:lnTo>
                      <a:lnTo>
                        <a:pt x="50" y="132"/>
                      </a:lnTo>
                      <a:lnTo>
                        <a:pt x="51" y="147"/>
                      </a:lnTo>
                      <a:lnTo>
                        <a:pt x="54" y="162"/>
                      </a:lnTo>
                      <a:lnTo>
                        <a:pt x="58" y="173"/>
                      </a:lnTo>
                      <a:lnTo>
                        <a:pt x="63" y="182"/>
                      </a:lnTo>
                      <a:lnTo>
                        <a:pt x="70" y="191"/>
                      </a:lnTo>
                      <a:lnTo>
                        <a:pt x="78" y="196"/>
                      </a:lnTo>
                      <a:lnTo>
                        <a:pt x="83" y="199"/>
                      </a:lnTo>
                      <a:lnTo>
                        <a:pt x="87" y="201"/>
                      </a:lnTo>
                      <a:lnTo>
                        <a:pt x="92" y="202"/>
                      </a:lnTo>
                      <a:lnTo>
                        <a:pt x="96" y="203"/>
                      </a:lnTo>
                      <a:lnTo>
                        <a:pt x="101" y="203"/>
                      </a:lnTo>
                      <a:lnTo>
                        <a:pt x="106" y="203"/>
                      </a:lnTo>
                      <a:lnTo>
                        <a:pt x="111" y="202"/>
                      </a:lnTo>
                      <a:lnTo>
                        <a:pt x="116" y="201"/>
                      </a:lnTo>
                      <a:lnTo>
                        <a:pt x="125" y="197"/>
                      </a:lnTo>
                      <a:lnTo>
                        <a:pt x="133" y="193"/>
                      </a:lnTo>
                      <a:lnTo>
                        <a:pt x="140" y="186"/>
                      </a:lnTo>
                      <a:lnTo>
                        <a:pt x="146" y="178"/>
                      </a:lnTo>
                      <a:lnTo>
                        <a:pt x="148" y="181"/>
                      </a:lnTo>
                      <a:lnTo>
                        <a:pt x="150" y="184"/>
                      </a:lnTo>
                      <a:lnTo>
                        <a:pt x="153" y="185"/>
                      </a:lnTo>
                      <a:lnTo>
                        <a:pt x="156" y="187"/>
                      </a:lnTo>
                      <a:lnTo>
                        <a:pt x="160" y="188"/>
                      </a:lnTo>
                      <a:lnTo>
                        <a:pt x="163" y="188"/>
                      </a:lnTo>
                      <a:lnTo>
                        <a:pt x="168" y="187"/>
                      </a:lnTo>
                      <a:lnTo>
                        <a:pt x="172" y="186"/>
                      </a:lnTo>
                      <a:lnTo>
                        <a:pt x="182" y="182"/>
                      </a:lnTo>
                      <a:lnTo>
                        <a:pt x="191" y="179"/>
                      </a:lnTo>
                      <a:lnTo>
                        <a:pt x="199" y="174"/>
                      </a:lnTo>
                      <a:lnTo>
                        <a:pt x="206" y="169"/>
                      </a:lnTo>
                      <a:lnTo>
                        <a:pt x="213" y="162"/>
                      </a:lnTo>
                      <a:lnTo>
                        <a:pt x="218" y="155"/>
                      </a:lnTo>
                      <a:lnTo>
                        <a:pt x="223" y="146"/>
                      </a:lnTo>
                      <a:lnTo>
                        <a:pt x="228" y="136"/>
                      </a:lnTo>
                      <a:lnTo>
                        <a:pt x="232" y="120"/>
                      </a:lnTo>
                      <a:lnTo>
                        <a:pt x="236" y="105"/>
                      </a:lnTo>
                      <a:lnTo>
                        <a:pt x="235" y="89"/>
                      </a:lnTo>
                      <a:lnTo>
                        <a:pt x="232" y="74"/>
                      </a:lnTo>
                      <a:lnTo>
                        <a:pt x="228" y="61"/>
                      </a:lnTo>
                      <a:lnTo>
                        <a:pt x="222" y="49"/>
                      </a:lnTo>
                      <a:lnTo>
                        <a:pt x="215" y="38"/>
                      </a:lnTo>
                      <a:lnTo>
                        <a:pt x="206" y="28"/>
                      </a:lnTo>
                      <a:lnTo>
                        <a:pt x="201" y="23"/>
                      </a:lnTo>
                      <a:lnTo>
                        <a:pt x="195" y="19"/>
                      </a:lnTo>
                      <a:lnTo>
                        <a:pt x="190" y="15"/>
                      </a:lnTo>
                      <a:lnTo>
                        <a:pt x="184" y="12"/>
                      </a:lnTo>
                      <a:lnTo>
                        <a:pt x="178" y="10"/>
                      </a:lnTo>
                      <a:lnTo>
                        <a:pt x="172" y="7"/>
                      </a:lnTo>
                      <a:lnTo>
                        <a:pt x="165" y="5"/>
                      </a:lnTo>
                      <a:lnTo>
                        <a:pt x="159" y="3"/>
                      </a:lnTo>
                      <a:lnTo>
                        <a:pt x="152" y="2"/>
                      </a:lnTo>
                      <a:lnTo>
                        <a:pt x="145" y="0"/>
                      </a:lnTo>
                      <a:lnTo>
                        <a:pt x="138" y="0"/>
                      </a:lnTo>
                      <a:lnTo>
                        <a:pt x="130" y="0"/>
                      </a:lnTo>
                      <a:lnTo>
                        <a:pt x="123" y="2"/>
                      </a:lnTo>
                      <a:lnTo>
                        <a:pt x="115" y="3"/>
                      </a:lnTo>
                      <a:lnTo>
                        <a:pt x="108" y="4"/>
                      </a:lnTo>
                      <a:lnTo>
                        <a:pt x="100" y="5"/>
                      </a:lnTo>
                      <a:lnTo>
                        <a:pt x="91" y="7"/>
                      </a:lnTo>
                      <a:lnTo>
                        <a:pt x="81" y="11"/>
                      </a:lnTo>
                      <a:lnTo>
                        <a:pt x="73" y="14"/>
                      </a:lnTo>
                      <a:lnTo>
                        <a:pt x="65" y="19"/>
                      </a:lnTo>
                      <a:lnTo>
                        <a:pt x="57" y="23"/>
                      </a:lnTo>
                      <a:lnTo>
                        <a:pt x="50" y="28"/>
                      </a:lnTo>
                      <a:lnTo>
                        <a:pt x="43" y="33"/>
                      </a:lnTo>
                      <a:lnTo>
                        <a:pt x="38" y="38"/>
                      </a:lnTo>
                      <a:lnTo>
                        <a:pt x="26" y="50"/>
                      </a:lnTo>
                      <a:lnTo>
                        <a:pt x="17" y="64"/>
                      </a:lnTo>
                      <a:lnTo>
                        <a:pt x="10" y="80"/>
                      </a:lnTo>
                      <a:lnTo>
                        <a:pt x="4" y="96"/>
                      </a:lnTo>
                      <a:lnTo>
                        <a:pt x="1" y="113"/>
                      </a:lnTo>
                      <a:lnTo>
                        <a:pt x="0" y="131"/>
                      </a:lnTo>
                      <a:lnTo>
                        <a:pt x="2" y="148"/>
                      </a:lnTo>
                      <a:lnTo>
                        <a:pt x="5" y="166"/>
                      </a:lnTo>
                      <a:lnTo>
                        <a:pt x="10" y="181"/>
                      </a:lnTo>
                      <a:lnTo>
                        <a:pt x="17" y="195"/>
                      </a:lnTo>
                      <a:lnTo>
                        <a:pt x="25" y="209"/>
                      </a:lnTo>
                      <a:lnTo>
                        <a:pt x="35" y="222"/>
                      </a:lnTo>
                      <a:lnTo>
                        <a:pt x="41" y="227"/>
                      </a:lnTo>
                      <a:lnTo>
                        <a:pt x="47" y="232"/>
                      </a:lnTo>
                      <a:lnTo>
                        <a:pt x="54" y="237"/>
                      </a:lnTo>
                      <a:lnTo>
                        <a:pt x="61" y="240"/>
                      </a:lnTo>
                      <a:lnTo>
                        <a:pt x="68" y="244"/>
                      </a:lnTo>
                      <a:lnTo>
                        <a:pt x="74" y="247"/>
                      </a:lnTo>
                      <a:lnTo>
                        <a:pt x="83" y="249"/>
                      </a:lnTo>
                      <a:lnTo>
                        <a:pt x="91" y="250"/>
                      </a:lnTo>
                      <a:lnTo>
                        <a:pt x="100" y="252"/>
                      </a:lnTo>
                      <a:lnTo>
                        <a:pt x="108" y="253"/>
                      </a:lnTo>
                      <a:lnTo>
                        <a:pt x="117" y="253"/>
                      </a:lnTo>
                      <a:lnTo>
                        <a:pt x="126" y="253"/>
                      </a:lnTo>
                      <a:lnTo>
                        <a:pt x="137" y="252"/>
                      </a:lnTo>
                      <a:lnTo>
                        <a:pt x="146" y="250"/>
                      </a:lnTo>
                      <a:lnTo>
                        <a:pt x="155" y="248"/>
                      </a:lnTo>
                      <a:lnTo>
                        <a:pt x="165" y="246"/>
                      </a:lnTo>
                      <a:lnTo>
                        <a:pt x="176" y="242"/>
                      </a:lnTo>
                      <a:lnTo>
                        <a:pt x="186" y="239"/>
                      </a:lnTo>
                      <a:lnTo>
                        <a:pt x="195" y="235"/>
                      </a:lnTo>
                      <a:lnTo>
                        <a:pt x="205" y="231"/>
                      </a:lnTo>
                      <a:lnTo>
                        <a:pt x="213" y="226"/>
                      </a:lnTo>
                      <a:lnTo>
                        <a:pt x="220" y="222"/>
                      </a:lnTo>
                      <a:lnTo>
                        <a:pt x="227" y="216"/>
                      </a:lnTo>
                      <a:lnTo>
                        <a:pt x="233" y="210"/>
                      </a:lnTo>
                      <a:lnTo>
                        <a:pt x="244" y="199"/>
                      </a:lnTo>
                      <a:lnTo>
                        <a:pt x="252" y="187"/>
                      </a:lnTo>
                      <a:lnTo>
                        <a:pt x="258" y="174"/>
                      </a:lnTo>
                      <a:lnTo>
                        <a:pt x="262" y="161"/>
                      </a:lnTo>
                      <a:lnTo>
                        <a:pt x="236" y="168"/>
                      </a:lnTo>
                      <a:lnTo>
                        <a:pt x="230" y="177"/>
                      </a:lnTo>
                      <a:lnTo>
                        <a:pt x="223" y="186"/>
                      </a:lnTo>
                      <a:lnTo>
                        <a:pt x="216" y="194"/>
                      </a:lnTo>
                      <a:lnTo>
                        <a:pt x="207" y="201"/>
                      </a:lnTo>
                      <a:close/>
                    </a:path>
                  </a:pathLst>
                </a:custGeom>
                <a:solidFill>
                  <a:srgbClr val="0021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42" name="Freeform 579">
                  <a:extLst>
                    <a:ext uri="{FF2B5EF4-FFF2-40B4-BE49-F238E27FC236}">
                      <a16:creationId xmlns:a16="http://schemas.microsoft.com/office/drawing/2014/main" id="{A3B53F21-5A04-4BFF-9FCB-6554523F51B4}"/>
                    </a:ext>
                  </a:extLst>
                </p:cNvPr>
                <p:cNvSpPr>
                  <a:spLocks/>
                </p:cNvSpPr>
                <p:nvPr/>
              </p:nvSpPr>
              <p:spPr bwMode="auto">
                <a:xfrm>
                  <a:off x="3303136" y="3847838"/>
                  <a:ext cx="33717" cy="80474"/>
                </a:xfrm>
                <a:custGeom>
                  <a:avLst/>
                  <a:gdLst>
                    <a:gd name="T0" fmla="*/ 0 w 58"/>
                    <a:gd name="T1" fmla="*/ 2147483646 h 96"/>
                    <a:gd name="T2" fmla="*/ 0 w 58"/>
                    <a:gd name="T3" fmla="*/ 2147483646 h 96"/>
                    <a:gd name="T4" fmla="*/ 2147483646 w 58"/>
                    <a:gd name="T5" fmla="*/ 2147483646 h 96"/>
                    <a:gd name="T6" fmla="*/ 2147483646 w 58"/>
                    <a:gd name="T7" fmla="*/ 2147483646 h 96"/>
                    <a:gd name="T8" fmla="*/ 2147483646 w 58"/>
                    <a:gd name="T9" fmla="*/ 2147483646 h 96"/>
                    <a:gd name="T10" fmla="*/ 2147483646 w 58"/>
                    <a:gd name="T11" fmla="*/ 2147483646 h 96"/>
                    <a:gd name="T12" fmla="*/ 2147483646 w 58"/>
                    <a:gd name="T13" fmla="*/ 2147483646 h 96"/>
                    <a:gd name="T14" fmla="*/ 2147483646 w 58"/>
                    <a:gd name="T15" fmla="*/ 2147483646 h 96"/>
                    <a:gd name="T16" fmla="*/ 2147483646 w 58"/>
                    <a:gd name="T17" fmla="*/ 2147483646 h 96"/>
                    <a:gd name="T18" fmla="*/ 2147483646 w 58"/>
                    <a:gd name="T19" fmla="*/ 0 h 96"/>
                    <a:gd name="T20" fmla="*/ 2147483646 w 58"/>
                    <a:gd name="T21" fmla="*/ 0 h 96"/>
                    <a:gd name="T22" fmla="*/ 2147483646 w 58"/>
                    <a:gd name="T23" fmla="*/ 2147483646 h 96"/>
                    <a:gd name="T24" fmla="*/ 2147483646 w 58"/>
                    <a:gd name="T25" fmla="*/ 2147483646 h 96"/>
                    <a:gd name="T26" fmla="*/ 2147483646 w 58"/>
                    <a:gd name="T27" fmla="*/ 2147483646 h 96"/>
                    <a:gd name="T28" fmla="*/ 2147483646 w 58"/>
                    <a:gd name="T29" fmla="*/ 2147483646 h 96"/>
                    <a:gd name="T30" fmla="*/ 2147483646 w 58"/>
                    <a:gd name="T31" fmla="*/ 2147483646 h 96"/>
                    <a:gd name="T32" fmla="*/ 2147483646 w 58"/>
                    <a:gd name="T33" fmla="*/ 2147483646 h 96"/>
                    <a:gd name="T34" fmla="*/ 2147483646 w 58"/>
                    <a:gd name="T35" fmla="*/ 2147483646 h 96"/>
                    <a:gd name="T36" fmla="*/ 2147483646 w 58"/>
                    <a:gd name="T37" fmla="*/ 2147483646 h 96"/>
                    <a:gd name="T38" fmla="*/ 2147483646 w 58"/>
                    <a:gd name="T39" fmla="*/ 2147483646 h 96"/>
                    <a:gd name="T40" fmla="*/ 2147483646 w 58"/>
                    <a:gd name="T41" fmla="*/ 2147483646 h 96"/>
                    <a:gd name="T42" fmla="*/ 2147483646 w 58"/>
                    <a:gd name="T43" fmla="*/ 2147483646 h 96"/>
                    <a:gd name="T44" fmla="*/ 2147483646 w 58"/>
                    <a:gd name="T45" fmla="*/ 2147483646 h 96"/>
                    <a:gd name="T46" fmla="*/ 2147483646 w 58"/>
                    <a:gd name="T47" fmla="*/ 2147483646 h 96"/>
                    <a:gd name="T48" fmla="*/ 2147483646 w 58"/>
                    <a:gd name="T49" fmla="*/ 2147483646 h 96"/>
                    <a:gd name="T50" fmla="*/ 2147483646 w 58"/>
                    <a:gd name="T51" fmla="*/ 2147483646 h 96"/>
                    <a:gd name="T52" fmla="*/ 2147483646 w 58"/>
                    <a:gd name="T53" fmla="*/ 2147483646 h 96"/>
                    <a:gd name="T54" fmla="*/ 2147483646 w 58"/>
                    <a:gd name="T55" fmla="*/ 2147483646 h 96"/>
                    <a:gd name="T56" fmla="*/ 2147483646 w 58"/>
                    <a:gd name="T57" fmla="*/ 2147483646 h 96"/>
                    <a:gd name="T58" fmla="*/ 2147483646 w 58"/>
                    <a:gd name="T59" fmla="*/ 2147483646 h 96"/>
                    <a:gd name="T60" fmla="*/ 2147483646 w 58"/>
                    <a:gd name="T61" fmla="*/ 2147483646 h 96"/>
                    <a:gd name="T62" fmla="*/ 2147483646 w 58"/>
                    <a:gd name="T63" fmla="*/ 2147483646 h 96"/>
                    <a:gd name="T64" fmla="*/ 2147483646 w 58"/>
                    <a:gd name="T65" fmla="*/ 2147483646 h 96"/>
                    <a:gd name="T66" fmla="*/ 2147483646 w 58"/>
                    <a:gd name="T67" fmla="*/ 2147483646 h 96"/>
                    <a:gd name="T68" fmla="*/ 2147483646 w 58"/>
                    <a:gd name="T69" fmla="*/ 2147483646 h 96"/>
                    <a:gd name="T70" fmla="*/ 2147483646 w 58"/>
                    <a:gd name="T71" fmla="*/ 2147483646 h 96"/>
                    <a:gd name="T72" fmla="*/ 2147483646 w 58"/>
                    <a:gd name="T73" fmla="*/ 2147483646 h 96"/>
                    <a:gd name="T74" fmla="*/ 2147483646 w 58"/>
                    <a:gd name="T75" fmla="*/ 2147483646 h 96"/>
                    <a:gd name="T76" fmla="*/ 2147483646 w 58"/>
                    <a:gd name="T77" fmla="*/ 2147483646 h 96"/>
                    <a:gd name="T78" fmla="*/ 2147483646 w 58"/>
                    <a:gd name="T79" fmla="*/ 2147483646 h 96"/>
                    <a:gd name="T80" fmla="*/ 2147483646 w 58"/>
                    <a:gd name="T81" fmla="*/ 2147483646 h 96"/>
                    <a:gd name="T82" fmla="*/ 2147483646 w 58"/>
                    <a:gd name="T83" fmla="*/ 2147483646 h 96"/>
                    <a:gd name="T84" fmla="*/ 0 w 58"/>
                    <a:gd name="T85" fmla="*/ 2147483646 h 96"/>
                    <a:gd name="T86" fmla="*/ 0 w 58"/>
                    <a:gd name="T87" fmla="*/ 2147483646 h 96"/>
                    <a:gd name="T88" fmla="*/ 0 w 58"/>
                    <a:gd name="T89" fmla="*/ 2147483646 h 9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8"/>
                    <a:gd name="T136" fmla="*/ 0 h 96"/>
                    <a:gd name="T137" fmla="*/ 58 w 58"/>
                    <a:gd name="T138" fmla="*/ 96 h 9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8" h="96">
                      <a:moveTo>
                        <a:pt x="0" y="42"/>
                      </a:moveTo>
                      <a:lnTo>
                        <a:pt x="0" y="33"/>
                      </a:lnTo>
                      <a:lnTo>
                        <a:pt x="2" y="27"/>
                      </a:lnTo>
                      <a:lnTo>
                        <a:pt x="3" y="21"/>
                      </a:lnTo>
                      <a:lnTo>
                        <a:pt x="7" y="15"/>
                      </a:lnTo>
                      <a:lnTo>
                        <a:pt x="10" y="9"/>
                      </a:lnTo>
                      <a:lnTo>
                        <a:pt x="15" y="6"/>
                      </a:lnTo>
                      <a:lnTo>
                        <a:pt x="19" y="2"/>
                      </a:lnTo>
                      <a:lnTo>
                        <a:pt x="25" y="1"/>
                      </a:lnTo>
                      <a:lnTo>
                        <a:pt x="30" y="0"/>
                      </a:lnTo>
                      <a:lnTo>
                        <a:pt x="34" y="0"/>
                      </a:lnTo>
                      <a:lnTo>
                        <a:pt x="39" y="2"/>
                      </a:lnTo>
                      <a:lnTo>
                        <a:pt x="43" y="5"/>
                      </a:lnTo>
                      <a:lnTo>
                        <a:pt x="47" y="8"/>
                      </a:lnTo>
                      <a:lnTo>
                        <a:pt x="50" y="13"/>
                      </a:lnTo>
                      <a:lnTo>
                        <a:pt x="54" y="17"/>
                      </a:lnTo>
                      <a:lnTo>
                        <a:pt x="56" y="24"/>
                      </a:lnTo>
                      <a:lnTo>
                        <a:pt x="57" y="31"/>
                      </a:lnTo>
                      <a:lnTo>
                        <a:pt x="58" y="38"/>
                      </a:lnTo>
                      <a:lnTo>
                        <a:pt x="58" y="45"/>
                      </a:lnTo>
                      <a:lnTo>
                        <a:pt x="58" y="53"/>
                      </a:lnTo>
                      <a:lnTo>
                        <a:pt x="57" y="60"/>
                      </a:lnTo>
                      <a:lnTo>
                        <a:pt x="56" y="67"/>
                      </a:lnTo>
                      <a:lnTo>
                        <a:pt x="55" y="73"/>
                      </a:lnTo>
                      <a:lnTo>
                        <a:pt x="53" y="78"/>
                      </a:lnTo>
                      <a:lnTo>
                        <a:pt x="52" y="82"/>
                      </a:lnTo>
                      <a:lnTo>
                        <a:pt x="49" y="84"/>
                      </a:lnTo>
                      <a:lnTo>
                        <a:pt x="48" y="87"/>
                      </a:lnTo>
                      <a:lnTo>
                        <a:pt x="46" y="89"/>
                      </a:lnTo>
                      <a:lnTo>
                        <a:pt x="42" y="91"/>
                      </a:lnTo>
                      <a:lnTo>
                        <a:pt x="40" y="93"/>
                      </a:lnTo>
                      <a:lnTo>
                        <a:pt x="37" y="95"/>
                      </a:lnTo>
                      <a:lnTo>
                        <a:pt x="33" y="96"/>
                      </a:lnTo>
                      <a:lnTo>
                        <a:pt x="28" y="96"/>
                      </a:lnTo>
                      <a:lnTo>
                        <a:pt x="24" y="96"/>
                      </a:lnTo>
                      <a:lnTo>
                        <a:pt x="19" y="95"/>
                      </a:lnTo>
                      <a:lnTo>
                        <a:pt x="15" y="92"/>
                      </a:lnTo>
                      <a:lnTo>
                        <a:pt x="11" y="89"/>
                      </a:lnTo>
                      <a:lnTo>
                        <a:pt x="8" y="84"/>
                      </a:lnTo>
                      <a:lnTo>
                        <a:pt x="4" y="77"/>
                      </a:lnTo>
                      <a:lnTo>
                        <a:pt x="2" y="70"/>
                      </a:lnTo>
                      <a:lnTo>
                        <a:pt x="1" y="65"/>
                      </a:lnTo>
                      <a:lnTo>
                        <a:pt x="0" y="58"/>
                      </a:lnTo>
                      <a:lnTo>
                        <a:pt x="0" y="50"/>
                      </a:lnTo>
                      <a:lnTo>
                        <a:pt x="0" y="42"/>
                      </a:lnTo>
                      <a:close/>
                    </a:path>
                  </a:pathLst>
                </a:custGeom>
                <a:solidFill>
                  <a:srgbClr val="93CDD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43" name="Freeform 580">
                  <a:extLst>
                    <a:ext uri="{FF2B5EF4-FFF2-40B4-BE49-F238E27FC236}">
                      <a16:creationId xmlns:a16="http://schemas.microsoft.com/office/drawing/2014/main" id="{5838AC54-1761-4804-A98D-F92642619641}"/>
                    </a:ext>
                  </a:extLst>
                </p:cNvPr>
                <p:cNvSpPr>
                  <a:spLocks/>
                </p:cNvSpPr>
                <p:nvPr/>
              </p:nvSpPr>
              <p:spPr bwMode="auto">
                <a:xfrm>
                  <a:off x="3305164" y="3908427"/>
                  <a:ext cx="92075" cy="93663"/>
                </a:xfrm>
                <a:custGeom>
                  <a:avLst/>
                  <a:gdLst>
                    <a:gd name="T0" fmla="*/ 2147483646 w 117"/>
                    <a:gd name="T1" fmla="*/ 2147483646 h 117"/>
                    <a:gd name="T2" fmla="*/ 2147483646 w 117"/>
                    <a:gd name="T3" fmla="*/ 2147483646 h 117"/>
                    <a:gd name="T4" fmla="*/ 2147483646 w 117"/>
                    <a:gd name="T5" fmla="*/ 2147483646 h 117"/>
                    <a:gd name="T6" fmla="*/ 0 w 117"/>
                    <a:gd name="T7" fmla="*/ 2147483646 h 117"/>
                    <a:gd name="T8" fmla="*/ 0 w 117"/>
                    <a:gd name="T9" fmla="*/ 2147483646 h 117"/>
                    <a:gd name="T10" fmla="*/ 2147483646 w 117"/>
                    <a:gd name="T11" fmla="*/ 2147483646 h 117"/>
                    <a:gd name="T12" fmla="*/ 2147483646 w 117"/>
                    <a:gd name="T13" fmla="*/ 0 h 117"/>
                    <a:gd name="T14" fmla="*/ 2147483646 w 117"/>
                    <a:gd name="T15" fmla="*/ 0 h 117"/>
                    <a:gd name="T16" fmla="*/ 2147483646 w 117"/>
                    <a:gd name="T17" fmla="*/ 2147483646 h 117"/>
                    <a:gd name="T18" fmla="*/ 2147483646 w 117"/>
                    <a:gd name="T19" fmla="*/ 2147483646 h 117"/>
                    <a:gd name="T20" fmla="*/ 2147483646 w 117"/>
                    <a:gd name="T21" fmla="*/ 2147483646 h 117"/>
                    <a:gd name="T22" fmla="*/ 2147483646 w 117"/>
                    <a:gd name="T23" fmla="*/ 2147483646 h 117"/>
                    <a:gd name="T24" fmla="*/ 2147483646 w 117"/>
                    <a:gd name="T25" fmla="*/ 2147483646 h 1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7"/>
                    <a:gd name="T40" fmla="*/ 0 h 117"/>
                    <a:gd name="T41" fmla="*/ 117 w 117"/>
                    <a:gd name="T42" fmla="*/ 117 h 1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7" h="117">
                      <a:moveTo>
                        <a:pt x="74" y="117"/>
                      </a:moveTo>
                      <a:lnTo>
                        <a:pt x="44" y="117"/>
                      </a:lnTo>
                      <a:lnTo>
                        <a:pt x="44" y="73"/>
                      </a:lnTo>
                      <a:lnTo>
                        <a:pt x="0" y="73"/>
                      </a:lnTo>
                      <a:lnTo>
                        <a:pt x="0" y="43"/>
                      </a:lnTo>
                      <a:lnTo>
                        <a:pt x="44" y="43"/>
                      </a:lnTo>
                      <a:lnTo>
                        <a:pt x="44" y="0"/>
                      </a:lnTo>
                      <a:lnTo>
                        <a:pt x="74" y="0"/>
                      </a:lnTo>
                      <a:lnTo>
                        <a:pt x="74" y="43"/>
                      </a:lnTo>
                      <a:lnTo>
                        <a:pt x="117" y="43"/>
                      </a:lnTo>
                      <a:lnTo>
                        <a:pt x="117" y="73"/>
                      </a:lnTo>
                      <a:lnTo>
                        <a:pt x="74" y="73"/>
                      </a:lnTo>
                      <a:lnTo>
                        <a:pt x="74" y="117"/>
                      </a:lnTo>
                      <a:close/>
                    </a:path>
                  </a:pathLst>
                </a:custGeom>
                <a:solidFill>
                  <a:srgbClr val="47004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344" name="Rectangle 581">
                  <a:extLst>
                    <a:ext uri="{FF2B5EF4-FFF2-40B4-BE49-F238E27FC236}">
                      <a16:creationId xmlns:a16="http://schemas.microsoft.com/office/drawing/2014/main" id="{219DBF20-DC4B-4F0C-92CE-ABEDD368A185}"/>
                    </a:ext>
                  </a:extLst>
                </p:cNvPr>
                <p:cNvSpPr>
                  <a:spLocks noChangeArrowheads="1"/>
                </p:cNvSpPr>
                <p:nvPr/>
              </p:nvSpPr>
              <p:spPr bwMode="auto">
                <a:xfrm>
                  <a:off x="3584564" y="3805240"/>
                  <a:ext cx="96838"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spcBef>
                      <a:spcPct val="0"/>
                    </a:spcBef>
                    <a:buClrTx/>
                    <a:buSzTx/>
                    <a:buFontTx/>
                    <a:buNone/>
                  </a:pPr>
                  <a:endParaRPr kumimoji="1" lang="ko-KR" altLang="en-US" sz="2000">
                    <a:ea typeface="Gulim" panose="020B0600000101010101" pitchFamily="34" charset="-127"/>
                  </a:endParaRPr>
                </a:p>
              </p:txBody>
            </p:sp>
            <p:sp>
              <p:nvSpPr>
                <p:cNvPr id="87345" name="Rectangle 582">
                  <a:extLst>
                    <a:ext uri="{FF2B5EF4-FFF2-40B4-BE49-F238E27FC236}">
                      <a16:creationId xmlns:a16="http://schemas.microsoft.com/office/drawing/2014/main" id="{6A89144D-40E6-4ABF-8A7B-D747992C90B3}"/>
                    </a:ext>
                  </a:extLst>
                </p:cNvPr>
                <p:cNvSpPr>
                  <a:spLocks noChangeArrowheads="1"/>
                </p:cNvSpPr>
                <p:nvPr/>
              </p:nvSpPr>
              <p:spPr bwMode="auto">
                <a:xfrm>
                  <a:off x="3584564" y="3848102"/>
                  <a:ext cx="96838" cy="238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spcBef>
                      <a:spcPct val="0"/>
                    </a:spcBef>
                    <a:buClrTx/>
                    <a:buSzTx/>
                    <a:buFontTx/>
                    <a:buNone/>
                  </a:pPr>
                  <a:endParaRPr kumimoji="1" lang="ko-KR" altLang="en-US" sz="2000">
                    <a:ea typeface="Gulim" panose="020B0600000101010101" pitchFamily="34" charset="-127"/>
                  </a:endParaRPr>
                </a:p>
              </p:txBody>
            </p:sp>
          </p:grpSp>
        </p:grpSp>
        <p:sp>
          <p:nvSpPr>
            <p:cNvPr id="87126" name="자유형 706">
              <a:extLst>
                <a:ext uri="{FF2B5EF4-FFF2-40B4-BE49-F238E27FC236}">
                  <a16:creationId xmlns:a16="http://schemas.microsoft.com/office/drawing/2014/main" id="{92C84493-6F6B-4AE7-B325-1C957020189E}"/>
                </a:ext>
              </a:extLst>
            </p:cNvPr>
            <p:cNvSpPr>
              <a:spLocks noChangeArrowheads="1"/>
            </p:cNvSpPr>
            <p:nvPr/>
          </p:nvSpPr>
          <p:spPr bwMode="auto">
            <a:xfrm>
              <a:off x="1611313" y="3702036"/>
              <a:ext cx="120650" cy="163513"/>
            </a:xfrm>
            <a:custGeom>
              <a:avLst/>
              <a:gdLst>
                <a:gd name="T0" fmla="*/ 0 w 438150"/>
                <a:gd name="T1" fmla="*/ 0 h 659130"/>
                <a:gd name="T2" fmla="*/ 0 w 438150"/>
                <a:gd name="T3" fmla="*/ 0 h 659130"/>
                <a:gd name="T4" fmla="*/ 0 w 438150"/>
                <a:gd name="T5" fmla="*/ 0 h 659130"/>
                <a:gd name="T6" fmla="*/ 0 w 438150"/>
                <a:gd name="T7" fmla="*/ 0 h 659130"/>
                <a:gd name="T8" fmla="*/ 0 w 438150"/>
                <a:gd name="T9" fmla="*/ 0 h 659130"/>
                <a:gd name="T10" fmla="*/ 0 w 438150"/>
                <a:gd name="T11" fmla="*/ 0 h 659130"/>
                <a:gd name="T12" fmla="*/ 0 w 438150"/>
                <a:gd name="T13" fmla="*/ 0 h 659130"/>
                <a:gd name="T14" fmla="*/ 0 w 438150"/>
                <a:gd name="T15" fmla="*/ 0 h 659130"/>
                <a:gd name="T16" fmla="*/ 0 60000 65536"/>
                <a:gd name="T17" fmla="*/ 0 60000 65536"/>
                <a:gd name="T18" fmla="*/ 0 60000 65536"/>
                <a:gd name="T19" fmla="*/ 0 60000 65536"/>
                <a:gd name="T20" fmla="*/ 0 60000 65536"/>
                <a:gd name="T21" fmla="*/ 0 60000 65536"/>
                <a:gd name="T22" fmla="*/ 0 60000 65536"/>
                <a:gd name="T23" fmla="*/ 0 60000 65536"/>
                <a:gd name="T24" fmla="*/ 0 w 438150"/>
                <a:gd name="T25" fmla="*/ 0 h 659130"/>
                <a:gd name="T26" fmla="*/ 438150 w 438150"/>
                <a:gd name="T27" fmla="*/ 659130 h 6591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38150" h="659130">
                  <a:moveTo>
                    <a:pt x="0" y="0"/>
                  </a:moveTo>
                  <a:lnTo>
                    <a:pt x="438150" y="327660"/>
                  </a:lnTo>
                  <a:lnTo>
                    <a:pt x="262890" y="346710"/>
                  </a:lnTo>
                  <a:lnTo>
                    <a:pt x="410534" y="606734"/>
                  </a:lnTo>
                  <a:lnTo>
                    <a:pt x="331470" y="659130"/>
                  </a:lnTo>
                  <a:lnTo>
                    <a:pt x="171450" y="392430"/>
                  </a:lnTo>
                  <a:lnTo>
                    <a:pt x="72390" y="521970"/>
                  </a:lnTo>
                  <a:lnTo>
                    <a:pt x="0" y="0"/>
                  </a:lnTo>
                  <a:close/>
                </a:path>
              </a:pathLst>
            </a:custGeom>
            <a:solidFill>
              <a:srgbClr val="FFFFFF"/>
            </a:solidFill>
            <a:ln w="9525">
              <a:solidFill>
                <a:srgbClr val="404040"/>
              </a:solidFill>
              <a:miter lim="800000"/>
              <a:headEnd/>
              <a:tailEnd/>
            </a:ln>
          </p:spPr>
          <p:txBody>
            <a:bodyPr anchor="ctr"/>
            <a:lstStyle/>
            <a:p>
              <a:endParaRPr lang="en-GB"/>
            </a:p>
          </p:txBody>
        </p:sp>
        <p:grpSp>
          <p:nvGrpSpPr>
            <p:cNvPr id="87127" name="그룹 707">
              <a:extLst>
                <a:ext uri="{FF2B5EF4-FFF2-40B4-BE49-F238E27FC236}">
                  <a16:creationId xmlns:a16="http://schemas.microsoft.com/office/drawing/2014/main" id="{38D16458-CD7F-4226-9478-24365D2A5B89}"/>
                </a:ext>
              </a:extLst>
            </p:cNvPr>
            <p:cNvGrpSpPr>
              <a:grpSpLocks/>
            </p:cNvGrpSpPr>
            <p:nvPr/>
          </p:nvGrpSpPr>
          <p:grpSpPr bwMode="auto">
            <a:xfrm>
              <a:off x="1473190" y="4192519"/>
              <a:ext cx="265110" cy="212702"/>
              <a:chOff x="6203950" y="4049082"/>
              <a:chExt cx="1744663" cy="1637343"/>
            </a:xfrm>
          </p:grpSpPr>
          <p:sp>
            <p:nvSpPr>
              <p:cNvPr id="87243" name="Freeform 166">
                <a:extLst>
                  <a:ext uri="{FF2B5EF4-FFF2-40B4-BE49-F238E27FC236}">
                    <a16:creationId xmlns:a16="http://schemas.microsoft.com/office/drawing/2014/main" id="{D5A0F874-C1D8-4620-A866-DB44B8233682}"/>
                  </a:ext>
                </a:extLst>
              </p:cNvPr>
              <p:cNvSpPr>
                <a:spLocks/>
              </p:cNvSpPr>
              <p:nvPr/>
            </p:nvSpPr>
            <p:spPr bwMode="auto">
              <a:xfrm>
                <a:off x="7248525" y="4129088"/>
                <a:ext cx="34925" cy="34925"/>
              </a:xfrm>
              <a:custGeom>
                <a:avLst/>
                <a:gdLst>
                  <a:gd name="T0" fmla="*/ 0 w 44"/>
                  <a:gd name="T1" fmla="*/ 2147483646 h 43"/>
                  <a:gd name="T2" fmla="*/ 2147483646 w 44"/>
                  <a:gd name="T3" fmla="*/ 2147483646 h 43"/>
                  <a:gd name="T4" fmla="*/ 2147483646 w 44"/>
                  <a:gd name="T5" fmla="*/ 2147483646 h 43"/>
                  <a:gd name="T6" fmla="*/ 2147483646 w 44"/>
                  <a:gd name="T7" fmla="*/ 2147483646 h 43"/>
                  <a:gd name="T8" fmla="*/ 2147483646 w 44"/>
                  <a:gd name="T9" fmla="*/ 2147483646 h 43"/>
                  <a:gd name="T10" fmla="*/ 2147483646 w 44"/>
                  <a:gd name="T11" fmla="*/ 2147483646 h 43"/>
                  <a:gd name="T12" fmla="*/ 2147483646 w 44"/>
                  <a:gd name="T13" fmla="*/ 2147483646 h 43"/>
                  <a:gd name="T14" fmla="*/ 2147483646 w 44"/>
                  <a:gd name="T15" fmla="*/ 2147483646 h 43"/>
                  <a:gd name="T16" fmla="*/ 2147483646 w 44"/>
                  <a:gd name="T17" fmla="*/ 2147483646 h 43"/>
                  <a:gd name="T18" fmla="*/ 2147483646 w 44"/>
                  <a:gd name="T19" fmla="*/ 2147483646 h 43"/>
                  <a:gd name="T20" fmla="*/ 2147483646 w 44"/>
                  <a:gd name="T21" fmla="*/ 2147483646 h 43"/>
                  <a:gd name="T22" fmla="*/ 2147483646 w 44"/>
                  <a:gd name="T23" fmla="*/ 2147483646 h 43"/>
                  <a:gd name="T24" fmla="*/ 2147483646 w 44"/>
                  <a:gd name="T25" fmla="*/ 0 h 43"/>
                  <a:gd name="T26" fmla="*/ 2147483646 w 44"/>
                  <a:gd name="T27" fmla="*/ 2147483646 h 43"/>
                  <a:gd name="T28" fmla="*/ 2147483646 w 44"/>
                  <a:gd name="T29" fmla="*/ 2147483646 h 43"/>
                  <a:gd name="T30" fmla="*/ 2147483646 w 44"/>
                  <a:gd name="T31" fmla="*/ 2147483646 h 43"/>
                  <a:gd name="T32" fmla="*/ 0 w 44"/>
                  <a:gd name="T33" fmla="*/ 2147483646 h 43"/>
                  <a:gd name="T34" fmla="*/ 0 w 44"/>
                  <a:gd name="T35" fmla="*/ 2147483646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4"/>
                  <a:gd name="T55" fmla="*/ 0 h 43"/>
                  <a:gd name="T56" fmla="*/ 44 w 44"/>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4" h="43">
                    <a:moveTo>
                      <a:pt x="0" y="22"/>
                    </a:moveTo>
                    <a:lnTo>
                      <a:pt x="1" y="31"/>
                    </a:lnTo>
                    <a:lnTo>
                      <a:pt x="6" y="38"/>
                    </a:lnTo>
                    <a:lnTo>
                      <a:pt x="13" y="42"/>
                    </a:lnTo>
                    <a:lnTo>
                      <a:pt x="22" y="43"/>
                    </a:lnTo>
                    <a:lnTo>
                      <a:pt x="31" y="42"/>
                    </a:lnTo>
                    <a:lnTo>
                      <a:pt x="38" y="38"/>
                    </a:lnTo>
                    <a:lnTo>
                      <a:pt x="43" y="31"/>
                    </a:lnTo>
                    <a:lnTo>
                      <a:pt x="44" y="22"/>
                    </a:lnTo>
                    <a:lnTo>
                      <a:pt x="43" y="12"/>
                    </a:lnTo>
                    <a:lnTo>
                      <a:pt x="38" y="5"/>
                    </a:lnTo>
                    <a:lnTo>
                      <a:pt x="31" y="1"/>
                    </a:lnTo>
                    <a:lnTo>
                      <a:pt x="22" y="0"/>
                    </a:lnTo>
                    <a:lnTo>
                      <a:pt x="13" y="1"/>
                    </a:lnTo>
                    <a:lnTo>
                      <a:pt x="6" y="5"/>
                    </a:lnTo>
                    <a:lnTo>
                      <a:pt x="1" y="12"/>
                    </a:lnTo>
                    <a:lnTo>
                      <a:pt x="0" y="22"/>
                    </a:lnTo>
                    <a:close/>
                  </a:path>
                </a:pathLst>
              </a:custGeom>
              <a:solidFill>
                <a:srgbClr val="44C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44" name="Freeform 168">
                <a:extLst>
                  <a:ext uri="{FF2B5EF4-FFF2-40B4-BE49-F238E27FC236}">
                    <a16:creationId xmlns:a16="http://schemas.microsoft.com/office/drawing/2014/main" id="{7296F3E5-6E76-4A8E-8023-3A26929E7C54}"/>
                  </a:ext>
                </a:extLst>
              </p:cNvPr>
              <p:cNvSpPr>
                <a:spLocks/>
              </p:cNvSpPr>
              <p:nvPr/>
            </p:nvSpPr>
            <p:spPr bwMode="auto">
              <a:xfrm>
                <a:off x="7485063" y="4129088"/>
                <a:ext cx="34925" cy="34925"/>
              </a:xfrm>
              <a:custGeom>
                <a:avLst/>
                <a:gdLst>
                  <a:gd name="T0" fmla="*/ 0 w 45"/>
                  <a:gd name="T1" fmla="*/ 2147483646 h 43"/>
                  <a:gd name="T2" fmla="*/ 2147483646 w 45"/>
                  <a:gd name="T3" fmla="*/ 2147483646 h 43"/>
                  <a:gd name="T4" fmla="*/ 2147483646 w 45"/>
                  <a:gd name="T5" fmla="*/ 2147483646 h 43"/>
                  <a:gd name="T6" fmla="*/ 2147483646 w 45"/>
                  <a:gd name="T7" fmla="*/ 2147483646 h 43"/>
                  <a:gd name="T8" fmla="*/ 2147483646 w 45"/>
                  <a:gd name="T9" fmla="*/ 2147483646 h 43"/>
                  <a:gd name="T10" fmla="*/ 2147483646 w 45"/>
                  <a:gd name="T11" fmla="*/ 2147483646 h 43"/>
                  <a:gd name="T12" fmla="*/ 2147483646 w 45"/>
                  <a:gd name="T13" fmla="*/ 2147483646 h 43"/>
                  <a:gd name="T14" fmla="*/ 2147483646 w 45"/>
                  <a:gd name="T15" fmla="*/ 2147483646 h 43"/>
                  <a:gd name="T16" fmla="*/ 2147483646 w 45"/>
                  <a:gd name="T17" fmla="*/ 2147483646 h 43"/>
                  <a:gd name="T18" fmla="*/ 2147483646 w 45"/>
                  <a:gd name="T19" fmla="*/ 2147483646 h 43"/>
                  <a:gd name="T20" fmla="*/ 2147483646 w 45"/>
                  <a:gd name="T21" fmla="*/ 2147483646 h 43"/>
                  <a:gd name="T22" fmla="*/ 2147483646 w 45"/>
                  <a:gd name="T23" fmla="*/ 2147483646 h 43"/>
                  <a:gd name="T24" fmla="*/ 2147483646 w 45"/>
                  <a:gd name="T25" fmla="*/ 0 h 43"/>
                  <a:gd name="T26" fmla="*/ 2147483646 w 45"/>
                  <a:gd name="T27" fmla="*/ 2147483646 h 43"/>
                  <a:gd name="T28" fmla="*/ 2147483646 w 45"/>
                  <a:gd name="T29" fmla="*/ 2147483646 h 43"/>
                  <a:gd name="T30" fmla="*/ 2147483646 w 45"/>
                  <a:gd name="T31" fmla="*/ 2147483646 h 43"/>
                  <a:gd name="T32" fmla="*/ 0 w 45"/>
                  <a:gd name="T33" fmla="*/ 2147483646 h 43"/>
                  <a:gd name="T34" fmla="*/ 0 w 45"/>
                  <a:gd name="T35" fmla="*/ 2147483646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5"/>
                  <a:gd name="T55" fmla="*/ 0 h 43"/>
                  <a:gd name="T56" fmla="*/ 45 w 4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5" h="43">
                    <a:moveTo>
                      <a:pt x="0" y="22"/>
                    </a:moveTo>
                    <a:lnTo>
                      <a:pt x="3" y="31"/>
                    </a:lnTo>
                    <a:lnTo>
                      <a:pt x="7" y="38"/>
                    </a:lnTo>
                    <a:lnTo>
                      <a:pt x="14" y="42"/>
                    </a:lnTo>
                    <a:lnTo>
                      <a:pt x="22" y="43"/>
                    </a:lnTo>
                    <a:lnTo>
                      <a:pt x="31" y="42"/>
                    </a:lnTo>
                    <a:lnTo>
                      <a:pt x="38" y="38"/>
                    </a:lnTo>
                    <a:lnTo>
                      <a:pt x="43" y="31"/>
                    </a:lnTo>
                    <a:lnTo>
                      <a:pt x="45" y="22"/>
                    </a:lnTo>
                    <a:lnTo>
                      <a:pt x="43" y="12"/>
                    </a:lnTo>
                    <a:lnTo>
                      <a:pt x="38" y="5"/>
                    </a:lnTo>
                    <a:lnTo>
                      <a:pt x="31" y="1"/>
                    </a:lnTo>
                    <a:lnTo>
                      <a:pt x="22" y="0"/>
                    </a:lnTo>
                    <a:lnTo>
                      <a:pt x="14" y="1"/>
                    </a:lnTo>
                    <a:lnTo>
                      <a:pt x="7" y="5"/>
                    </a:lnTo>
                    <a:lnTo>
                      <a:pt x="3" y="12"/>
                    </a:lnTo>
                    <a:lnTo>
                      <a:pt x="0" y="22"/>
                    </a:lnTo>
                    <a:close/>
                  </a:path>
                </a:pathLst>
              </a:custGeom>
              <a:solidFill>
                <a:srgbClr val="44C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45" name="Freeform 223">
                <a:extLst>
                  <a:ext uri="{FF2B5EF4-FFF2-40B4-BE49-F238E27FC236}">
                    <a16:creationId xmlns:a16="http://schemas.microsoft.com/office/drawing/2014/main" id="{FA5BF676-824C-437A-8FFF-E140D18A0CB1}"/>
                  </a:ext>
                </a:extLst>
              </p:cNvPr>
              <p:cNvSpPr>
                <a:spLocks/>
              </p:cNvSpPr>
              <p:nvPr/>
            </p:nvSpPr>
            <p:spPr bwMode="auto">
              <a:xfrm>
                <a:off x="6529388" y="5140325"/>
                <a:ext cx="34925" cy="36512"/>
              </a:xfrm>
              <a:custGeom>
                <a:avLst/>
                <a:gdLst>
                  <a:gd name="T0" fmla="*/ 0 w 44"/>
                  <a:gd name="T1" fmla="*/ 2147483646 h 45"/>
                  <a:gd name="T2" fmla="*/ 2147483646 w 44"/>
                  <a:gd name="T3" fmla="*/ 2147483646 h 45"/>
                  <a:gd name="T4" fmla="*/ 2147483646 w 44"/>
                  <a:gd name="T5" fmla="*/ 2147483646 h 45"/>
                  <a:gd name="T6" fmla="*/ 2147483646 w 44"/>
                  <a:gd name="T7" fmla="*/ 2147483646 h 45"/>
                  <a:gd name="T8" fmla="*/ 2147483646 w 44"/>
                  <a:gd name="T9" fmla="*/ 2147483646 h 45"/>
                  <a:gd name="T10" fmla="*/ 2147483646 w 44"/>
                  <a:gd name="T11" fmla="*/ 2147483646 h 45"/>
                  <a:gd name="T12" fmla="*/ 2147483646 w 44"/>
                  <a:gd name="T13" fmla="*/ 2147483646 h 45"/>
                  <a:gd name="T14" fmla="*/ 2147483646 w 44"/>
                  <a:gd name="T15" fmla="*/ 2147483646 h 45"/>
                  <a:gd name="T16" fmla="*/ 2147483646 w 44"/>
                  <a:gd name="T17" fmla="*/ 2147483646 h 45"/>
                  <a:gd name="T18" fmla="*/ 2147483646 w 44"/>
                  <a:gd name="T19" fmla="*/ 2147483646 h 45"/>
                  <a:gd name="T20" fmla="*/ 2147483646 w 44"/>
                  <a:gd name="T21" fmla="*/ 2147483646 h 45"/>
                  <a:gd name="T22" fmla="*/ 2147483646 w 44"/>
                  <a:gd name="T23" fmla="*/ 2147483646 h 45"/>
                  <a:gd name="T24" fmla="*/ 2147483646 w 44"/>
                  <a:gd name="T25" fmla="*/ 0 h 45"/>
                  <a:gd name="T26" fmla="*/ 2147483646 w 44"/>
                  <a:gd name="T27" fmla="*/ 2147483646 h 45"/>
                  <a:gd name="T28" fmla="*/ 2147483646 w 44"/>
                  <a:gd name="T29" fmla="*/ 2147483646 h 45"/>
                  <a:gd name="T30" fmla="*/ 2147483646 w 44"/>
                  <a:gd name="T31" fmla="*/ 2147483646 h 45"/>
                  <a:gd name="T32" fmla="*/ 0 w 44"/>
                  <a:gd name="T33" fmla="*/ 2147483646 h 45"/>
                  <a:gd name="T34" fmla="*/ 0 w 44"/>
                  <a:gd name="T35" fmla="*/ 2147483646 h 4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4"/>
                  <a:gd name="T55" fmla="*/ 0 h 45"/>
                  <a:gd name="T56" fmla="*/ 44 w 44"/>
                  <a:gd name="T57" fmla="*/ 45 h 4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4" h="45">
                    <a:moveTo>
                      <a:pt x="0" y="23"/>
                    </a:moveTo>
                    <a:lnTo>
                      <a:pt x="1" y="32"/>
                    </a:lnTo>
                    <a:lnTo>
                      <a:pt x="6" y="39"/>
                    </a:lnTo>
                    <a:lnTo>
                      <a:pt x="13" y="44"/>
                    </a:lnTo>
                    <a:lnTo>
                      <a:pt x="22" y="45"/>
                    </a:lnTo>
                    <a:lnTo>
                      <a:pt x="31" y="44"/>
                    </a:lnTo>
                    <a:lnTo>
                      <a:pt x="38" y="39"/>
                    </a:lnTo>
                    <a:lnTo>
                      <a:pt x="43" y="32"/>
                    </a:lnTo>
                    <a:lnTo>
                      <a:pt x="44" y="23"/>
                    </a:lnTo>
                    <a:lnTo>
                      <a:pt x="43" y="14"/>
                    </a:lnTo>
                    <a:lnTo>
                      <a:pt x="38" y="7"/>
                    </a:lnTo>
                    <a:lnTo>
                      <a:pt x="31" y="2"/>
                    </a:lnTo>
                    <a:lnTo>
                      <a:pt x="22" y="0"/>
                    </a:lnTo>
                    <a:lnTo>
                      <a:pt x="13" y="2"/>
                    </a:lnTo>
                    <a:lnTo>
                      <a:pt x="6" y="7"/>
                    </a:lnTo>
                    <a:lnTo>
                      <a:pt x="1" y="14"/>
                    </a:lnTo>
                    <a:lnTo>
                      <a:pt x="0" y="23"/>
                    </a:lnTo>
                    <a:close/>
                  </a:path>
                </a:pathLst>
              </a:custGeom>
              <a:solidFill>
                <a:srgbClr val="44C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46" name="Freeform 251">
                <a:extLst>
                  <a:ext uri="{FF2B5EF4-FFF2-40B4-BE49-F238E27FC236}">
                    <a16:creationId xmlns:a16="http://schemas.microsoft.com/office/drawing/2014/main" id="{05B60664-F667-4185-B467-C4B3649DEA03}"/>
                  </a:ext>
                </a:extLst>
              </p:cNvPr>
              <p:cNvSpPr>
                <a:spLocks/>
              </p:cNvSpPr>
              <p:nvPr/>
            </p:nvSpPr>
            <p:spPr bwMode="auto">
              <a:xfrm>
                <a:off x="6485586" y="4049082"/>
                <a:ext cx="1462088" cy="1598612"/>
              </a:xfrm>
              <a:custGeom>
                <a:avLst/>
                <a:gdLst>
                  <a:gd name="T0" fmla="*/ 2147483646 w 1841"/>
                  <a:gd name="T1" fmla="*/ 2147483646 h 2014"/>
                  <a:gd name="T2" fmla="*/ 2147483646 w 1841"/>
                  <a:gd name="T3" fmla="*/ 2147483646 h 2014"/>
                  <a:gd name="T4" fmla="*/ 2147483646 w 1841"/>
                  <a:gd name="T5" fmla="*/ 2147483646 h 2014"/>
                  <a:gd name="T6" fmla="*/ 2147483646 w 1841"/>
                  <a:gd name="T7" fmla="*/ 0 h 2014"/>
                  <a:gd name="T8" fmla="*/ 2147483646 w 1841"/>
                  <a:gd name="T9" fmla="*/ 0 h 2014"/>
                  <a:gd name="T10" fmla="*/ 0 w 1841"/>
                  <a:gd name="T11" fmla="*/ 2147483646 h 2014"/>
                  <a:gd name="T12" fmla="*/ 2147483646 w 1841"/>
                  <a:gd name="T13" fmla="*/ 2147483646 h 2014"/>
                  <a:gd name="T14" fmla="*/ 0 60000 65536"/>
                  <a:gd name="T15" fmla="*/ 0 60000 65536"/>
                  <a:gd name="T16" fmla="*/ 0 60000 65536"/>
                  <a:gd name="T17" fmla="*/ 0 60000 65536"/>
                  <a:gd name="T18" fmla="*/ 0 60000 65536"/>
                  <a:gd name="T19" fmla="*/ 0 60000 65536"/>
                  <a:gd name="T20" fmla="*/ 0 60000 65536"/>
                  <a:gd name="T21" fmla="*/ 0 w 1841"/>
                  <a:gd name="T22" fmla="*/ 0 h 2014"/>
                  <a:gd name="T23" fmla="*/ 1841 w 1841"/>
                  <a:gd name="T24" fmla="*/ 2014 h 20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41" h="2014">
                    <a:moveTo>
                      <a:pt x="661" y="2014"/>
                    </a:moveTo>
                    <a:lnTo>
                      <a:pt x="1841" y="2014"/>
                    </a:lnTo>
                    <a:lnTo>
                      <a:pt x="1841" y="34"/>
                    </a:lnTo>
                    <a:lnTo>
                      <a:pt x="1828" y="0"/>
                    </a:lnTo>
                    <a:lnTo>
                      <a:pt x="1047" y="0"/>
                    </a:lnTo>
                    <a:lnTo>
                      <a:pt x="0" y="438"/>
                    </a:lnTo>
                    <a:lnTo>
                      <a:pt x="661" y="2014"/>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47" name="Freeform 252">
                <a:extLst>
                  <a:ext uri="{FF2B5EF4-FFF2-40B4-BE49-F238E27FC236}">
                    <a16:creationId xmlns:a16="http://schemas.microsoft.com/office/drawing/2014/main" id="{1F518C22-8577-4E75-A100-71230C45777D}"/>
                  </a:ext>
                </a:extLst>
              </p:cNvPr>
              <p:cNvSpPr>
                <a:spLocks/>
              </p:cNvSpPr>
              <p:nvPr/>
            </p:nvSpPr>
            <p:spPr bwMode="auto">
              <a:xfrm>
                <a:off x="6654800" y="4051300"/>
                <a:ext cx="1023938" cy="422275"/>
              </a:xfrm>
              <a:custGeom>
                <a:avLst/>
                <a:gdLst>
                  <a:gd name="T0" fmla="*/ 2147483646 w 1289"/>
                  <a:gd name="T1" fmla="*/ 2147483646 h 533"/>
                  <a:gd name="T2" fmla="*/ 2147483646 w 1289"/>
                  <a:gd name="T3" fmla="*/ 0 h 533"/>
                  <a:gd name="T4" fmla="*/ 2147483646 w 1289"/>
                  <a:gd name="T5" fmla="*/ 0 h 533"/>
                  <a:gd name="T6" fmla="*/ 0 w 1289"/>
                  <a:gd name="T7" fmla="*/ 2147483646 h 533"/>
                  <a:gd name="T8" fmla="*/ 2147483646 w 1289"/>
                  <a:gd name="T9" fmla="*/ 2147483646 h 533"/>
                  <a:gd name="T10" fmla="*/ 0 60000 65536"/>
                  <a:gd name="T11" fmla="*/ 0 60000 65536"/>
                  <a:gd name="T12" fmla="*/ 0 60000 65536"/>
                  <a:gd name="T13" fmla="*/ 0 60000 65536"/>
                  <a:gd name="T14" fmla="*/ 0 60000 65536"/>
                  <a:gd name="T15" fmla="*/ 0 w 1289"/>
                  <a:gd name="T16" fmla="*/ 0 h 533"/>
                  <a:gd name="T17" fmla="*/ 1289 w 1289"/>
                  <a:gd name="T18" fmla="*/ 533 h 533"/>
                </a:gdLst>
                <a:ahLst/>
                <a:cxnLst>
                  <a:cxn ang="T10">
                    <a:pos x="T0" y="T1"/>
                  </a:cxn>
                  <a:cxn ang="T11">
                    <a:pos x="T2" y="T3"/>
                  </a:cxn>
                  <a:cxn ang="T12">
                    <a:pos x="T4" y="T5"/>
                  </a:cxn>
                  <a:cxn ang="T13">
                    <a:pos x="T6" y="T7"/>
                  </a:cxn>
                  <a:cxn ang="T14">
                    <a:pos x="T8" y="T9"/>
                  </a:cxn>
                </a:cxnLst>
                <a:rect l="T15" t="T16" r="T17" b="T18"/>
                <a:pathLst>
                  <a:path w="1289" h="533">
                    <a:moveTo>
                      <a:pt x="18" y="533"/>
                    </a:moveTo>
                    <a:lnTo>
                      <a:pt x="1289" y="0"/>
                    </a:lnTo>
                    <a:lnTo>
                      <a:pt x="1165" y="0"/>
                    </a:lnTo>
                    <a:lnTo>
                      <a:pt x="0" y="489"/>
                    </a:lnTo>
                    <a:lnTo>
                      <a:pt x="18" y="533"/>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48" name="Freeform 253">
                <a:extLst>
                  <a:ext uri="{FF2B5EF4-FFF2-40B4-BE49-F238E27FC236}">
                    <a16:creationId xmlns:a16="http://schemas.microsoft.com/office/drawing/2014/main" id="{F26F702F-EE4C-40A4-9C74-6C85D7C45A65}"/>
                  </a:ext>
                </a:extLst>
              </p:cNvPr>
              <p:cNvSpPr>
                <a:spLocks/>
              </p:cNvSpPr>
              <p:nvPr/>
            </p:nvSpPr>
            <p:spPr bwMode="auto">
              <a:xfrm>
                <a:off x="6702425" y="4124325"/>
                <a:ext cx="1033463" cy="463550"/>
              </a:xfrm>
              <a:custGeom>
                <a:avLst/>
                <a:gdLst>
                  <a:gd name="T0" fmla="*/ 2147483646 w 1301"/>
                  <a:gd name="T1" fmla="*/ 0 h 583"/>
                  <a:gd name="T2" fmla="*/ 0 w 1301"/>
                  <a:gd name="T3" fmla="*/ 2147483646 h 583"/>
                  <a:gd name="T4" fmla="*/ 2147483646 w 1301"/>
                  <a:gd name="T5" fmla="*/ 2147483646 h 583"/>
                  <a:gd name="T6" fmla="*/ 2147483646 w 1301"/>
                  <a:gd name="T7" fmla="*/ 2147483646 h 583"/>
                  <a:gd name="T8" fmla="*/ 2147483646 w 1301"/>
                  <a:gd name="T9" fmla="*/ 0 h 583"/>
                  <a:gd name="T10" fmla="*/ 0 60000 65536"/>
                  <a:gd name="T11" fmla="*/ 0 60000 65536"/>
                  <a:gd name="T12" fmla="*/ 0 60000 65536"/>
                  <a:gd name="T13" fmla="*/ 0 60000 65536"/>
                  <a:gd name="T14" fmla="*/ 0 60000 65536"/>
                  <a:gd name="T15" fmla="*/ 0 w 1301"/>
                  <a:gd name="T16" fmla="*/ 0 h 583"/>
                  <a:gd name="T17" fmla="*/ 1301 w 1301"/>
                  <a:gd name="T18" fmla="*/ 583 h 583"/>
                </a:gdLst>
                <a:ahLst/>
                <a:cxnLst>
                  <a:cxn ang="T10">
                    <a:pos x="T0" y="T1"/>
                  </a:cxn>
                  <a:cxn ang="T11">
                    <a:pos x="T2" y="T3"/>
                  </a:cxn>
                  <a:cxn ang="T12">
                    <a:pos x="T4" y="T5"/>
                  </a:cxn>
                  <a:cxn ang="T13">
                    <a:pos x="T6" y="T7"/>
                  </a:cxn>
                  <a:cxn ang="T14">
                    <a:pos x="T8" y="T9"/>
                  </a:cxn>
                </a:cxnLst>
                <a:rect l="T15" t="T16" r="T17" b="T18"/>
                <a:pathLst>
                  <a:path w="1301" h="583">
                    <a:moveTo>
                      <a:pt x="1283" y="0"/>
                    </a:moveTo>
                    <a:lnTo>
                      <a:pt x="0" y="539"/>
                    </a:lnTo>
                    <a:lnTo>
                      <a:pt x="18" y="583"/>
                    </a:lnTo>
                    <a:lnTo>
                      <a:pt x="1301" y="45"/>
                    </a:lnTo>
                    <a:lnTo>
                      <a:pt x="128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49" name="Freeform 254">
                <a:extLst>
                  <a:ext uri="{FF2B5EF4-FFF2-40B4-BE49-F238E27FC236}">
                    <a16:creationId xmlns:a16="http://schemas.microsoft.com/office/drawing/2014/main" id="{4CBA2E2B-22BF-4504-8BC7-A93276122CAA}"/>
                  </a:ext>
                </a:extLst>
              </p:cNvPr>
              <p:cNvSpPr>
                <a:spLocks/>
              </p:cNvSpPr>
              <p:nvPr/>
            </p:nvSpPr>
            <p:spPr bwMode="auto">
              <a:xfrm>
                <a:off x="6750050" y="4202113"/>
                <a:ext cx="1120775" cy="498475"/>
              </a:xfrm>
              <a:custGeom>
                <a:avLst/>
                <a:gdLst>
                  <a:gd name="T0" fmla="*/ 2147483646 w 1413"/>
                  <a:gd name="T1" fmla="*/ 0 h 629"/>
                  <a:gd name="T2" fmla="*/ 0 w 1413"/>
                  <a:gd name="T3" fmla="*/ 2147483646 h 629"/>
                  <a:gd name="T4" fmla="*/ 2147483646 w 1413"/>
                  <a:gd name="T5" fmla="*/ 2147483646 h 629"/>
                  <a:gd name="T6" fmla="*/ 2147483646 w 1413"/>
                  <a:gd name="T7" fmla="*/ 2147483646 h 629"/>
                  <a:gd name="T8" fmla="*/ 2147483646 w 1413"/>
                  <a:gd name="T9" fmla="*/ 0 h 629"/>
                  <a:gd name="T10" fmla="*/ 0 60000 65536"/>
                  <a:gd name="T11" fmla="*/ 0 60000 65536"/>
                  <a:gd name="T12" fmla="*/ 0 60000 65536"/>
                  <a:gd name="T13" fmla="*/ 0 60000 65536"/>
                  <a:gd name="T14" fmla="*/ 0 60000 65536"/>
                  <a:gd name="T15" fmla="*/ 0 w 1413"/>
                  <a:gd name="T16" fmla="*/ 0 h 629"/>
                  <a:gd name="T17" fmla="*/ 1413 w 1413"/>
                  <a:gd name="T18" fmla="*/ 629 h 629"/>
                </a:gdLst>
                <a:ahLst/>
                <a:cxnLst>
                  <a:cxn ang="T10">
                    <a:pos x="T0" y="T1"/>
                  </a:cxn>
                  <a:cxn ang="T11">
                    <a:pos x="T2" y="T3"/>
                  </a:cxn>
                  <a:cxn ang="T12">
                    <a:pos x="T4" y="T5"/>
                  </a:cxn>
                  <a:cxn ang="T13">
                    <a:pos x="T6" y="T7"/>
                  </a:cxn>
                  <a:cxn ang="T14">
                    <a:pos x="T8" y="T9"/>
                  </a:cxn>
                </a:cxnLst>
                <a:rect l="T15" t="T16" r="T17" b="T18"/>
                <a:pathLst>
                  <a:path w="1413" h="629">
                    <a:moveTo>
                      <a:pt x="1394" y="0"/>
                    </a:moveTo>
                    <a:lnTo>
                      <a:pt x="0" y="585"/>
                    </a:lnTo>
                    <a:lnTo>
                      <a:pt x="19" y="629"/>
                    </a:lnTo>
                    <a:lnTo>
                      <a:pt x="1413" y="45"/>
                    </a:lnTo>
                    <a:lnTo>
                      <a:pt x="139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50" name="Freeform 255">
                <a:extLst>
                  <a:ext uri="{FF2B5EF4-FFF2-40B4-BE49-F238E27FC236}">
                    <a16:creationId xmlns:a16="http://schemas.microsoft.com/office/drawing/2014/main" id="{8DC78C27-9C8F-461A-AD6B-A4BCB4DBC063}"/>
                  </a:ext>
                </a:extLst>
              </p:cNvPr>
              <p:cNvSpPr>
                <a:spLocks/>
              </p:cNvSpPr>
              <p:nvPr/>
            </p:nvSpPr>
            <p:spPr bwMode="auto">
              <a:xfrm>
                <a:off x="6797675" y="4368800"/>
                <a:ext cx="992188" cy="446087"/>
              </a:xfrm>
              <a:custGeom>
                <a:avLst/>
                <a:gdLst>
                  <a:gd name="T0" fmla="*/ 2147483646 w 1250"/>
                  <a:gd name="T1" fmla="*/ 0 h 561"/>
                  <a:gd name="T2" fmla="*/ 0 w 1250"/>
                  <a:gd name="T3" fmla="*/ 2147483646 h 561"/>
                  <a:gd name="T4" fmla="*/ 2147483646 w 1250"/>
                  <a:gd name="T5" fmla="*/ 2147483646 h 561"/>
                  <a:gd name="T6" fmla="*/ 2147483646 w 1250"/>
                  <a:gd name="T7" fmla="*/ 2147483646 h 561"/>
                  <a:gd name="T8" fmla="*/ 2147483646 w 1250"/>
                  <a:gd name="T9" fmla="*/ 0 h 561"/>
                  <a:gd name="T10" fmla="*/ 0 60000 65536"/>
                  <a:gd name="T11" fmla="*/ 0 60000 65536"/>
                  <a:gd name="T12" fmla="*/ 0 60000 65536"/>
                  <a:gd name="T13" fmla="*/ 0 60000 65536"/>
                  <a:gd name="T14" fmla="*/ 0 60000 65536"/>
                  <a:gd name="T15" fmla="*/ 0 w 1250"/>
                  <a:gd name="T16" fmla="*/ 0 h 561"/>
                  <a:gd name="T17" fmla="*/ 1250 w 1250"/>
                  <a:gd name="T18" fmla="*/ 561 h 561"/>
                </a:gdLst>
                <a:ahLst/>
                <a:cxnLst>
                  <a:cxn ang="T10">
                    <a:pos x="T0" y="T1"/>
                  </a:cxn>
                  <a:cxn ang="T11">
                    <a:pos x="T2" y="T3"/>
                  </a:cxn>
                  <a:cxn ang="T12">
                    <a:pos x="T4" y="T5"/>
                  </a:cxn>
                  <a:cxn ang="T13">
                    <a:pos x="T6" y="T7"/>
                  </a:cxn>
                  <a:cxn ang="T14">
                    <a:pos x="T8" y="T9"/>
                  </a:cxn>
                </a:cxnLst>
                <a:rect l="T15" t="T16" r="T17" b="T18"/>
                <a:pathLst>
                  <a:path w="1250" h="561">
                    <a:moveTo>
                      <a:pt x="1232" y="0"/>
                    </a:moveTo>
                    <a:lnTo>
                      <a:pt x="0" y="518"/>
                    </a:lnTo>
                    <a:lnTo>
                      <a:pt x="19" y="561"/>
                    </a:lnTo>
                    <a:lnTo>
                      <a:pt x="1250" y="45"/>
                    </a:lnTo>
                    <a:lnTo>
                      <a:pt x="1232"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51" name="Freeform 256">
                <a:extLst>
                  <a:ext uri="{FF2B5EF4-FFF2-40B4-BE49-F238E27FC236}">
                    <a16:creationId xmlns:a16="http://schemas.microsoft.com/office/drawing/2014/main" id="{F316D5CD-27B3-4DDC-95C8-B5780FF3DD62}"/>
                  </a:ext>
                </a:extLst>
              </p:cNvPr>
              <p:cNvSpPr>
                <a:spLocks/>
              </p:cNvSpPr>
              <p:nvPr/>
            </p:nvSpPr>
            <p:spPr bwMode="auto">
              <a:xfrm>
                <a:off x="6845300" y="4429125"/>
                <a:ext cx="1103313" cy="498475"/>
              </a:xfrm>
              <a:custGeom>
                <a:avLst/>
                <a:gdLst>
                  <a:gd name="T0" fmla="*/ 2147483646 w 1390"/>
                  <a:gd name="T1" fmla="*/ 2147483646 h 628"/>
                  <a:gd name="T2" fmla="*/ 2147483646 w 1390"/>
                  <a:gd name="T3" fmla="*/ 2147483646 h 628"/>
                  <a:gd name="T4" fmla="*/ 2147483646 w 1390"/>
                  <a:gd name="T5" fmla="*/ 0 h 628"/>
                  <a:gd name="T6" fmla="*/ 0 w 1390"/>
                  <a:gd name="T7" fmla="*/ 2147483646 h 628"/>
                  <a:gd name="T8" fmla="*/ 2147483646 w 1390"/>
                  <a:gd name="T9" fmla="*/ 2147483646 h 628"/>
                  <a:gd name="T10" fmla="*/ 0 60000 65536"/>
                  <a:gd name="T11" fmla="*/ 0 60000 65536"/>
                  <a:gd name="T12" fmla="*/ 0 60000 65536"/>
                  <a:gd name="T13" fmla="*/ 0 60000 65536"/>
                  <a:gd name="T14" fmla="*/ 0 60000 65536"/>
                  <a:gd name="T15" fmla="*/ 0 w 1390"/>
                  <a:gd name="T16" fmla="*/ 0 h 628"/>
                  <a:gd name="T17" fmla="*/ 1390 w 1390"/>
                  <a:gd name="T18" fmla="*/ 628 h 628"/>
                </a:gdLst>
                <a:ahLst/>
                <a:cxnLst>
                  <a:cxn ang="T10">
                    <a:pos x="T0" y="T1"/>
                  </a:cxn>
                  <a:cxn ang="T11">
                    <a:pos x="T2" y="T3"/>
                  </a:cxn>
                  <a:cxn ang="T12">
                    <a:pos x="T4" y="T5"/>
                  </a:cxn>
                  <a:cxn ang="T13">
                    <a:pos x="T6" y="T7"/>
                  </a:cxn>
                  <a:cxn ang="T14">
                    <a:pos x="T8" y="T9"/>
                  </a:cxn>
                </a:cxnLst>
                <a:rect l="T15" t="T16" r="T17" b="T18"/>
                <a:pathLst>
                  <a:path w="1390" h="628">
                    <a:moveTo>
                      <a:pt x="19" y="628"/>
                    </a:moveTo>
                    <a:lnTo>
                      <a:pt x="1390" y="52"/>
                    </a:lnTo>
                    <a:lnTo>
                      <a:pt x="1390" y="0"/>
                    </a:lnTo>
                    <a:lnTo>
                      <a:pt x="0" y="583"/>
                    </a:lnTo>
                    <a:lnTo>
                      <a:pt x="19" y="62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52" name="Freeform 257">
                <a:extLst>
                  <a:ext uri="{FF2B5EF4-FFF2-40B4-BE49-F238E27FC236}">
                    <a16:creationId xmlns:a16="http://schemas.microsoft.com/office/drawing/2014/main" id="{0E3E4D85-70E9-4A86-B171-EA18418B1E94}"/>
                  </a:ext>
                </a:extLst>
              </p:cNvPr>
              <p:cNvSpPr>
                <a:spLocks/>
              </p:cNvSpPr>
              <p:nvPr/>
            </p:nvSpPr>
            <p:spPr bwMode="auto">
              <a:xfrm>
                <a:off x="6892925" y="4564063"/>
                <a:ext cx="1055688" cy="477837"/>
              </a:xfrm>
              <a:custGeom>
                <a:avLst/>
                <a:gdLst>
                  <a:gd name="T0" fmla="*/ 0 w 1330"/>
                  <a:gd name="T1" fmla="*/ 2147483646 h 601"/>
                  <a:gd name="T2" fmla="*/ 2147483646 w 1330"/>
                  <a:gd name="T3" fmla="*/ 2147483646 h 601"/>
                  <a:gd name="T4" fmla="*/ 2147483646 w 1330"/>
                  <a:gd name="T5" fmla="*/ 2147483646 h 601"/>
                  <a:gd name="T6" fmla="*/ 2147483646 w 1330"/>
                  <a:gd name="T7" fmla="*/ 2147483646 h 601"/>
                  <a:gd name="T8" fmla="*/ 2147483646 w 1330"/>
                  <a:gd name="T9" fmla="*/ 0 h 601"/>
                  <a:gd name="T10" fmla="*/ 0 w 1330"/>
                  <a:gd name="T11" fmla="*/ 2147483646 h 601"/>
                  <a:gd name="T12" fmla="*/ 0 60000 65536"/>
                  <a:gd name="T13" fmla="*/ 0 60000 65536"/>
                  <a:gd name="T14" fmla="*/ 0 60000 65536"/>
                  <a:gd name="T15" fmla="*/ 0 60000 65536"/>
                  <a:gd name="T16" fmla="*/ 0 60000 65536"/>
                  <a:gd name="T17" fmla="*/ 0 60000 65536"/>
                  <a:gd name="T18" fmla="*/ 0 w 1330"/>
                  <a:gd name="T19" fmla="*/ 0 h 601"/>
                  <a:gd name="T20" fmla="*/ 1330 w 1330"/>
                  <a:gd name="T21" fmla="*/ 601 h 601"/>
                </a:gdLst>
                <a:ahLst/>
                <a:cxnLst>
                  <a:cxn ang="T12">
                    <a:pos x="T0" y="T1"/>
                  </a:cxn>
                  <a:cxn ang="T13">
                    <a:pos x="T2" y="T3"/>
                  </a:cxn>
                  <a:cxn ang="T14">
                    <a:pos x="T4" y="T5"/>
                  </a:cxn>
                  <a:cxn ang="T15">
                    <a:pos x="T6" y="T7"/>
                  </a:cxn>
                  <a:cxn ang="T16">
                    <a:pos x="T8" y="T9"/>
                  </a:cxn>
                  <a:cxn ang="T17">
                    <a:pos x="T10" y="T11"/>
                  </a:cxn>
                </a:cxnLst>
                <a:rect l="T18" t="T19" r="T20" b="T21"/>
                <a:pathLst>
                  <a:path w="1330" h="601">
                    <a:moveTo>
                      <a:pt x="0" y="556"/>
                    </a:moveTo>
                    <a:lnTo>
                      <a:pt x="19" y="601"/>
                    </a:lnTo>
                    <a:lnTo>
                      <a:pt x="1330" y="51"/>
                    </a:lnTo>
                    <a:lnTo>
                      <a:pt x="1330" y="9"/>
                    </a:lnTo>
                    <a:lnTo>
                      <a:pt x="1327" y="0"/>
                    </a:lnTo>
                    <a:lnTo>
                      <a:pt x="0" y="556"/>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53" name="Freeform 258">
                <a:extLst>
                  <a:ext uri="{FF2B5EF4-FFF2-40B4-BE49-F238E27FC236}">
                    <a16:creationId xmlns:a16="http://schemas.microsoft.com/office/drawing/2014/main" id="{25A56EA6-F524-452F-AE7B-60F4D078CB2F}"/>
                  </a:ext>
                </a:extLst>
              </p:cNvPr>
              <p:cNvSpPr>
                <a:spLocks/>
              </p:cNvSpPr>
              <p:nvPr/>
            </p:nvSpPr>
            <p:spPr bwMode="auto">
              <a:xfrm>
                <a:off x="6940550" y="4695825"/>
                <a:ext cx="1008063" cy="458787"/>
              </a:xfrm>
              <a:custGeom>
                <a:avLst/>
                <a:gdLst>
                  <a:gd name="T0" fmla="*/ 2147483646 w 1270"/>
                  <a:gd name="T1" fmla="*/ 2147483646 h 577"/>
                  <a:gd name="T2" fmla="*/ 2147483646 w 1270"/>
                  <a:gd name="T3" fmla="*/ 2147483646 h 577"/>
                  <a:gd name="T4" fmla="*/ 2147483646 w 1270"/>
                  <a:gd name="T5" fmla="*/ 0 h 577"/>
                  <a:gd name="T6" fmla="*/ 0 w 1270"/>
                  <a:gd name="T7" fmla="*/ 2147483646 h 577"/>
                  <a:gd name="T8" fmla="*/ 2147483646 w 1270"/>
                  <a:gd name="T9" fmla="*/ 2147483646 h 577"/>
                  <a:gd name="T10" fmla="*/ 0 60000 65536"/>
                  <a:gd name="T11" fmla="*/ 0 60000 65536"/>
                  <a:gd name="T12" fmla="*/ 0 60000 65536"/>
                  <a:gd name="T13" fmla="*/ 0 60000 65536"/>
                  <a:gd name="T14" fmla="*/ 0 60000 65536"/>
                  <a:gd name="T15" fmla="*/ 0 w 1270"/>
                  <a:gd name="T16" fmla="*/ 0 h 577"/>
                  <a:gd name="T17" fmla="*/ 1270 w 1270"/>
                  <a:gd name="T18" fmla="*/ 577 h 577"/>
                </a:gdLst>
                <a:ahLst/>
                <a:cxnLst>
                  <a:cxn ang="T10">
                    <a:pos x="T0" y="T1"/>
                  </a:cxn>
                  <a:cxn ang="T11">
                    <a:pos x="T2" y="T3"/>
                  </a:cxn>
                  <a:cxn ang="T12">
                    <a:pos x="T4" y="T5"/>
                  </a:cxn>
                  <a:cxn ang="T13">
                    <a:pos x="T6" y="T7"/>
                  </a:cxn>
                  <a:cxn ang="T14">
                    <a:pos x="T8" y="T9"/>
                  </a:cxn>
                </a:cxnLst>
                <a:rect l="T15" t="T16" r="T17" b="T18"/>
                <a:pathLst>
                  <a:path w="1270" h="577">
                    <a:moveTo>
                      <a:pt x="18" y="577"/>
                    </a:moveTo>
                    <a:lnTo>
                      <a:pt x="1270" y="52"/>
                    </a:lnTo>
                    <a:lnTo>
                      <a:pt x="1270" y="0"/>
                    </a:lnTo>
                    <a:lnTo>
                      <a:pt x="0" y="532"/>
                    </a:lnTo>
                    <a:lnTo>
                      <a:pt x="18" y="577"/>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54" name="Freeform 259">
                <a:extLst>
                  <a:ext uri="{FF2B5EF4-FFF2-40B4-BE49-F238E27FC236}">
                    <a16:creationId xmlns:a16="http://schemas.microsoft.com/office/drawing/2014/main" id="{326BD14D-8FBA-48E9-A270-29D5FDE31233}"/>
                  </a:ext>
                </a:extLst>
              </p:cNvPr>
              <p:cNvSpPr>
                <a:spLocks/>
              </p:cNvSpPr>
              <p:nvPr/>
            </p:nvSpPr>
            <p:spPr bwMode="auto">
              <a:xfrm>
                <a:off x="6988175" y="4829175"/>
                <a:ext cx="960438" cy="438150"/>
              </a:xfrm>
              <a:custGeom>
                <a:avLst/>
                <a:gdLst>
                  <a:gd name="T0" fmla="*/ 2147483646 w 1210"/>
                  <a:gd name="T1" fmla="*/ 2147483646 h 553"/>
                  <a:gd name="T2" fmla="*/ 2147483646 w 1210"/>
                  <a:gd name="T3" fmla="*/ 2147483646 h 553"/>
                  <a:gd name="T4" fmla="*/ 2147483646 w 1210"/>
                  <a:gd name="T5" fmla="*/ 0 h 553"/>
                  <a:gd name="T6" fmla="*/ 0 w 1210"/>
                  <a:gd name="T7" fmla="*/ 2147483646 h 553"/>
                  <a:gd name="T8" fmla="*/ 2147483646 w 1210"/>
                  <a:gd name="T9" fmla="*/ 2147483646 h 553"/>
                  <a:gd name="T10" fmla="*/ 0 60000 65536"/>
                  <a:gd name="T11" fmla="*/ 0 60000 65536"/>
                  <a:gd name="T12" fmla="*/ 0 60000 65536"/>
                  <a:gd name="T13" fmla="*/ 0 60000 65536"/>
                  <a:gd name="T14" fmla="*/ 0 60000 65536"/>
                  <a:gd name="T15" fmla="*/ 0 w 1210"/>
                  <a:gd name="T16" fmla="*/ 0 h 553"/>
                  <a:gd name="T17" fmla="*/ 1210 w 1210"/>
                  <a:gd name="T18" fmla="*/ 553 h 553"/>
                </a:gdLst>
                <a:ahLst/>
                <a:cxnLst>
                  <a:cxn ang="T10">
                    <a:pos x="T0" y="T1"/>
                  </a:cxn>
                  <a:cxn ang="T11">
                    <a:pos x="T2" y="T3"/>
                  </a:cxn>
                  <a:cxn ang="T12">
                    <a:pos x="T4" y="T5"/>
                  </a:cxn>
                  <a:cxn ang="T13">
                    <a:pos x="T6" y="T7"/>
                  </a:cxn>
                  <a:cxn ang="T14">
                    <a:pos x="T8" y="T9"/>
                  </a:cxn>
                </a:cxnLst>
                <a:rect l="T15" t="T16" r="T17" b="T18"/>
                <a:pathLst>
                  <a:path w="1210" h="553">
                    <a:moveTo>
                      <a:pt x="18" y="553"/>
                    </a:moveTo>
                    <a:lnTo>
                      <a:pt x="1210" y="53"/>
                    </a:lnTo>
                    <a:lnTo>
                      <a:pt x="1210" y="0"/>
                    </a:lnTo>
                    <a:lnTo>
                      <a:pt x="0" y="508"/>
                    </a:lnTo>
                    <a:lnTo>
                      <a:pt x="18" y="553"/>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55" name="Freeform 260">
                <a:extLst>
                  <a:ext uri="{FF2B5EF4-FFF2-40B4-BE49-F238E27FC236}">
                    <a16:creationId xmlns:a16="http://schemas.microsoft.com/office/drawing/2014/main" id="{9BF6439B-C90E-45C7-8F9A-F449AF1EB461}"/>
                  </a:ext>
                </a:extLst>
              </p:cNvPr>
              <p:cNvSpPr>
                <a:spLocks/>
              </p:cNvSpPr>
              <p:nvPr/>
            </p:nvSpPr>
            <p:spPr bwMode="auto">
              <a:xfrm>
                <a:off x="7035800" y="4962525"/>
                <a:ext cx="912813" cy="419100"/>
              </a:xfrm>
              <a:custGeom>
                <a:avLst/>
                <a:gdLst>
                  <a:gd name="T0" fmla="*/ 2147483646 w 1150"/>
                  <a:gd name="T1" fmla="*/ 2147483646 h 528"/>
                  <a:gd name="T2" fmla="*/ 2147483646 w 1150"/>
                  <a:gd name="T3" fmla="*/ 2147483646 h 528"/>
                  <a:gd name="T4" fmla="*/ 2147483646 w 1150"/>
                  <a:gd name="T5" fmla="*/ 0 h 528"/>
                  <a:gd name="T6" fmla="*/ 0 w 1150"/>
                  <a:gd name="T7" fmla="*/ 2147483646 h 528"/>
                  <a:gd name="T8" fmla="*/ 2147483646 w 1150"/>
                  <a:gd name="T9" fmla="*/ 2147483646 h 528"/>
                  <a:gd name="T10" fmla="*/ 0 60000 65536"/>
                  <a:gd name="T11" fmla="*/ 0 60000 65536"/>
                  <a:gd name="T12" fmla="*/ 0 60000 65536"/>
                  <a:gd name="T13" fmla="*/ 0 60000 65536"/>
                  <a:gd name="T14" fmla="*/ 0 60000 65536"/>
                  <a:gd name="T15" fmla="*/ 0 w 1150"/>
                  <a:gd name="T16" fmla="*/ 0 h 528"/>
                  <a:gd name="T17" fmla="*/ 1150 w 1150"/>
                  <a:gd name="T18" fmla="*/ 528 h 528"/>
                </a:gdLst>
                <a:ahLst/>
                <a:cxnLst>
                  <a:cxn ang="T10">
                    <a:pos x="T0" y="T1"/>
                  </a:cxn>
                  <a:cxn ang="T11">
                    <a:pos x="T2" y="T3"/>
                  </a:cxn>
                  <a:cxn ang="T12">
                    <a:pos x="T4" y="T5"/>
                  </a:cxn>
                  <a:cxn ang="T13">
                    <a:pos x="T6" y="T7"/>
                  </a:cxn>
                  <a:cxn ang="T14">
                    <a:pos x="T8" y="T9"/>
                  </a:cxn>
                </a:cxnLst>
                <a:rect l="T15" t="T16" r="T17" b="T18"/>
                <a:pathLst>
                  <a:path w="1150" h="528">
                    <a:moveTo>
                      <a:pt x="18" y="528"/>
                    </a:moveTo>
                    <a:lnTo>
                      <a:pt x="1150" y="52"/>
                    </a:lnTo>
                    <a:lnTo>
                      <a:pt x="1150" y="0"/>
                    </a:lnTo>
                    <a:lnTo>
                      <a:pt x="0" y="483"/>
                    </a:lnTo>
                    <a:lnTo>
                      <a:pt x="18" y="52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56" name="Freeform 261">
                <a:extLst>
                  <a:ext uri="{FF2B5EF4-FFF2-40B4-BE49-F238E27FC236}">
                    <a16:creationId xmlns:a16="http://schemas.microsoft.com/office/drawing/2014/main" id="{03A471C2-48F2-4C56-813C-F57E14CF1654}"/>
                  </a:ext>
                </a:extLst>
              </p:cNvPr>
              <p:cNvSpPr>
                <a:spLocks/>
              </p:cNvSpPr>
              <p:nvPr/>
            </p:nvSpPr>
            <p:spPr bwMode="auto">
              <a:xfrm>
                <a:off x="7083425" y="5095875"/>
                <a:ext cx="865188" cy="398462"/>
              </a:xfrm>
              <a:custGeom>
                <a:avLst/>
                <a:gdLst>
                  <a:gd name="T0" fmla="*/ 2147483646 w 1090"/>
                  <a:gd name="T1" fmla="*/ 2147483646 h 503"/>
                  <a:gd name="T2" fmla="*/ 2147483646 w 1090"/>
                  <a:gd name="T3" fmla="*/ 2147483646 h 503"/>
                  <a:gd name="T4" fmla="*/ 2147483646 w 1090"/>
                  <a:gd name="T5" fmla="*/ 0 h 503"/>
                  <a:gd name="T6" fmla="*/ 0 w 1090"/>
                  <a:gd name="T7" fmla="*/ 2147483646 h 503"/>
                  <a:gd name="T8" fmla="*/ 2147483646 w 1090"/>
                  <a:gd name="T9" fmla="*/ 2147483646 h 503"/>
                  <a:gd name="T10" fmla="*/ 0 60000 65536"/>
                  <a:gd name="T11" fmla="*/ 0 60000 65536"/>
                  <a:gd name="T12" fmla="*/ 0 60000 65536"/>
                  <a:gd name="T13" fmla="*/ 0 60000 65536"/>
                  <a:gd name="T14" fmla="*/ 0 60000 65536"/>
                  <a:gd name="T15" fmla="*/ 0 w 1090"/>
                  <a:gd name="T16" fmla="*/ 0 h 503"/>
                  <a:gd name="T17" fmla="*/ 1090 w 1090"/>
                  <a:gd name="T18" fmla="*/ 503 h 503"/>
                </a:gdLst>
                <a:ahLst/>
                <a:cxnLst>
                  <a:cxn ang="T10">
                    <a:pos x="T0" y="T1"/>
                  </a:cxn>
                  <a:cxn ang="T11">
                    <a:pos x="T2" y="T3"/>
                  </a:cxn>
                  <a:cxn ang="T12">
                    <a:pos x="T4" y="T5"/>
                  </a:cxn>
                  <a:cxn ang="T13">
                    <a:pos x="T6" y="T7"/>
                  </a:cxn>
                  <a:cxn ang="T14">
                    <a:pos x="T8" y="T9"/>
                  </a:cxn>
                </a:cxnLst>
                <a:rect l="T15" t="T16" r="T17" b="T18"/>
                <a:pathLst>
                  <a:path w="1090" h="503">
                    <a:moveTo>
                      <a:pt x="18" y="503"/>
                    </a:moveTo>
                    <a:lnTo>
                      <a:pt x="1090" y="52"/>
                    </a:lnTo>
                    <a:lnTo>
                      <a:pt x="1090" y="0"/>
                    </a:lnTo>
                    <a:lnTo>
                      <a:pt x="0" y="458"/>
                    </a:lnTo>
                    <a:lnTo>
                      <a:pt x="18" y="503"/>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57" name="Freeform 262">
                <a:extLst>
                  <a:ext uri="{FF2B5EF4-FFF2-40B4-BE49-F238E27FC236}">
                    <a16:creationId xmlns:a16="http://schemas.microsoft.com/office/drawing/2014/main" id="{BA9E9A1F-8A1F-48A9-B83B-B27ABF9E5368}"/>
                  </a:ext>
                </a:extLst>
              </p:cNvPr>
              <p:cNvSpPr>
                <a:spLocks/>
              </p:cNvSpPr>
              <p:nvPr/>
            </p:nvSpPr>
            <p:spPr bwMode="auto">
              <a:xfrm>
                <a:off x="7131050" y="5229225"/>
                <a:ext cx="817563" cy="379412"/>
              </a:xfrm>
              <a:custGeom>
                <a:avLst/>
                <a:gdLst>
                  <a:gd name="T0" fmla="*/ 2147483646 w 1030"/>
                  <a:gd name="T1" fmla="*/ 2147483646 h 476"/>
                  <a:gd name="T2" fmla="*/ 2147483646 w 1030"/>
                  <a:gd name="T3" fmla="*/ 2147483646 h 476"/>
                  <a:gd name="T4" fmla="*/ 2147483646 w 1030"/>
                  <a:gd name="T5" fmla="*/ 0 h 476"/>
                  <a:gd name="T6" fmla="*/ 0 w 1030"/>
                  <a:gd name="T7" fmla="*/ 2147483646 h 476"/>
                  <a:gd name="T8" fmla="*/ 2147483646 w 1030"/>
                  <a:gd name="T9" fmla="*/ 2147483646 h 476"/>
                  <a:gd name="T10" fmla="*/ 0 60000 65536"/>
                  <a:gd name="T11" fmla="*/ 0 60000 65536"/>
                  <a:gd name="T12" fmla="*/ 0 60000 65536"/>
                  <a:gd name="T13" fmla="*/ 0 60000 65536"/>
                  <a:gd name="T14" fmla="*/ 0 60000 65536"/>
                  <a:gd name="T15" fmla="*/ 0 w 1030"/>
                  <a:gd name="T16" fmla="*/ 0 h 476"/>
                  <a:gd name="T17" fmla="*/ 1030 w 1030"/>
                  <a:gd name="T18" fmla="*/ 476 h 476"/>
                </a:gdLst>
                <a:ahLst/>
                <a:cxnLst>
                  <a:cxn ang="T10">
                    <a:pos x="T0" y="T1"/>
                  </a:cxn>
                  <a:cxn ang="T11">
                    <a:pos x="T2" y="T3"/>
                  </a:cxn>
                  <a:cxn ang="T12">
                    <a:pos x="T4" y="T5"/>
                  </a:cxn>
                  <a:cxn ang="T13">
                    <a:pos x="T6" y="T7"/>
                  </a:cxn>
                  <a:cxn ang="T14">
                    <a:pos x="T8" y="T9"/>
                  </a:cxn>
                </a:cxnLst>
                <a:rect l="T15" t="T16" r="T17" b="T18"/>
                <a:pathLst>
                  <a:path w="1030" h="476">
                    <a:moveTo>
                      <a:pt x="18" y="476"/>
                    </a:moveTo>
                    <a:lnTo>
                      <a:pt x="1030" y="51"/>
                    </a:lnTo>
                    <a:lnTo>
                      <a:pt x="1030" y="0"/>
                    </a:lnTo>
                    <a:lnTo>
                      <a:pt x="0" y="432"/>
                    </a:lnTo>
                    <a:lnTo>
                      <a:pt x="18" y="476"/>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58" name="Freeform 263">
                <a:extLst>
                  <a:ext uri="{FF2B5EF4-FFF2-40B4-BE49-F238E27FC236}">
                    <a16:creationId xmlns:a16="http://schemas.microsoft.com/office/drawing/2014/main" id="{58DE2597-1828-4540-8F6B-4211AB745F72}"/>
                  </a:ext>
                </a:extLst>
              </p:cNvPr>
              <p:cNvSpPr>
                <a:spLocks/>
              </p:cNvSpPr>
              <p:nvPr/>
            </p:nvSpPr>
            <p:spPr bwMode="auto">
              <a:xfrm>
                <a:off x="7264400" y="5362575"/>
                <a:ext cx="684213" cy="287337"/>
              </a:xfrm>
              <a:custGeom>
                <a:avLst/>
                <a:gdLst>
                  <a:gd name="T0" fmla="*/ 2147483646 w 862"/>
                  <a:gd name="T1" fmla="*/ 2147483646 h 362"/>
                  <a:gd name="T2" fmla="*/ 2147483646 w 862"/>
                  <a:gd name="T3" fmla="*/ 2147483646 h 362"/>
                  <a:gd name="T4" fmla="*/ 2147483646 w 862"/>
                  <a:gd name="T5" fmla="*/ 0 h 362"/>
                  <a:gd name="T6" fmla="*/ 0 w 862"/>
                  <a:gd name="T7" fmla="*/ 2147483646 h 362"/>
                  <a:gd name="T8" fmla="*/ 2147483646 w 862"/>
                  <a:gd name="T9" fmla="*/ 2147483646 h 362"/>
                  <a:gd name="T10" fmla="*/ 0 60000 65536"/>
                  <a:gd name="T11" fmla="*/ 0 60000 65536"/>
                  <a:gd name="T12" fmla="*/ 0 60000 65536"/>
                  <a:gd name="T13" fmla="*/ 0 60000 65536"/>
                  <a:gd name="T14" fmla="*/ 0 60000 65536"/>
                  <a:gd name="T15" fmla="*/ 0 w 862"/>
                  <a:gd name="T16" fmla="*/ 0 h 362"/>
                  <a:gd name="T17" fmla="*/ 862 w 862"/>
                  <a:gd name="T18" fmla="*/ 362 h 362"/>
                </a:gdLst>
                <a:ahLst/>
                <a:cxnLst>
                  <a:cxn ang="T10">
                    <a:pos x="T0" y="T1"/>
                  </a:cxn>
                  <a:cxn ang="T11">
                    <a:pos x="T2" y="T3"/>
                  </a:cxn>
                  <a:cxn ang="T12">
                    <a:pos x="T4" y="T5"/>
                  </a:cxn>
                  <a:cxn ang="T13">
                    <a:pos x="T6" y="T7"/>
                  </a:cxn>
                  <a:cxn ang="T14">
                    <a:pos x="T8" y="T9"/>
                  </a:cxn>
                </a:cxnLst>
                <a:rect l="T15" t="T16" r="T17" b="T18"/>
                <a:pathLst>
                  <a:path w="862" h="362">
                    <a:moveTo>
                      <a:pt x="123" y="362"/>
                    </a:moveTo>
                    <a:lnTo>
                      <a:pt x="862" y="53"/>
                    </a:lnTo>
                    <a:lnTo>
                      <a:pt x="862" y="0"/>
                    </a:lnTo>
                    <a:lnTo>
                      <a:pt x="0" y="362"/>
                    </a:lnTo>
                    <a:lnTo>
                      <a:pt x="123" y="362"/>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59" name="Freeform 267">
                <a:extLst>
                  <a:ext uri="{FF2B5EF4-FFF2-40B4-BE49-F238E27FC236}">
                    <a16:creationId xmlns:a16="http://schemas.microsoft.com/office/drawing/2014/main" id="{4E2F2BF1-134A-4C88-97D9-8852454E1B63}"/>
                  </a:ext>
                </a:extLst>
              </p:cNvPr>
              <p:cNvSpPr>
                <a:spLocks/>
              </p:cNvSpPr>
              <p:nvPr/>
            </p:nvSpPr>
            <p:spPr bwMode="auto">
              <a:xfrm>
                <a:off x="6215063" y="5237163"/>
                <a:ext cx="450850" cy="412750"/>
              </a:xfrm>
              <a:custGeom>
                <a:avLst/>
                <a:gdLst>
                  <a:gd name="T0" fmla="*/ 2147483646 w 569"/>
                  <a:gd name="T1" fmla="*/ 2147483646 h 519"/>
                  <a:gd name="T2" fmla="*/ 2147483646 w 569"/>
                  <a:gd name="T3" fmla="*/ 2147483646 h 519"/>
                  <a:gd name="T4" fmla="*/ 2147483646 w 569"/>
                  <a:gd name="T5" fmla="*/ 0 h 519"/>
                  <a:gd name="T6" fmla="*/ 2147483646 w 569"/>
                  <a:gd name="T7" fmla="*/ 2147483646 h 519"/>
                  <a:gd name="T8" fmla="*/ 2147483646 w 569"/>
                  <a:gd name="T9" fmla="*/ 2147483646 h 519"/>
                  <a:gd name="T10" fmla="*/ 0 w 569"/>
                  <a:gd name="T11" fmla="*/ 2147483646 h 519"/>
                  <a:gd name="T12" fmla="*/ 0 w 569"/>
                  <a:gd name="T13" fmla="*/ 2147483646 h 519"/>
                  <a:gd name="T14" fmla="*/ 2147483646 w 569"/>
                  <a:gd name="T15" fmla="*/ 2147483646 h 519"/>
                  <a:gd name="T16" fmla="*/ 2147483646 w 569"/>
                  <a:gd name="T17" fmla="*/ 2147483646 h 519"/>
                  <a:gd name="T18" fmla="*/ 2147483646 w 569"/>
                  <a:gd name="T19" fmla="*/ 2147483646 h 5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9"/>
                  <a:gd name="T31" fmla="*/ 0 h 519"/>
                  <a:gd name="T32" fmla="*/ 569 w 569"/>
                  <a:gd name="T33" fmla="*/ 519 h 5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9" h="519">
                    <a:moveTo>
                      <a:pt x="297" y="369"/>
                    </a:moveTo>
                    <a:lnTo>
                      <a:pt x="569" y="152"/>
                    </a:lnTo>
                    <a:lnTo>
                      <a:pt x="441" y="0"/>
                    </a:lnTo>
                    <a:lnTo>
                      <a:pt x="172" y="190"/>
                    </a:lnTo>
                    <a:lnTo>
                      <a:pt x="134" y="140"/>
                    </a:lnTo>
                    <a:lnTo>
                      <a:pt x="0" y="229"/>
                    </a:lnTo>
                    <a:lnTo>
                      <a:pt x="0" y="519"/>
                    </a:lnTo>
                    <a:lnTo>
                      <a:pt x="239" y="519"/>
                    </a:lnTo>
                    <a:lnTo>
                      <a:pt x="344" y="432"/>
                    </a:lnTo>
                    <a:lnTo>
                      <a:pt x="297" y="369"/>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60" name="Freeform 268">
                <a:extLst>
                  <a:ext uri="{FF2B5EF4-FFF2-40B4-BE49-F238E27FC236}">
                    <a16:creationId xmlns:a16="http://schemas.microsoft.com/office/drawing/2014/main" id="{2D570297-7AF3-4B85-94F1-0B30B58BC20A}"/>
                  </a:ext>
                </a:extLst>
              </p:cNvPr>
              <p:cNvSpPr>
                <a:spLocks/>
              </p:cNvSpPr>
              <p:nvPr/>
            </p:nvSpPr>
            <p:spPr bwMode="auto">
              <a:xfrm>
                <a:off x="6469063" y="4278313"/>
                <a:ext cx="1282700" cy="1282700"/>
              </a:xfrm>
              <a:custGeom>
                <a:avLst/>
                <a:gdLst>
                  <a:gd name="T0" fmla="*/ 2147483646 w 1616"/>
                  <a:gd name="T1" fmla="*/ 2147483646 h 1618"/>
                  <a:gd name="T2" fmla="*/ 2147483646 w 1616"/>
                  <a:gd name="T3" fmla="*/ 2147483646 h 1618"/>
                  <a:gd name="T4" fmla="*/ 2147483646 w 1616"/>
                  <a:gd name="T5" fmla="*/ 2147483646 h 1618"/>
                  <a:gd name="T6" fmla="*/ 2147483646 w 1616"/>
                  <a:gd name="T7" fmla="*/ 2147483646 h 1618"/>
                  <a:gd name="T8" fmla="*/ 2147483646 w 1616"/>
                  <a:gd name="T9" fmla="*/ 2147483646 h 1618"/>
                  <a:gd name="T10" fmla="*/ 2147483646 w 1616"/>
                  <a:gd name="T11" fmla="*/ 2147483646 h 1618"/>
                  <a:gd name="T12" fmla="*/ 2147483646 w 1616"/>
                  <a:gd name="T13" fmla="*/ 2147483646 h 1618"/>
                  <a:gd name="T14" fmla="*/ 2147483646 w 1616"/>
                  <a:gd name="T15" fmla="*/ 2147483646 h 1618"/>
                  <a:gd name="T16" fmla="*/ 2147483646 w 1616"/>
                  <a:gd name="T17" fmla="*/ 2147483646 h 1618"/>
                  <a:gd name="T18" fmla="*/ 2147483646 w 1616"/>
                  <a:gd name="T19" fmla="*/ 2147483646 h 1618"/>
                  <a:gd name="T20" fmla="*/ 2147483646 w 1616"/>
                  <a:gd name="T21" fmla="*/ 2147483646 h 1618"/>
                  <a:gd name="T22" fmla="*/ 2147483646 w 1616"/>
                  <a:gd name="T23" fmla="*/ 2147483646 h 1618"/>
                  <a:gd name="T24" fmla="*/ 2147483646 w 1616"/>
                  <a:gd name="T25" fmla="*/ 2147483646 h 1618"/>
                  <a:gd name="T26" fmla="*/ 2147483646 w 1616"/>
                  <a:gd name="T27" fmla="*/ 2147483646 h 1618"/>
                  <a:gd name="T28" fmla="*/ 2147483646 w 1616"/>
                  <a:gd name="T29" fmla="*/ 2147483646 h 1618"/>
                  <a:gd name="T30" fmla="*/ 2147483646 w 1616"/>
                  <a:gd name="T31" fmla="*/ 2147483646 h 1618"/>
                  <a:gd name="T32" fmla="*/ 2147483646 w 1616"/>
                  <a:gd name="T33" fmla="*/ 2147483646 h 1618"/>
                  <a:gd name="T34" fmla="*/ 2147483646 w 1616"/>
                  <a:gd name="T35" fmla="*/ 2147483646 h 1618"/>
                  <a:gd name="T36" fmla="*/ 2147483646 w 1616"/>
                  <a:gd name="T37" fmla="*/ 2147483646 h 1618"/>
                  <a:gd name="T38" fmla="*/ 2147483646 w 1616"/>
                  <a:gd name="T39" fmla="*/ 2147483646 h 1618"/>
                  <a:gd name="T40" fmla="*/ 2147483646 w 1616"/>
                  <a:gd name="T41" fmla="*/ 2147483646 h 1618"/>
                  <a:gd name="T42" fmla="*/ 2147483646 w 1616"/>
                  <a:gd name="T43" fmla="*/ 2147483646 h 1618"/>
                  <a:gd name="T44" fmla="*/ 2147483646 w 1616"/>
                  <a:gd name="T45" fmla="*/ 2147483646 h 1618"/>
                  <a:gd name="T46" fmla="*/ 2147483646 w 1616"/>
                  <a:gd name="T47" fmla="*/ 2147483646 h 1618"/>
                  <a:gd name="T48" fmla="*/ 2147483646 w 1616"/>
                  <a:gd name="T49" fmla="*/ 2147483646 h 1618"/>
                  <a:gd name="T50" fmla="*/ 2147483646 w 1616"/>
                  <a:gd name="T51" fmla="*/ 2147483646 h 1618"/>
                  <a:gd name="T52" fmla="*/ 2147483646 w 1616"/>
                  <a:gd name="T53" fmla="*/ 2147483646 h 1618"/>
                  <a:gd name="T54" fmla="*/ 2147483646 w 1616"/>
                  <a:gd name="T55" fmla="*/ 2147483646 h 1618"/>
                  <a:gd name="T56" fmla="*/ 2147483646 w 1616"/>
                  <a:gd name="T57" fmla="*/ 2147483646 h 1618"/>
                  <a:gd name="T58" fmla="*/ 2147483646 w 1616"/>
                  <a:gd name="T59" fmla="*/ 2147483646 h 1618"/>
                  <a:gd name="T60" fmla="*/ 2147483646 w 1616"/>
                  <a:gd name="T61" fmla="*/ 2147483646 h 1618"/>
                  <a:gd name="T62" fmla="*/ 2147483646 w 1616"/>
                  <a:gd name="T63" fmla="*/ 2147483646 h 1618"/>
                  <a:gd name="T64" fmla="*/ 2147483646 w 1616"/>
                  <a:gd name="T65" fmla="*/ 2147483646 h 1618"/>
                  <a:gd name="T66" fmla="*/ 2147483646 w 1616"/>
                  <a:gd name="T67" fmla="*/ 0 h 1618"/>
                  <a:gd name="T68" fmla="*/ 2147483646 w 1616"/>
                  <a:gd name="T69" fmla="*/ 2147483646 h 1618"/>
                  <a:gd name="T70" fmla="*/ 2147483646 w 1616"/>
                  <a:gd name="T71" fmla="*/ 2147483646 h 1618"/>
                  <a:gd name="T72" fmla="*/ 2147483646 w 1616"/>
                  <a:gd name="T73" fmla="*/ 2147483646 h 1618"/>
                  <a:gd name="T74" fmla="*/ 2147483646 w 1616"/>
                  <a:gd name="T75" fmla="*/ 2147483646 h 1618"/>
                  <a:gd name="T76" fmla="*/ 2147483646 w 1616"/>
                  <a:gd name="T77" fmla="*/ 2147483646 h 1618"/>
                  <a:gd name="T78" fmla="*/ 2147483646 w 1616"/>
                  <a:gd name="T79" fmla="*/ 2147483646 h 1618"/>
                  <a:gd name="T80" fmla="*/ 2147483646 w 1616"/>
                  <a:gd name="T81" fmla="*/ 2147483646 h 1618"/>
                  <a:gd name="T82" fmla="*/ 2147483646 w 1616"/>
                  <a:gd name="T83" fmla="*/ 2147483646 h 1618"/>
                  <a:gd name="T84" fmla="*/ 2147483646 w 1616"/>
                  <a:gd name="T85" fmla="*/ 2147483646 h 1618"/>
                  <a:gd name="T86" fmla="*/ 2147483646 w 1616"/>
                  <a:gd name="T87" fmla="*/ 2147483646 h 1618"/>
                  <a:gd name="T88" fmla="*/ 0 w 1616"/>
                  <a:gd name="T89" fmla="*/ 2147483646 h 1618"/>
                  <a:gd name="T90" fmla="*/ 2147483646 w 1616"/>
                  <a:gd name="T91" fmla="*/ 2147483646 h 1618"/>
                  <a:gd name="T92" fmla="*/ 2147483646 w 1616"/>
                  <a:gd name="T93" fmla="*/ 2147483646 h 1618"/>
                  <a:gd name="T94" fmla="*/ 2147483646 w 1616"/>
                  <a:gd name="T95" fmla="*/ 2147483646 h 161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616"/>
                  <a:gd name="T145" fmla="*/ 0 h 1618"/>
                  <a:gd name="T146" fmla="*/ 1616 w 1616"/>
                  <a:gd name="T147" fmla="*/ 1618 h 161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616" h="1618">
                    <a:moveTo>
                      <a:pt x="170" y="1307"/>
                    </a:moveTo>
                    <a:lnTo>
                      <a:pt x="197" y="1339"/>
                    </a:lnTo>
                    <a:lnTo>
                      <a:pt x="224" y="1369"/>
                    </a:lnTo>
                    <a:lnTo>
                      <a:pt x="253" y="1398"/>
                    </a:lnTo>
                    <a:lnTo>
                      <a:pt x="283" y="1425"/>
                    </a:lnTo>
                    <a:lnTo>
                      <a:pt x="314" y="1450"/>
                    </a:lnTo>
                    <a:lnTo>
                      <a:pt x="347" y="1474"/>
                    </a:lnTo>
                    <a:lnTo>
                      <a:pt x="380" y="1496"/>
                    </a:lnTo>
                    <a:lnTo>
                      <a:pt x="413" y="1515"/>
                    </a:lnTo>
                    <a:lnTo>
                      <a:pt x="449" y="1534"/>
                    </a:lnTo>
                    <a:lnTo>
                      <a:pt x="484" y="1550"/>
                    </a:lnTo>
                    <a:lnTo>
                      <a:pt x="520" y="1565"/>
                    </a:lnTo>
                    <a:lnTo>
                      <a:pt x="557" y="1577"/>
                    </a:lnTo>
                    <a:lnTo>
                      <a:pt x="594" y="1589"/>
                    </a:lnTo>
                    <a:lnTo>
                      <a:pt x="632" y="1598"/>
                    </a:lnTo>
                    <a:lnTo>
                      <a:pt x="670" y="1606"/>
                    </a:lnTo>
                    <a:lnTo>
                      <a:pt x="708" y="1612"/>
                    </a:lnTo>
                    <a:lnTo>
                      <a:pt x="747" y="1615"/>
                    </a:lnTo>
                    <a:lnTo>
                      <a:pt x="787" y="1618"/>
                    </a:lnTo>
                    <a:lnTo>
                      <a:pt x="825" y="1618"/>
                    </a:lnTo>
                    <a:lnTo>
                      <a:pt x="864" y="1615"/>
                    </a:lnTo>
                    <a:lnTo>
                      <a:pt x="903" y="1612"/>
                    </a:lnTo>
                    <a:lnTo>
                      <a:pt x="941" y="1607"/>
                    </a:lnTo>
                    <a:lnTo>
                      <a:pt x="980" y="1599"/>
                    </a:lnTo>
                    <a:lnTo>
                      <a:pt x="1018" y="1590"/>
                    </a:lnTo>
                    <a:lnTo>
                      <a:pt x="1056" y="1580"/>
                    </a:lnTo>
                    <a:lnTo>
                      <a:pt x="1093" y="1566"/>
                    </a:lnTo>
                    <a:lnTo>
                      <a:pt x="1130" y="1551"/>
                    </a:lnTo>
                    <a:lnTo>
                      <a:pt x="1167" y="1535"/>
                    </a:lnTo>
                    <a:lnTo>
                      <a:pt x="1202" y="1515"/>
                    </a:lnTo>
                    <a:lnTo>
                      <a:pt x="1237" y="1494"/>
                    </a:lnTo>
                    <a:lnTo>
                      <a:pt x="1271" y="1471"/>
                    </a:lnTo>
                    <a:lnTo>
                      <a:pt x="1305" y="1447"/>
                    </a:lnTo>
                    <a:lnTo>
                      <a:pt x="1367" y="1393"/>
                    </a:lnTo>
                    <a:lnTo>
                      <a:pt x="1423" y="1334"/>
                    </a:lnTo>
                    <a:lnTo>
                      <a:pt x="1472" y="1271"/>
                    </a:lnTo>
                    <a:lnTo>
                      <a:pt x="1513" y="1204"/>
                    </a:lnTo>
                    <a:lnTo>
                      <a:pt x="1548" y="1133"/>
                    </a:lnTo>
                    <a:lnTo>
                      <a:pt x="1576" y="1060"/>
                    </a:lnTo>
                    <a:lnTo>
                      <a:pt x="1596" y="985"/>
                    </a:lnTo>
                    <a:lnTo>
                      <a:pt x="1610" y="908"/>
                    </a:lnTo>
                    <a:lnTo>
                      <a:pt x="1616" y="831"/>
                    </a:lnTo>
                    <a:lnTo>
                      <a:pt x="1614" y="754"/>
                    </a:lnTo>
                    <a:lnTo>
                      <a:pt x="1605" y="675"/>
                    </a:lnTo>
                    <a:lnTo>
                      <a:pt x="1588" y="599"/>
                    </a:lnTo>
                    <a:lnTo>
                      <a:pt x="1564" y="523"/>
                    </a:lnTo>
                    <a:lnTo>
                      <a:pt x="1533" y="450"/>
                    </a:lnTo>
                    <a:lnTo>
                      <a:pt x="1493" y="379"/>
                    </a:lnTo>
                    <a:lnTo>
                      <a:pt x="1445" y="311"/>
                    </a:lnTo>
                    <a:lnTo>
                      <a:pt x="1419" y="279"/>
                    </a:lnTo>
                    <a:lnTo>
                      <a:pt x="1391" y="249"/>
                    </a:lnTo>
                    <a:lnTo>
                      <a:pt x="1362" y="220"/>
                    </a:lnTo>
                    <a:lnTo>
                      <a:pt x="1332" y="193"/>
                    </a:lnTo>
                    <a:lnTo>
                      <a:pt x="1301" y="168"/>
                    </a:lnTo>
                    <a:lnTo>
                      <a:pt x="1269" y="144"/>
                    </a:lnTo>
                    <a:lnTo>
                      <a:pt x="1236" y="122"/>
                    </a:lnTo>
                    <a:lnTo>
                      <a:pt x="1202" y="103"/>
                    </a:lnTo>
                    <a:lnTo>
                      <a:pt x="1168" y="84"/>
                    </a:lnTo>
                    <a:lnTo>
                      <a:pt x="1132" y="68"/>
                    </a:lnTo>
                    <a:lnTo>
                      <a:pt x="1095" y="53"/>
                    </a:lnTo>
                    <a:lnTo>
                      <a:pt x="1058" y="41"/>
                    </a:lnTo>
                    <a:lnTo>
                      <a:pt x="1022" y="29"/>
                    </a:lnTo>
                    <a:lnTo>
                      <a:pt x="984" y="20"/>
                    </a:lnTo>
                    <a:lnTo>
                      <a:pt x="945" y="12"/>
                    </a:lnTo>
                    <a:lnTo>
                      <a:pt x="907" y="6"/>
                    </a:lnTo>
                    <a:lnTo>
                      <a:pt x="868" y="3"/>
                    </a:lnTo>
                    <a:lnTo>
                      <a:pt x="830" y="0"/>
                    </a:lnTo>
                    <a:lnTo>
                      <a:pt x="791" y="0"/>
                    </a:lnTo>
                    <a:lnTo>
                      <a:pt x="752" y="3"/>
                    </a:lnTo>
                    <a:lnTo>
                      <a:pt x="714" y="6"/>
                    </a:lnTo>
                    <a:lnTo>
                      <a:pt x="675" y="11"/>
                    </a:lnTo>
                    <a:lnTo>
                      <a:pt x="637" y="19"/>
                    </a:lnTo>
                    <a:lnTo>
                      <a:pt x="599" y="28"/>
                    </a:lnTo>
                    <a:lnTo>
                      <a:pt x="561" y="38"/>
                    </a:lnTo>
                    <a:lnTo>
                      <a:pt x="523" y="52"/>
                    </a:lnTo>
                    <a:lnTo>
                      <a:pt x="486" y="67"/>
                    </a:lnTo>
                    <a:lnTo>
                      <a:pt x="449" y="83"/>
                    </a:lnTo>
                    <a:lnTo>
                      <a:pt x="413" y="103"/>
                    </a:lnTo>
                    <a:lnTo>
                      <a:pt x="379" y="124"/>
                    </a:lnTo>
                    <a:lnTo>
                      <a:pt x="344" y="147"/>
                    </a:lnTo>
                    <a:lnTo>
                      <a:pt x="311" y="171"/>
                    </a:lnTo>
                    <a:lnTo>
                      <a:pt x="249" y="225"/>
                    </a:lnTo>
                    <a:lnTo>
                      <a:pt x="192" y="284"/>
                    </a:lnTo>
                    <a:lnTo>
                      <a:pt x="144" y="347"/>
                    </a:lnTo>
                    <a:lnTo>
                      <a:pt x="102" y="414"/>
                    </a:lnTo>
                    <a:lnTo>
                      <a:pt x="68" y="485"/>
                    </a:lnTo>
                    <a:lnTo>
                      <a:pt x="40" y="558"/>
                    </a:lnTo>
                    <a:lnTo>
                      <a:pt x="19" y="633"/>
                    </a:lnTo>
                    <a:lnTo>
                      <a:pt x="6" y="709"/>
                    </a:lnTo>
                    <a:lnTo>
                      <a:pt x="0" y="787"/>
                    </a:lnTo>
                    <a:lnTo>
                      <a:pt x="2" y="864"/>
                    </a:lnTo>
                    <a:lnTo>
                      <a:pt x="10" y="943"/>
                    </a:lnTo>
                    <a:lnTo>
                      <a:pt x="28" y="1019"/>
                    </a:lnTo>
                    <a:lnTo>
                      <a:pt x="52" y="1095"/>
                    </a:lnTo>
                    <a:lnTo>
                      <a:pt x="83" y="1168"/>
                    </a:lnTo>
                    <a:lnTo>
                      <a:pt x="123" y="1239"/>
                    </a:lnTo>
                    <a:lnTo>
                      <a:pt x="170" y="13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61" name="Freeform 269">
                <a:extLst>
                  <a:ext uri="{FF2B5EF4-FFF2-40B4-BE49-F238E27FC236}">
                    <a16:creationId xmlns:a16="http://schemas.microsoft.com/office/drawing/2014/main" id="{16C559E0-DF6C-4E26-8D86-3F70ED998E0D}"/>
                  </a:ext>
                </a:extLst>
              </p:cNvPr>
              <p:cNvSpPr>
                <a:spLocks/>
              </p:cNvSpPr>
              <p:nvPr/>
            </p:nvSpPr>
            <p:spPr bwMode="auto">
              <a:xfrm>
                <a:off x="6508747" y="4316415"/>
                <a:ext cx="1204914" cy="1206501"/>
              </a:xfrm>
              <a:custGeom>
                <a:avLst/>
                <a:gdLst>
                  <a:gd name="T0" fmla="*/ 2147483646 w 1519"/>
                  <a:gd name="T1" fmla="*/ 2147483646 h 1520"/>
                  <a:gd name="T2" fmla="*/ 2147483646 w 1519"/>
                  <a:gd name="T3" fmla="*/ 2147483646 h 1520"/>
                  <a:gd name="T4" fmla="*/ 2147483646 w 1519"/>
                  <a:gd name="T5" fmla="*/ 2147483646 h 1520"/>
                  <a:gd name="T6" fmla="*/ 2147483646 w 1519"/>
                  <a:gd name="T7" fmla="*/ 2147483646 h 1520"/>
                  <a:gd name="T8" fmla="*/ 2147483646 w 1519"/>
                  <a:gd name="T9" fmla="*/ 2147483646 h 1520"/>
                  <a:gd name="T10" fmla="*/ 2147483646 w 1519"/>
                  <a:gd name="T11" fmla="*/ 2147483646 h 1520"/>
                  <a:gd name="T12" fmla="*/ 2147483646 w 1519"/>
                  <a:gd name="T13" fmla="*/ 0 h 1520"/>
                  <a:gd name="T14" fmla="*/ 2147483646 w 1519"/>
                  <a:gd name="T15" fmla="*/ 2147483646 h 1520"/>
                  <a:gd name="T16" fmla="*/ 2147483646 w 1519"/>
                  <a:gd name="T17" fmla="*/ 2147483646 h 1520"/>
                  <a:gd name="T18" fmla="*/ 2147483646 w 1519"/>
                  <a:gd name="T19" fmla="*/ 2147483646 h 1520"/>
                  <a:gd name="T20" fmla="*/ 2147483646 w 1519"/>
                  <a:gd name="T21" fmla="*/ 2147483646 h 1520"/>
                  <a:gd name="T22" fmla="*/ 2147483646 w 1519"/>
                  <a:gd name="T23" fmla="*/ 2147483646 h 1520"/>
                  <a:gd name="T24" fmla="*/ 2147483646 w 1519"/>
                  <a:gd name="T25" fmla="*/ 2147483646 h 1520"/>
                  <a:gd name="T26" fmla="*/ 2147483646 w 1519"/>
                  <a:gd name="T27" fmla="*/ 2147483646 h 1520"/>
                  <a:gd name="T28" fmla="*/ 2147483646 w 1519"/>
                  <a:gd name="T29" fmla="*/ 2147483646 h 1520"/>
                  <a:gd name="T30" fmla="*/ 2147483646 w 1519"/>
                  <a:gd name="T31" fmla="*/ 2147483646 h 1520"/>
                  <a:gd name="T32" fmla="*/ 2147483646 w 1519"/>
                  <a:gd name="T33" fmla="*/ 2147483646 h 1520"/>
                  <a:gd name="T34" fmla="*/ 2147483646 w 1519"/>
                  <a:gd name="T35" fmla="*/ 2147483646 h 1520"/>
                  <a:gd name="T36" fmla="*/ 2147483646 w 1519"/>
                  <a:gd name="T37" fmla="*/ 2147483646 h 1520"/>
                  <a:gd name="T38" fmla="*/ 2147483646 w 1519"/>
                  <a:gd name="T39" fmla="*/ 2147483646 h 1520"/>
                  <a:gd name="T40" fmla="*/ 2147483646 w 1519"/>
                  <a:gd name="T41" fmla="*/ 2147483646 h 1520"/>
                  <a:gd name="T42" fmla="*/ 2147483646 w 1519"/>
                  <a:gd name="T43" fmla="*/ 2147483646 h 1520"/>
                  <a:gd name="T44" fmla="*/ 2147483646 w 1519"/>
                  <a:gd name="T45" fmla="*/ 2147483646 h 1520"/>
                  <a:gd name="T46" fmla="*/ 2147483646 w 1519"/>
                  <a:gd name="T47" fmla="*/ 2147483646 h 1520"/>
                  <a:gd name="T48" fmla="*/ 2147483646 w 1519"/>
                  <a:gd name="T49" fmla="*/ 2147483646 h 1520"/>
                  <a:gd name="T50" fmla="*/ 2147483646 w 1519"/>
                  <a:gd name="T51" fmla="*/ 2147483646 h 1520"/>
                  <a:gd name="T52" fmla="*/ 2147483646 w 1519"/>
                  <a:gd name="T53" fmla="*/ 2147483646 h 1520"/>
                  <a:gd name="T54" fmla="*/ 2147483646 w 1519"/>
                  <a:gd name="T55" fmla="*/ 2147483646 h 1520"/>
                  <a:gd name="T56" fmla="*/ 2147483646 w 1519"/>
                  <a:gd name="T57" fmla="*/ 2147483646 h 1520"/>
                  <a:gd name="T58" fmla="*/ 2147483646 w 1519"/>
                  <a:gd name="T59" fmla="*/ 2147483646 h 1520"/>
                  <a:gd name="T60" fmla="*/ 2147483646 w 1519"/>
                  <a:gd name="T61" fmla="*/ 2147483646 h 1520"/>
                  <a:gd name="T62" fmla="*/ 2147483646 w 1519"/>
                  <a:gd name="T63" fmla="*/ 2147483646 h 1520"/>
                  <a:gd name="T64" fmla="*/ 2147483646 w 1519"/>
                  <a:gd name="T65" fmla="*/ 2147483646 h 1520"/>
                  <a:gd name="T66" fmla="*/ 2147483646 w 1519"/>
                  <a:gd name="T67" fmla="*/ 2147483646 h 1520"/>
                  <a:gd name="T68" fmla="*/ 2147483646 w 1519"/>
                  <a:gd name="T69" fmla="*/ 2147483646 h 1520"/>
                  <a:gd name="T70" fmla="*/ 2147483646 w 1519"/>
                  <a:gd name="T71" fmla="*/ 2147483646 h 1520"/>
                  <a:gd name="T72" fmla="*/ 2147483646 w 1519"/>
                  <a:gd name="T73" fmla="*/ 2147483646 h 1520"/>
                  <a:gd name="T74" fmla="*/ 2147483646 w 1519"/>
                  <a:gd name="T75" fmla="*/ 2147483646 h 1520"/>
                  <a:gd name="T76" fmla="*/ 2147483646 w 1519"/>
                  <a:gd name="T77" fmla="*/ 2147483646 h 1520"/>
                  <a:gd name="T78" fmla="*/ 2147483646 w 1519"/>
                  <a:gd name="T79" fmla="*/ 2147483646 h 1520"/>
                  <a:gd name="T80" fmla="*/ 2147483646 w 1519"/>
                  <a:gd name="T81" fmla="*/ 2147483646 h 1520"/>
                  <a:gd name="T82" fmla="*/ 2147483646 w 1519"/>
                  <a:gd name="T83" fmla="*/ 2147483646 h 1520"/>
                  <a:gd name="T84" fmla="*/ 2147483646 w 1519"/>
                  <a:gd name="T85" fmla="*/ 2147483646 h 1520"/>
                  <a:gd name="T86" fmla="*/ 0 w 1519"/>
                  <a:gd name="T87" fmla="*/ 2147483646 h 1520"/>
                  <a:gd name="T88" fmla="*/ 2147483646 w 1519"/>
                  <a:gd name="T89" fmla="*/ 2147483646 h 1520"/>
                  <a:gd name="T90" fmla="*/ 2147483646 w 1519"/>
                  <a:gd name="T91" fmla="*/ 2147483646 h 1520"/>
                  <a:gd name="T92" fmla="*/ 2147483646 w 1519"/>
                  <a:gd name="T93" fmla="*/ 2147483646 h 1520"/>
                  <a:gd name="T94" fmla="*/ 2147483646 w 1519"/>
                  <a:gd name="T95" fmla="*/ 2147483646 h 152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19"/>
                  <a:gd name="T145" fmla="*/ 0 h 1520"/>
                  <a:gd name="T146" fmla="*/ 1519 w 1519"/>
                  <a:gd name="T147" fmla="*/ 1520 h 152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19" h="1520">
                    <a:moveTo>
                      <a:pt x="293" y="160"/>
                    </a:moveTo>
                    <a:lnTo>
                      <a:pt x="324" y="137"/>
                    </a:lnTo>
                    <a:lnTo>
                      <a:pt x="356" y="115"/>
                    </a:lnTo>
                    <a:lnTo>
                      <a:pt x="390" y="95"/>
                    </a:lnTo>
                    <a:lnTo>
                      <a:pt x="423" y="78"/>
                    </a:lnTo>
                    <a:lnTo>
                      <a:pt x="458" y="62"/>
                    </a:lnTo>
                    <a:lnTo>
                      <a:pt x="492" y="48"/>
                    </a:lnTo>
                    <a:lnTo>
                      <a:pt x="527" y="35"/>
                    </a:lnTo>
                    <a:lnTo>
                      <a:pt x="562" y="25"/>
                    </a:lnTo>
                    <a:lnTo>
                      <a:pt x="598" y="17"/>
                    </a:lnTo>
                    <a:lnTo>
                      <a:pt x="635" y="10"/>
                    </a:lnTo>
                    <a:lnTo>
                      <a:pt x="671" y="4"/>
                    </a:lnTo>
                    <a:lnTo>
                      <a:pt x="707" y="1"/>
                    </a:lnTo>
                    <a:lnTo>
                      <a:pt x="744" y="0"/>
                    </a:lnTo>
                    <a:lnTo>
                      <a:pt x="780" y="0"/>
                    </a:lnTo>
                    <a:lnTo>
                      <a:pt x="817" y="2"/>
                    </a:lnTo>
                    <a:lnTo>
                      <a:pt x="854" y="5"/>
                    </a:lnTo>
                    <a:lnTo>
                      <a:pt x="889" y="11"/>
                    </a:lnTo>
                    <a:lnTo>
                      <a:pt x="925" y="18"/>
                    </a:lnTo>
                    <a:lnTo>
                      <a:pt x="961" y="26"/>
                    </a:lnTo>
                    <a:lnTo>
                      <a:pt x="995" y="36"/>
                    </a:lnTo>
                    <a:lnTo>
                      <a:pt x="1030" y="49"/>
                    </a:lnTo>
                    <a:lnTo>
                      <a:pt x="1065" y="63"/>
                    </a:lnTo>
                    <a:lnTo>
                      <a:pt x="1098" y="79"/>
                    </a:lnTo>
                    <a:lnTo>
                      <a:pt x="1130" y="95"/>
                    </a:lnTo>
                    <a:lnTo>
                      <a:pt x="1162" y="115"/>
                    </a:lnTo>
                    <a:lnTo>
                      <a:pt x="1194" y="136"/>
                    </a:lnTo>
                    <a:lnTo>
                      <a:pt x="1223" y="157"/>
                    </a:lnTo>
                    <a:lnTo>
                      <a:pt x="1253" y="181"/>
                    </a:lnTo>
                    <a:lnTo>
                      <a:pt x="1281" y="207"/>
                    </a:lnTo>
                    <a:lnTo>
                      <a:pt x="1309" y="233"/>
                    </a:lnTo>
                    <a:lnTo>
                      <a:pt x="1334" y="262"/>
                    </a:lnTo>
                    <a:lnTo>
                      <a:pt x="1359" y="292"/>
                    </a:lnTo>
                    <a:lnTo>
                      <a:pt x="1404" y="356"/>
                    </a:lnTo>
                    <a:lnTo>
                      <a:pt x="1441" y="422"/>
                    </a:lnTo>
                    <a:lnTo>
                      <a:pt x="1471" y="492"/>
                    </a:lnTo>
                    <a:lnTo>
                      <a:pt x="1494" y="562"/>
                    </a:lnTo>
                    <a:lnTo>
                      <a:pt x="1509" y="634"/>
                    </a:lnTo>
                    <a:lnTo>
                      <a:pt x="1518" y="707"/>
                    </a:lnTo>
                    <a:lnTo>
                      <a:pt x="1519" y="781"/>
                    </a:lnTo>
                    <a:lnTo>
                      <a:pt x="1514" y="853"/>
                    </a:lnTo>
                    <a:lnTo>
                      <a:pt x="1501" y="926"/>
                    </a:lnTo>
                    <a:lnTo>
                      <a:pt x="1483" y="996"/>
                    </a:lnTo>
                    <a:lnTo>
                      <a:pt x="1456" y="1065"/>
                    </a:lnTo>
                    <a:lnTo>
                      <a:pt x="1424" y="1131"/>
                    </a:lnTo>
                    <a:lnTo>
                      <a:pt x="1384" y="1194"/>
                    </a:lnTo>
                    <a:lnTo>
                      <a:pt x="1339" y="1254"/>
                    </a:lnTo>
                    <a:lnTo>
                      <a:pt x="1286" y="1310"/>
                    </a:lnTo>
                    <a:lnTo>
                      <a:pt x="1227" y="1360"/>
                    </a:lnTo>
                    <a:lnTo>
                      <a:pt x="1196" y="1383"/>
                    </a:lnTo>
                    <a:lnTo>
                      <a:pt x="1164" y="1405"/>
                    </a:lnTo>
                    <a:lnTo>
                      <a:pt x="1130" y="1425"/>
                    </a:lnTo>
                    <a:lnTo>
                      <a:pt x="1097" y="1442"/>
                    </a:lnTo>
                    <a:lnTo>
                      <a:pt x="1063" y="1458"/>
                    </a:lnTo>
                    <a:lnTo>
                      <a:pt x="1029" y="1472"/>
                    </a:lnTo>
                    <a:lnTo>
                      <a:pt x="993" y="1485"/>
                    </a:lnTo>
                    <a:lnTo>
                      <a:pt x="957" y="1495"/>
                    </a:lnTo>
                    <a:lnTo>
                      <a:pt x="922" y="1503"/>
                    </a:lnTo>
                    <a:lnTo>
                      <a:pt x="886" y="1510"/>
                    </a:lnTo>
                    <a:lnTo>
                      <a:pt x="849" y="1516"/>
                    </a:lnTo>
                    <a:lnTo>
                      <a:pt x="812" y="1519"/>
                    </a:lnTo>
                    <a:lnTo>
                      <a:pt x="777" y="1520"/>
                    </a:lnTo>
                    <a:lnTo>
                      <a:pt x="740" y="1520"/>
                    </a:lnTo>
                    <a:lnTo>
                      <a:pt x="703" y="1518"/>
                    </a:lnTo>
                    <a:lnTo>
                      <a:pt x="667" y="1515"/>
                    </a:lnTo>
                    <a:lnTo>
                      <a:pt x="630" y="1509"/>
                    </a:lnTo>
                    <a:lnTo>
                      <a:pt x="595" y="1502"/>
                    </a:lnTo>
                    <a:lnTo>
                      <a:pt x="559" y="1494"/>
                    </a:lnTo>
                    <a:lnTo>
                      <a:pt x="524" y="1483"/>
                    </a:lnTo>
                    <a:lnTo>
                      <a:pt x="490" y="1471"/>
                    </a:lnTo>
                    <a:lnTo>
                      <a:pt x="455" y="1457"/>
                    </a:lnTo>
                    <a:lnTo>
                      <a:pt x="422" y="1441"/>
                    </a:lnTo>
                    <a:lnTo>
                      <a:pt x="390" y="1425"/>
                    </a:lnTo>
                    <a:lnTo>
                      <a:pt x="357" y="1405"/>
                    </a:lnTo>
                    <a:lnTo>
                      <a:pt x="326" y="1384"/>
                    </a:lnTo>
                    <a:lnTo>
                      <a:pt x="296" y="1362"/>
                    </a:lnTo>
                    <a:lnTo>
                      <a:pt x="266" y="1339"/>
                    </a:lnTo>
                    <a:lnTo>
                      <a:pt x="239" y="1313"/>
                    </a:lnTo>
                    <a:lnTo>
                      <a:pt x="211" y="1286"/>
                    </a:lnTo>
                    <a:lnTo>
                      <a:pt x="186" y="1258"/>
                    </a:lnTo>
                    <a:lnTo>
                      <a:pt x="160" y="1228"/>
                    </a:lnTo>
                    <a:lnTo>
                      <a:pt x="115" y="1164"/>
                    </a:lnTo>
                    <a:lnTo>
                      <a:pt x="79" y="1098"/>
                    </a:lnTo>
                    <a:lnTo>
                      <a:pt x="49" y="1028"/>
                    </a:lnTo>
                    <a:lnTo>
                      <a:pt x="26" y="958"/>
                    </a:lnTo>
                    <a:lnTo>
                      <a:pt x="11" y="886"/>
                    </a:lnTo>
                    <a:lnTo>
                      <a:pt x="1" y="813"/>
                    </a:lnTo>
                    <a:lnTo>
                      <a:pt x="0" y="739"/>
                    </a:lnTo>
                    <a:lnTo>
                      <a:pt x="6" y="667"/>
                    </a:lnTo>
                    <a:lnTo>
                      <a:pt x="19" y="594"/>
                    </a:lnTo>
                    <a:lnTo>
                      <a:pt x="37" y="524"/>
                    </a:lnTo>
                    <a:lnTo>
                      <a:pt x="64" y="455"/>
                    </a:lnTo>
                    <a:lnTo>
                      <a:pt x="96" y="389"/>
                    </a:lnTo>
                    <a:lnTo>
                      <a:pt x="136" y="326"/>
                    </a:lnTo>
                    <a:lnTo>
                      <a:pt x="181" y="266"/>
                    </a:lnTo>
                    <a:lnTo>
                      <a:pt x="234" y="210"/>
                    </a:lnTo>
                    <a:lnTo>
                      <a:pt x="293" y="16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62" name="Freeform 270">
                <a:extLst>
                  <a:ext uri="{FF2B5EF4-FFF2-40B4-BE49-F238E27FC236}">
                    <a16:creationId xmlns:a16="http://schemas.microsoft.com/office/drawing/2014/main" id="{2CD86E01-1853-4E8D-A184-0641BA714C33}"/>
                  </a:ext>
                </a:extLst>
              </p:cNvPr>
              <p:cNvSpPr>
                <a:spLocks/>
              </p:cNvSpPr>
              <p:nvPr/>
            </p:nvSpPr>
            <p:spPr bwMode="auto">
              <a:xfrm>
                <a:off x="6588125" y="4397375"/>
                <a:ext cx="1046163" cy="1044575"/>
              </a:xfrm>
              <a:custGeom>
                <a:avLst/>
                <a:gdLst>
                  <a:gd name="T0" fmla="*/ 2147483646 w 1316"/>
                  <a:gd name="T1" fmla="*/ 2147483646 h 1318"/>
                  <a:gd name="T2" fmla="*/ 2147483646 w 1316"/>
                  <a:gd name="T3" fmla="*/ 2147483646 h 1318"/>
                  <a:gd name="T4" fmla="*/ 2147483646 w 1316"/>
                  <a:gd name="T5" fmla="*/ 2147483646 h 1318"/>
                  <a:gd name="T6" fmla="*/ 2147483646 w 1316"/>
                  <a:gd name="T7" fmla="*/ 2147483646 h 1318"/>
                  <a:gd name="T8" fmla="*/ 2147483646 w 1316"/>
                  <a:gd name="T9" fmla="*/ 2147483646 h 1318"/>
                  <a:gd name="T10" fmla="*/ 2147483646 w 1316"/>
                  <a:gd name="T11" fmla="*/ 2147483646 h 1318"/>
                  <a:gd name="T12" fmla="*/ 2147483646 w 1316"/>
                  <a:gd name="T13" fmla="*/ 2147483646 h 1318"/>
                  <a:gd name="T14" fmla="*/ 2147483646 w 1316"/>
                  <a:gd name="T15" fmla="*/ 2147483646 h 1318"/>
                  <a:gd name="T16" fmla="*/ 2147483646 w 1316"/>
                  <a:gd name="T17" fmla="*/ 2147483646 h 1318"/>
                  <a:gd name="T18" fmla="*/ 2147483646 w 1316"/>
                  <a:gd name="T19" fmla="*/ 2147483646 h 1318"/>
                  <a:gd name="T20" fmla="*/ 2147483646 w 1316"/>
                  <a:gd name="T21" fmla="*/ 2147483646 h 1318"/>
                  <a:gd name="T22" fmla="*/ 2147483646 w 1316"/>
                  <a:gd name="T23" fmla="*/ 2147483646 h 1318"/>
                  <a:gd name="T24" fmla="*/ 2147483646 w 1316"/>
                  <a:gd name="T25" fmla="*/ 2147483646 h 1318"/>
                  <a:gd name="T26" fmla="*/ 2147483646 w 1316"/>
                  <a:gd name="T27" fmla="*/ 2147483646 h 1318"/>
                  <a:gd name="T28" fmla="*/ 2147483646 w 1316"/>
                  <a:gd name="T29" fmla="*/ 2147483646 h 1318"/>
                  <a:gd name="T30" fmla="*/ 2147483646 w 1316"/>
                  <a:gd name="T31" fmla="*/ 2147483646 h 1318"/>
                  <a:gd name="T32" fmla="*/ 2147483646 w 1316"/>
                  <a:gd name="T33" fmla="*/ 2147483646 h 1318"/>
                  <a:gd name="T34" fmla="*/ 2147483646 w 1316"/>
                  <a:gd name="T35" fmla="*/ 2147483646 h 1318"/>
                  <a:gd name="T36" fmla="*/ 2147483646 w 1316"/>
                  <a:gd name="T37" fmla="*/ 2147483646 h 1318"/>
                  <a:gd name="T38" fmla="*/ 2147483646 w 1316"/>
                  <a:gd name="T39" fmla="*/ 2147483646 h 1318"/>
                  <a:gd name="T40" fmla="*/ 2147483646 w 1316"/>
                  <a:gd name="T41" fmla="*/ 2147483646 h 1318"/>
                  <a:gd name="T42" fmla="*/ 2147483646 w 1316"/>
                  <a:gd name="T43" fmla="*/ 2147483646 h 1318"/>
                  <a:gd name="T44" fmla="*/ 2147483646 w 1316"/>
                  <a:gd name="T45" fmla="*/ 2147483646 h 1318"/>
                  <a:gd name="T46" fmla="*/ 2147483646 w 1316"/>
                  <a:gd name="T47" fmla="*/ 2147483646 h 1318"/>
                  <a:gd name="T48" fmla="*/ 2147483646 w 1316"/>
                  <a:gd name="T49" fmla="*/ 2147483646 h 1318"/>
                  <a:gd name="T50" fmla="*/ 2147483646 w 1316"/>
                  <a:gd name="T51" fmla="*/ 2147483646 h 1318"/>
                  <a:gd name="T52" fmla="*/ 2147483646 w 1316"/>
                  <a:gd name="T53" fmla="*/ 2147483646 h 1318"/>
                  <a:gd name="T54" fmla="*/ 2147483646 w 1316"/>
                  <a:gd name="T55" fmla="*/ 2147483646 h 1318"/>
                  <a:gd name="T56" fmla="*/ 2147483646 w 1316"/>
                  <a:gd name="T57" fmla="*/ 2147483646 h 1318"/>
                  <a:gd name="T58" fmla="*/ 2147483646 w 1316"/>
                  <a:gd name="T59" fmla="*/ 2147483646 h 1318"/>
                  <a:gd name="T60" fmla="*/ 2147483646 w 1316"/>
                  <a:gd name="T61" fmla="*/ 2147483646 h 1318"/>
                  <a:gd name="T62" fmla="*/ 2147483646 w 1316"/>
                  <a:gd name="T63" fmla="*/ 2147483646 h 1318"/>
                  <a:gd name="T64" fmla="*/ 2147483646 w 1316"/>
                  <a:gd name="T65" fmla="*/ 2147483646 h 1318"/>
                  <a:gd name="T66" fmla="*/ 2147483646 w 1316"/>
                  <a:gd name="T67" fmla="*/ 0 h 1318"/>
                  <a:gd name="T68" fmla="*/ 2147483646 w 1316"/>
                  <a:gd name="T69" fmla="*/ 2147483646 h 1318"/>
                  <a:gd name="T70" fmla="*/ 2147483646 w 1316"/>
                  <a:gd name="T71" fmla="*/ 2147483646 h 1318"/>
                  <a:gd name="T72" fmla="*/ 2147483646 w 1316"/>
                  <a:gd name="T73" fmla="*/ 2147483646 h 1318"/>
                  <a:gd name="T74" fmla="*/ 2147483646 w 1316"/>
                  <a:gd name="T75" fmla="*/ 2147483646 h 1318"/>
                  <a:gd name="T76" fmla="*/ 2147483646 w 1316"/>
                  <a:gd name="T77" fmla="*/ 2147483646 h 1318"/>
                  <a:gd name="T78" fmla="*/ 2147483646 w 1316"/>
                  <a:gd name="T79" fmla="*/ 2147483646 h 1318"/>
                  <a:gd name="T80" fmla="*/ 2147483646 w 1316"/>
                  <a:gd name="T81" fmla="*/ 2147483646 h 1318"/>
                  <a:gd name="T82" fmla="*/ 2147483646 w 1316"/>
                  <a:gd name="T83" fmla="*/ 2147483646 h 1318"/>
                  <a:gd name="T84" fmla="*/ 2147483646 w 1316"/>
                  <a:gd name="T85" fmla="*/ 2147483646 h 1318"/>
                  <a:gd name="T86" fmla="*/ 2147483646 w 1316"/>
                  <a:gd name="T87" fmla="*/ 2147483646 h 1318"/>
                  <a:gd name="T88" fmla="*/ 2147483646 w 1316"/>
                  <a:gd name="T89" fmla="*/ 2147483646 h 1318"/>
                  <a:gd name="T90" fmla="*/ 2147483646 w 1316"/>
                  <a:gd name="T91" fmla="*/ 2147483646 h 1318"/>
                  <a:gd name="T92" fmla="*/ 2147483646 w 1316"/>
                  <a:gd name="T93" fmla="*/ 2147483646 h 1318"/>
                  <a:gd name="T94" fmla="*/ 2147483646 w 1316"/>
                  <a:gd name="T95" fmla="*/ 2147483646 h 1318"/>
                  <a:gd name="T96" fmla="*/ 0 w 1316"/>
                  <a:gd name="T97" fmla="*/ 2147483646 h 1318"/>
                  <a:gd name="T98" fmla="*/ 2147483646 w 1316"/>
                  <a:gd name="T99" fmla="*/ 2147483646 h 1318"/>
                  <a:gd name="T100" fmla="*/ 2147483646 w 1316"/>
                  <a:gd name="T101" fmla="*/ 2147483646 h 1318"/>
                  <a:gd name="T102" fmla="*/ 2147483646 w 1316"/>
                  <a:gd name="T103" fmla="*/ 2147483646 h 131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16"/>
                  <a:gd name="T157" fmla="*/ 0 h 1318"/>
                  <a:gd name="T158" fmla="*/ 1316 w 1316"/>
                  <a:gd name="T159" fmla="*/ 1318 h 131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16" h="1318">
                    <a:moveTo>
                      <a:pt x="138" y="1064"/>
                    </a:moveTo>
                    <a:lnTo>
                      <a:pt x="159" y="1090"/>
                    </a:lnTo>
                    <a:lnTo>
                      <a:pt x="180" y="1114"/>
                    </a:lnTo>
                    <a:lnTo>
                      <a:pt x="203" y="1137"/>
                    </a:lnTo>
                    <a:lnTo>
                      <a:pt x="228" y="1159"/>
                    </a:lnTo>
                    <a:lnTo>
                      <a:pt x="253" y="1180"/>
                    </a:lnTo>
                    <a:lnTo>
                      <a:pt x="278" y="1199"/>
                    </a:lnTo>
                    <a:lnTo>
                      <a:pt x="305" y="1217"/>
                    </a:lnTo>
                    <a:lnTo>
                      <a:pt x="332" y="1234"/>
                    </a:lnTo>
                    <a:lnTo>
                      <a:pt x="361" y="1249"/>
                    </a:lnTo>
                    <a:lnTo>
                      <a:pt x="390" y="1263"/>
                    </a:lnTo>
                    <a:lnTo>
                      <a:pt x="420" y="1274"/>
                    </a:lnTo>
                    <a:lnTo>
                      <a:pt x="450" y="1286"/>
                    </a:lnTo>
                    <a:lnTo>
                      <a:pt x="481" y="1295"/>
                    </a:lnTo>
                    <a:lnTo>
                      <a:pt x="512" y="1303"/>
                    </a:lnTo>
                    <a:lnTo>
                      <a:pt x="544" y="1309"/>
                    </a:lnTo>
                    <a:lnTo>
                      <a:pt x="577" y="1313"/>
                    </a:lnTo>
                    <a:lnTo>
                      <a:pt x="609" y="1317"/>
                    </a:lnTo>
                    <a:lnTo>
                      <a:pt x="642" y="1318"/>
                    </a:lnTo>
                    <a:lnTo>
                      <a:pt x="675" y="1318"/>
                    </a:lnTo>
                    <a:lnTo>
                      <a:pt x="707" y="1317"/>
                    </a:lnTo>
                    <a:lnTo>
                      <a:pt x="739" y="1313"/>
                    </a:lnTo>
                    <a:lnTo>
                      <a:pt x="771" y="1309"/>
                    </a:lnTo>
                    <a:lnTo>
                      <a:pt x="802" y="1303"/>
                    </a:lnTo>
                    <a:lnTo>
                      <a:pt x="834" y="1295"/>
                    </a:lnTo>
                    <a:lnTo>
                      <a:pt x="865" y="1286"/>
                    </a:lnTo>
                    <a:lnTo>
                      <a:pt x="895" y="1275"/>
                    </a:lnTo>
                    <a:lnTo>
                      <a:pt x="924" y="1263"/>
                    </a:lnTo>
                    <a:lnTo>
                      <a:pt x="953" y="1249"/>
                    </a:lnTo>
                    <a:lnTo>
                      <a:pt x="982" y="1234"/>
                    </a:lnTo>
                    <a:lnTo>
                      <a:pt x="1010" y="1218"/>
                    </a:lnTo>
                    <a:lnTo>
                      <a:pt x="1036" y="1199"/>
                    </a:lnTo>
                    <a:lnTo>
                      <a:pt x="1063" y="1180"/>
                    </a:lnTo>
                    <a:lnTo>
                      <a:pt x="1113" y="1136"/>
                    </a:lnTo>
                    <a:lnTo>
                      <a:pt x="1159" y="1088"/>
                    </a:lnTo>
                    <a:lnTo>
                      <a:pt x="1199" y="1036"/>
                    </a:lnTo>
                    <a:lnTo>
                      <a:pt x="1233" y="982"/>
                    </a:lnTo>
                    <a:lnTo>
                      <a:pt x="1262" y="924"/>
                    </a:lnTo>
                    <a:lnTo>
                      <a:pt x="1284" y="864"/>
                    </a:lnTo>
                    <a:lnTo>
                      <a:pt x="1301" y="803"/>
                    </a:lnTo>
                    <a:lnTo>
                      <a:pt x="1311" y="741"/>
                    </a:lnTo>
                    <a:lnTo>
                      <a:pt x="1316" y="677"/>
                    </a:lnTo>
                    <a:lnTo>
                      <a:pt x="1315" y="614"/>
                    </a:lnTo>
                    <a:lnTo>
                      <a:pt x="1308" y="551"/>
                    </a:lnTo>
                    <a:lnTo>
                      <a:pt x="1294" y="487"/>
                    </a:lnTo>
                    <a:lnTo>
                      <a:pt x="1275" y="426"/>
                    </a:lnTo>
                    <a:lnTo>
                      <a:pt x="1249" y="366"/>
                    </a:lnTo>
                    <a:lnTo>
                      <a:pt x="1217" y="309"/>
                    </a:lnTo>
                    <a:lnTo>
                      <a:pt x="1178" y="253"/>
                    </a:lnTo>
                    <a:lnTo>
                      <a:pt x="1157" y="228"/>
                    </a:lnTo>
                    <a:lnTo>
                      <a:pt x="1135" y="204"/>
                    </a:lnTo>
                    <a:lnTo>
                      <a:pt x="1112" y="181"/>
                    </a:lnTo>
                    <a:lnTo>
                      <a:pt x="1088" y="159"/>
                    </a:lnTo>
                    <a:lnTo>
                      <a:pt x="1064" y="138"/>
                    </a:lnTo>
                    <a:lnTo>
                      <a:pt x="1037" y="119"/>
                    </a:lnTo>
                    <a:lnTo>
                      <a:pt x="1011" y="101"/>
                    </a:lnTo>
                    <a:lnTo>
                      <a:pt x="983" y="85"/>
                    </a:lnTo>
                    <a:lnTo>
                      <a:pt x="956" y="70"/>
                    </a:lnTo>
                    <a:lnTo>
                      <a:pt x="927" y="56"/>
                    </a:lnTo>
                    <a:lnTo>
                      <a:pt x="897" y="44"/>
                    </a:lnTo>
                    <a:lnTo>
                      <a:pt x="866" y="33"/>
                    </a:lnTo>
                    <a:lnTo>
                      <a:pt x="836" y="24"/>
                    </a:lnTo>
                    <a:lnTo>
                      <a:pt x="804" y="16"/>
                    </a:lnTo>
                    <a:lnTo>
                      <a:pt x="771" y="9"/>
                    </a:lnTo>
                    <a:lnTo>
                      <a:pt x="739" y="5"/>
                    </a:lnTo>
                    <a:lnTo>
                      <a:pt x="707" y="1"/>
                    </a:lnTo>
                    <a:lnTo>
                      <a:pt x="673" y="0"/>
                    </a:lnTo>
                    <a:lnTo>
                      <a:pt x="641" y="0"/>
                    </a:lnTo>
                    <a:lnTo>
                      <a:pt x="609" y="1"/>
                    </a:lnTo>
                    <a:lnTo>
                      <a:pt x="578" y="5"/>
                    </a:lnTo>
                    <a:lnTo>
                      <a:pt x="546" y="9"/>
                    </a:lnTo>
                    <a:lnTo>
                      <a:pt x="514" y="15"/>
                    </a:lnTo>
                    <a:lnTo>
                      <a:pt x="483" y="23"/>
                    </a:lnTo>
                    <a:lnTo>
                      <a:pt x="452" y="32"/>
                    </a:lnTo>
                    <a:lnTo>
                      <a:pt x="422" y="43"/>
                    </a:lnTo>
                    <a:lnTo>
                      <a:pt x="392" y="55"/>
                    </a:lnTo>
                    <a:lnTo>
                      <a:pt x="364" y="69"/>
                    </a:lnTo>
                    <a:lnTo>
                      <a:pt x="335" y="84"/>
                    </a:lnTo>
                    <a:lnTo>
                      <a:pt x="307" y="100"/>
                    </a:lnTo>
                    <a:lnTo>
                      <a:pt x="279" y="119"/>
                    </a:lnTo>
                    <a:lnTo>
                      <a:pt x="253" y="138"/>
                    </a:lnTo>
                    <a:lnTo>
                      <a:pt x="228" y="159"/>
                    </a:lnTo>
                    <a:lnTo>
                      <a:pt x="203" y="181"/>
                    </a:lnTo>
                    <a:lnTo>
                      <a:pt x="180" y="204"/>
                    </a:lnTo>
                    <a:lnTo>
                      <a:pt x="159" y="228"/>
                    </a:lnTo>
                    <a:lnTo>
                      <a:pt x="138" y="253"/>
                    </a:lnTo>
                    <a:lnTo>
                      <a:pt x="118" y="279"/>
                    </a:lnTo>
                    <a:lnTo>
                      <a:pt x="101" y="305"/>
                    </a:lnTo>
                    <a:lnTo>
                      <a:pt x="84" y="333"/>
                    </a:lnTo>
                    <a:lnTo>
                      <a:pt x="69" y="362"/>
                    </a:lnTo>
                    <a:lnTo>
                      <a:pt x="55" y="391"/>
                    </a:lnTo>
                    <a:lnTo>
                      <a:pt x="43" y="421"/>
                    </a:lnTo>
                    <a:lnTo>
                      <a:pt x="32" y="450"/>
                    </a:lnTo>
                    <a:lnTo>
                      <a:pt x="23" y="482"/>
                    </a:lnTo>
                    <a:lnTo>
                      <a:pt x="15" y="514"/>
                    </a:lnTo>
                    <a:lnTo>
                      <a:pt x="9" y="546"/>
                    </a:lnTo>
                    <a:lnTo>
                      <a:pt x="4" y="578"/>
                    </a:lnTo>
                    <a:lnTo>
                      <a:pt x="0" y="644"/>
                    </a:lnTo>
                    <a:lnTo>
                      <a:pt x="1" y="709"/>
                    </a:lnTo>
                    <a:lnTo>
                      <a:pt x="9" y="772"/>
                    </a:lnTo>
                    <a:lnTo>
                      <a:pt x="23" y="834"/>
                    </a:lnTo>
                    <a:lnTo>
                      <a:pt x="42" y="895"/>
                    </a:lnTo>
                    <a:lnTo>
                      <a:pt x="69" y="954"/>
                    </a:lnTo>
                    <a:lnTo>
                      <a:pt x="100" y="1010"/>
                    </a:lnTo>
                    <a:lnTo>
                      <a:pt x="138" y="10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63" name="Freeform 271">
                <a:extLst>
                  <a:ext uri="{FF2B5EF4-FFF2-40B4-BE49-F238E27FC236}">
                    <a16:creationId xmlns:a16="http://schemas.microsoft.com/office/drawing/2014/main" id="{8675EECA-67ED-4618-8C24-1FC4FA47C728}"/>
                  </a:ext>
                </a:extLst>
              </p:cNvPr>
              <p:cNvSpPr>
                <a:spLocks/>
              </p:cNvSpPr>
              <p:nvPr/>
            </p:nvSpPr>
            <p:spPr bwMode="auto">
              <a:xfrm>
                <a:off x="6626225" y="4433888"/>
                <a:ext cx="969963" cy="971550"/>
              </a:xfrm>
              <a:custGeom>
                <a:avLst/>
                <a:gdLst>
                  <a:gd name="T0" fmla="*/ 2147483646 w 1222"/>
                  <a:gd name="T1" fmla="*/ 2147483646 h 1224"/>
                  <a:gd name="T2" fmla="*/ 2147483646 w 1222"/>
                  <a:gd name="T3" fmla="*/ 2147483646 h 1224"/>
                  <a:gd name="T4" fmla="*/ 2147483646 w 1222"/>
                  <a:gd name="T5" fmla="*/ 2147483646 h 1224"/>
                  <a:gd name="T6" fmla="*/ 2147483646 w 1222"/>
                  <a:gd name="T7" fmla="*/ 2147483646 h 1224"/>
                  <a:gd name="T8" fmla="*/ 2147483646 w 1222"/>
                  <a:gd name="T9" fmla="*/ 2147483646 h 1224"/>
                  <a:gd name="T10" fmla="*/ 2147483646 w 1222"/>
                  <a:gd name="T11" fmla="*/ 2147483646 h 1224"/>
                  <a:gd name="T12" fmla="*/ 2147483646 w 1222"/>
                  <a:gd name="T13" fmla="*/ 0 h 1224"/>
                  <a:gd name="T14" fmla="*/ 2147483646 w 1222"/>
                  <a:gd name="T15" fmla="*/ 2147483646 h 1224"/>
                  <a:gd name="T16" fmla="*/ 2147483646 w 1222"/>
                  <a:gd name="T17" fmla="*/ 2147483646 h 1224"/>
                  <a:gd name="T18" fmla="*/ 2147483646 w 1222"/>
                  <a:gd name="T19" fmla="*/ 2147483646 h 1224"/>
                  <a:gd name="T20" fmla="*/ 2147483646 w 1222"/>
                  <a:gd name="T21" fmla="*/ 2147483646 h 1224"/>
                  <a:gd name="T22" fmla="*/ 2147483646 w 1222"/>
                  <a:gd name="T23" fmla="*/ 2147483646 h 1224"/>
                  <a:gd name="T24" fmla="*/ 2147483646 w 1222"/>
                  <a:gd name="T25" fmla="*/ 2147483646 h 1224"/>
                  <a:gd name="T26" fmla="*/ 2147483646 w 1222"/>
                  <a:gd name="T27" fmla="*/ 2147483646 h 1224"/>
                  <a:gd name="T28" fmla="*/ 2147483646 w 1222"/>
                  <a:gd name="T29" fmla="*/ 2147483646 h 1224"/>
                  <a:gd name="T30" fmla="*/ 2147483646 w 1222"/>
                  <a:gd name="T31" fmla="*/ 2147483646 h 1224"/>
                  <a:gd name="T32" fmla="*/ 2147483646 w 1222"/>
                  <a:gd name="T33" fmla="*/ 2147483646 h 1224"/>
                  <a:gd name="T34" fmla="*/ 2147483646 w 1222"/>
                  <a:gd name="T35" fmla="*/ 2147483646 h 1224"/>
                  <a:gd name="T36" fmla="*/ 2147483646 w 1222"/>
                  <a:gd name="T37" fmla="*/ 2147483646 h 1224"/>
                  <a:gd name="T38" fmla="*/ 2147483646 w 1222"/>
                  <a:gd name="T39" fmla="*/ 2147483646 h 1224"/>
                  <a:gd name="T40" fmla="*/ 2147483646 w 1222"/>
                  <a:gd name="T41" fmla="*/ 2147483646 h 1224"/>
                  <a:gd name="T42" fmla="*/ 2147483646 w 1222"/>
                  <a:gd name="T43" fmla="*/ 2147483646 h 1224"/>
                  <a:gd name="T44" fmla="*/ 2147483646 w 1222"/>
                  <a:gd name="T45" fmla="*/ 2147483646 h 1224"/>
                  <a:gd name="T46" fmla="*/ 2147483646 w 1222"/>
                  <a:gd name="T47" fmla="*/ 2147483646 h 1224"/>
                  <a:gd name="T48" fmla="*/ 2147483646 w 1222"/>
                  <a:gd name="T49" fmla="*/ 2147483646 h 1224"/>
                  <a:gd name="T50" fmla="*/ 2147483646 w 1222"/>
                  <a:gd name="T51" fmla="*/ 2147483646 h 1224"/>
                  <a:gd name="T52" fmla="*/ 2147483646 w 1222"/>
                  <a:gd name="T53" fmla="*/ 2147483646 h 1224"/>
                  <a:gd name="T54" fmla="*/ 2147483646 w 1222"/>
                  <a:gd name="T55" fmla="*/ 2147483646 h 1224"/>
                  <a:gd name="T56" fmla="*/ 2147483646 w 1222"/>
                  <a:gd name="T57" fmla="*/ 2147483646 h 1224"/>
                  <a:gd name="T58" fmla="*/ 2147483646 w 1222"/>
                  <a:gd name="T59" fmla="*/ 2147483646 h 1224"/>
                  <a:gd name="T60" fmla="*/ 2147483646 w 1222"/>
                  <a:gd name="T61" fmla="*/ 2147483646 h 1224"/>
                  <a:gd name="T62" fmla="*/ 2147483646 w 1222"/>
                  <a:gd name="T63" fmla="*/ 2147483646 h 1224"/>
                  <a:gd name="T64" fmla="*/ 2147483646 w 1222"/>
                  <a:gd name="T65" fmla="*/ 2147483646 h 1224"/>
                  <a:gd name="T66" fmla="*/ 2147483646 w 1222"/>
                  <a:gd name="T67" fmla="*/ 2147483646 h 1224"/>
                  <a:gd name="T68" fmla="*/ 2147483646 w 1222"/>
                  <a:gd name="T69" fmla="*/ 2147483646 h 1224"/>
                  <a:gd name="T70" fmla="*/ 2147483646 w 1222"/>
                  <a:gd name="T71" fmla="*/ 2147483646 h 1224"/>
                  <a:gd name="T72" fmla="*/ 2147483646 w 1222"/>
                  <a:gd name="T73" fmla="*/ 2147483646 h 1224"/>
                  <a:gd name="T74" fmla="*/ 2147483646 w 1222"/>
                  <a:gd name="T75" fmla="*/ 2147483646 h 1224"/>
                  <a:gd name="T76" fmla="*/ 2147483646 w 1222"/>
                  <a:gd name="T77" fmla="*/ 2147483646 h 1224"/>
                  <a:gd name="T78" fmla="*/ 2147483646 w 1222"/>
                  <a:gd name="T79" fmla="*/ 2147483646 h 1224"/>
                  <a:gd name="T80" fmla="*/ 2147483646 w 1222"/>
                  <a:gd name="T81" fmla="*/ 2147483646 h 1224"/>
                  <a:gd name="T82" fmla="*/ 2147483646 w 1222"/>
                  <a:gd name="T83" fmla="*/ 2147483646 h 1224"/>
                  <a:gd name="T84" fmla="*/ 2147483646 w 1222"/>
                  <a:gd name="T85" fmla="*/ 2147483646 h 1224"/>
                  <a:gd name="T86" fmla="*/ 0 w 1222"/>
                  <a:gd name="T87" fmla="*/ 2147483646 h 1224"/>
                  <a:gd name="T88" fmla="*/ 2147483646 w 1222"/>
                  <a:gd name="T89" fmla="*/ 2147483646 h 1224"/>
                  <a:gd name="T90" fmla="*/ 2147483646 w 1222"/>
                  <a:gd name="T91" fmla="*/ 2147483646 h 1224"/>
                  <a:gd name="T92" fmla="*/ 2147483646 w 1222"/>
                  <a:gd name="T93" fmla="*/ 2147483646 h 1224"/>
                  <a:gd name="T94" fmla="*/ 2147483646 w 1222"/>
                  <a:gd name="T95" fmla="*/ 2147483646 h 1224"/>
                  <a:gd name="T96" fmla="*/ 2147483646 w 1222"/>
                  <a:gd name="T97" fmla="*/ 2147483646 h 1224"/>
                  <a:gd name="T98" fmla="*/ 2147483646 w 1222"/>
                  <a:gd name="T99" fmla="*/ 2147483646 h 1224"/>
                  <a:gd name="T100" fmla="*/ 2147483646 w 1222"/>
                  <a:gd name="T101" fmla="*/ 2147483646 h 1224"/>
                  <a:gd name="T102" fmla="*/ 2147483646 w 1222"/>
                  <a:gd name="T103" fmla="*/ 2147483646 h 12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22"/>
                  <a:gd name="T157" fmla="*/ 0 h 1224"/>
                  <a:gd name="T158" fmla="*/ 1222 w 1222"/>
                  <a:gd name="T159" fmla="*/ 1224 h 12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22" h="1224">
                    <a:moveTo>
                      <a:pt x="236" y="129"/>
                    </a:moveTo>
                    <a:lnTo>
                      <a:pt x="260" y="111"/>
                    </a:lnTo>
                    <a:lnTo>
                      <a:pt x="285" y="95"/>
                    </a:lnTo>
                    <a:lnTo>
                      <a:pt x="311" y="79"/>
                    </a:lnTo>
                    <a:lnTo>
                      <a:pt x="337" y="65"/>
                    </a:lnTo>
                    <a:lnTo>
                      <a:pt x="365" y="52"/>
                    </a:lnTo>
                    <a:lnTo>
                      <a:pt x="393" y="41"/>
                    </a:lnTo>
                    <a:lnTo>
                      <a:pt x="420" y="30"/>
                    </a:lnTo>
                    <a:lnTo>
                      <a:pt x="449" y="22"/>
                    </a:lnTo>
                    <a:lnTo>
                      <a:pt x="478" y="15"/>
                    </a:lnTo>
                    <a:lnTo>
                      <a:pt x="507" y="9"/>
                    </a:lnTo>
                    <a:lnTo>
                      <a:pt x="537" y="5"/>
                    </a:lnTo>
                    <a:lnTo>
                      <a:pt x="565" y="1"/>
                    </a:lnTo>
                    <a:lnTo>
                      <a:pt x="595" y="0"/>
                    </a:lnTo>
                    <a:lnTo>
                      <a:pt x="626" y="0"/>
                    </a:lnTo>
                    <a:lnTo>
                      <a:pt x="656" y="1"/>
                    </a:lnTo>
                    <a:lnTo>
                      <a:pt x="686" y="5"/>
                    </a:lnTo>
                    <a:lnTo>
                      <a:pt x="716" y="9"/>
                    </a:lnTo>
                    <a:lnTo>
                      <a:pt x="746" y="15"/>
                    </a:lnTo>
                    <a:lnTo>
                      <a:pt x="775" y="23"/>
                    </a:lnTo>
                    <a:lnTo>
                      <a:pt x="804" y="31"/>
                    </a:lnTo>
                    <a:lnTo>
                      <a:pt x="833" y="42"/>
                    </a:lnTo>
                    <a:lnTo>
                      <a:pt x="860" y="53"/>
                    </a:lnTo>
                    <a:lnTo>
                      <a:pt x="887" y="66"/>
                    </a:lnTo>
                    <a:lnTo>
                      <a:pt x="913" y="80"/>
                    </a:lnTo>
                    <a:lnTo>
                      <a:pt x="939" y="96"/>
                    </a:lnTo>
                    <a:lnTo>
                      <a:pt x="963" y="112"/>
                    </a:lnTo>
                    <a:lnTo>
                      <a:pt x="987" y="129"/>
                    </a:lnTo>
                    <a:lnTo>
                      <a:pt x="1010" y="149"/>
                    </a:lnTo>
                    <a:lnTo>
                      <a:pt x="1032" y="168"/>
                    </a:lnTo>
                    <a:lnTo>
                      <a:pt x="1054" y="190"/>
                    </a:lnTo>
                    <a:lnTo>
                      <a:pt x="1073" y="212"/>
                    </a:lnTo>
                    <a:lnTo>
                      <a:pt x="1093" y="236"/>
                    </a:lnTo>
                    <a:lnTo>
                      <a:pt x="1129" y="287"/>
                    </a:lnTo>
                    <a:lnTo>
                      <a:pt x="1159" y="341"/>
                    </a:lnTo>
                    <a:lnTo>
                      <a:pt x="1183" y="397"/>
                    </a:lnTo>
                    <a:lnTo>
                      <a:pt x="1201" y="454"/>
                    </a:lnTo>
                    <a:lnTo>
                      <a:pt x="1214" y="512"/>
                    </a:lnTo>
                    <a:lnTo>
                      <a:pt x="1221" y="571"/>
                    </a:lnTo>
                    <a:lnTo>
                      <a:pt x="1222" y="629"/>
                    </a:lnTo>
                    <a:lnTo>
                      <a:pt x="1217" y="688"/>
                    </a:lnTo>
                    <a:lnTo>
                      <a:pt x="1207" y="746"/>
                    </a:lnTo>
                    <a:lnTo>
                      <a:pt x="1191" y="802"/>
                    </a:lnTo>
                    <a:lnTo>
                      <a:pt x="1170" y="857"/>
                    </a:lnTo>
                    <a:lnTo>
                      <a:pt x="1144" y="910"/>
                    </a:lnTo>
                    <a:lnTo>
                      <a:pt x="1112" y="961"/>
                    </a:lnTo>
                    <a:lnTo>
                      <a:pt x="1076" y="1009"/>
                    </a:lnTo>
                    <a:lnTo>
                      <a:pt x="1033" y="1054"/>
                    </a:lnTo>
                    <a:lnTo>
                      <a:pt x="986" y="1095"/>
                    </a:lnTo>
                    <a:lnTo>
                      <a:pt x="962" y="1113"/>
                    </a:lnTo>
                    <a:lnTo>
                      <a:pt x="936" y="1129"/>
                    </a:lnTo>
                    <a:lnTo>
                      <a:pt x="911" y="1145"/>
                    </a:lnTo>
                    <a:lnTo>
                      <a:pt x="884" y="1159"/>
                    </a:lnTo>
                    <a:lnTo>
                      <a:pt x="858" y="1172"/>
                    </a:lnTo>
                    <a:lnTo>
                      <a:pt x="830" y="1183"/>
                    </a:lnTo>
                    <a:lnTo>
                      <a:pt x="801" y="1194"/>
                    </a:lnTo>
                    <a:lnTo>
                      <a:pt x="774" y="1202"/>
                    </a:lnTo>
                    <a:lnTo>
                      <a:pt x="745" y="1209"/>
                    </a:lnTo>
                    <a:lnTo>
                      <a:pt x="716" y="1214"/>
                    </a:lnTo>
                    <a:lnTo>
                      <a:pt x="686" y="1219"/>
                    </a:lnTo>
                    <a:lnTo>
                      <a:pt x="656" y="1223"/>
                    </a:lnTo>
                    <a:lnTo>
                      <a:pt x="626" y="1224"/>
                    </a:lnTo>
                    <a:lnTo>
                      <a:pt x="596" y="1224"/>
                    </a:lnTo>
                    <a:lnTo>
                      <a:pt x="567" y="1223"/>
                    </a:lnTo>
                    <a:lnTo>
                      <a:pt x="537" y="1219"/>
                    </a:lnTo>
                    <a:lnTo>
                      <a:pt x="507" y="1214"/>
                    </a:lnTo>
                    <a:lnTo>
                      <a:pt x="477" y="1209"/>
                    </a:lnTo>
                    <a:lnTo>
                      <a:pt x="447" y="1202"/>
                    </a:lnTo>
                    <a:lnTo>
                      <a:pt x="418" y="1193"/>
                    </a:lnTo>
                    <a:lnTo>
                      <a:pt x="390" y="1182"/>
                    </a:lnTo>
                    <a:lnTo>
                      <a:pt x="363" y="1171"/>
                    </a:lnTo>
                    <a:lnTo>
                      <a:pt x="336" y="1158"/>
                    </a:lnTo>
                    <a:lnTo>
                      <a:pt x="310" y="1144"/>
                    </a:lnTo>
                    <a:lnTo>
                      <a:pt x="284" y="1129"/>
                    </a:lnTo>
                    <a:lnTo>
                      <a:pt x="259" y="1112"/>
                    </a:lnTo>
                    <a:lnTo>
                      <a:pt x="235" y="1095"/>
                    </a:lnTo>
                    <a:lnTo>
                      <a:pt x="212" y="1075"/>
                    </a:lnTo>
                    <a:lnTo>
                      <a:pt x="190" y="1056"/>
                    </a:lnTo>
                    <a:lnTo>
                      <a:pt x="168" y="1034"/>
                    </a:lnTo>
                    <a:lnTo>
                      <a:pt x="148" y="1012"/>
                    </a:lnTo>
                    <a:lnTo>
                      <a:pt x="129" y="988"/>
                    </a:lnTo>
                    <a:lnTo>
                      <a:pt x="94" y="938"/>
                    </a:lnTo>
                    <a:lnTo>
                      <a:pt x="64" y="886"/>
                    </a:lnTo>
                    <a:lnTo>
                      <a:pt x="40" y="831"/>
                    </a:lnTo>
                    <a:lnTo>
                      <a:pt x="22" y="774"/>
                    </a:lnTo>
                    <a:lnTo>
                      <a:pt x="9" y="717"/>
                    </a:lnTo>
                    <a:lnTo>
                      <a:pt x="1" y="658"/>
                    </a:lnTo>
                    <a:lnTo>
                      <a:pt x="0" y="597"/>
                    </a:lnTo>
                    <a:lnTo>
                      <a:pt x="4" y="537"/>
                    </a:lnTo>
                    <a:lnTo>
                      <a:pt x="9" y="507"/>
                    </a:lnTo>
                    <a:lnTo>
                      <a:pt x="15" y="477"/>
                    </a:lnTo>
                    <a:lnTo>
                      <a:pt x="22" y="447"/>
                    </a:lnTo>
                    <a:lnTo>
                      <a:pt x="31" y="418"/>
                    </a:lnTo>
                    <a:lnTo>
                      <a:pt x="41" y="391"/>
                    </a:lnTo>
                    <a:lnTo>
                      <a:pt x="53" y="363"/>
                    </a:lnTo>
                    <a:lnTo>
                      <a:pt x="65" y="337"/>
                    </a:lnTo>
                    <a:lnTo>
                      <a:pt x="79" y="310"/>
                    </a:lnTo>
                    <a:lnTo>
                      <a:pt x="94" y="285"/>
                    </a:lnTo>
                    <a:lnTo>
                      <a:pt x="112" y="259"/>
                    </a:lnTo>
                    <a:lnTo>
                      <a:pt x="129" y="235"/>
                    </a:lnTo>
                    <a:lnTo>
                      <a:pt x="148" y="212"/>
                    </a:lnTo>
                    <a:lnTo>
                      <a:pt x="168" y="190"/>
                    </a:lnTo>
                    <a:lnTo>
                      <a:pt x="190" y="168"/>
                    </a:lnTo>
                    <a:lnTo>
                      <a:pt x="212" y="149"/>
                    </a:lnTo>
                    <a:lnTo>
                      <a:pt x="236" y="1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64" name="Freeform 272">
                <a:extLst>
                  <a:ext uri="{FF2B5EF4-FFF2-40B4-BE49-F238E27FC236}">
                    <a16:creationId xmlns:a16="http://schemas.microsoft.com/office/drawing/2014/main" id="{0F6E28DB-449A-4FD4-A371-EBA2F51EBEB0}"/>
                  </a:ext>
                </a:extLst>
              </p:cNvPr>
              <p:cNvSpPr>
                <a:spLocks/>
              </p:cNvSpPr>
              <p:nvPr/>
            </p:nvSpPr>
            <p:spPr bwMode="auto">
              <a:xfrm>
                <a:off x="6203950" y="5229225"/>
                <a:ext cx="474663" cy="457200"/>
              </a:xfrm>
              <a:custGeom>
                <a:avLst/>
                <a:gdLst>
                  <a:gd name="T0" fmla="*/ 2147483646 w 597"/>
                  <a:gd name="T1" fmla="*/ 2147483646 h 576"/>
                  <a:gd name="T2" fmla="*/ 2147483646 w 597"/>
                  <a:gd name="T3" fmla="*/ 2147483646 h 576"/>
                  <a:gd name="T4" fmla="*/ 2147483646 w 597"/>
                  <a:gd name="T5" fmla="*/ 2147483646 h 576"/>
                  <a:gd name="T6" fmla="*/ 2147483646 w 597"/>
                  <a:gd name="T7" fmla="*/ 2147483646 h 576"/>
                  <a:gd name="T8" fmla="*/ 2147483646 w 597"/>
                  <a:gd name="T9" fmla="*/ 2147483646 h 576"/>
                  <a:gd name="T10" fmla="*/ 2147483646 w 597"/>
                  <a:gd name="T11" fmla="*/ 2147483646 h 576"/>
                  <a:gd name="T12" fmla="*/ 2147483646 w 597"/>
                  <a:gd name="T13" fmla="*/ 2147483646 h 576"/>
                  <a:gd name="T14" fmla="*/ 2147483646 w 597"/>
                  <a:gd name="T15" fmla="*/ 0 h 576"/>
                  <a:gd name="T16" fmla="*/ 2147483646 w 597"/>
                  <a:gd name="T17" fmla="*/ 2147483646 h 576"/>
                  <a:gd name="T18" fmla="*/ 2147483646 w 597"/>
                  <a:gd name="T19" fmla="*/ 2147483646 h 576"/>
                  <a:gd name="T20" fmla="*/ 2147483646 w 597"/>
                  <a:gd name="T21" fmla="*/ 2147483646 h 576"/>
                  <a:gd name="T22" fmla="*/ 0 w 597"/>
                  <a:gd name="T23" fmla="*/ 2147483646 h 576"/>
                  <a:gd name="T24" fmla="*/ 0 w 597"/>
                  <a:gd name="T25" fmla="*/ 2147483646 h 576"/>
                  <a:gd name="T26" fmla="*/ 2147483646 w 597"/>
                  <a:gd name="T27" fmla="*/ 2147483646 h 576"/>
                  <a:gd name="T28" fmla="*/ 2147483646 w 597"/>
                  <a:gd name="T29" fmla="*/ 2147483646 h 576"/>
                  <a:gd name="T30" fmla="*/ 2147483646 w 597"/>
                  <a:gd name="T31" fmla="*/ 2147483646 h 576"/>
                  <a:gd name="T32" fmla="*/ 2147483646 w 597"/>
                  <a:gd name="T33" fmla="*/ 2147483646 h 576"/>
                  <a:gd name="T34" fmla="*/ 2147483646 w 597"/>
                  <a:gd name="T35" fmla="*/ 2147483646 h 576"/>
                  <a:gd name="T36" fmla="*/ 2147483646 w 597"/>
                  <a:gd name="T37" fmla="*/ 2147483646 h 576"/>
                  <a:gd name="T38" fmla="*/ 2147483646 w 597"/>
                  <a:gd name="T39" fmla="*/ 2147483646 h 5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7"/>
                  <a:gd name="T61" fmla="*/ 0 h 576"/>
                  <a:gd name="T62" fmla="*/ 597 w 597"/>
                  <a:gd name="T63" fmla="*/ 576 h 57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7" h="576">
                    <a:moveTo>
                      <a:pt x="422" y="440"/>
                    </a:moveTo>
                    <a:lnTo>
                      <a:pt x="367" y="369"/>
                    </a:lnTo>
                    <a:lnTo>
                      <a:pt x="597" y="190"/>
                    </a:lnTo>
                    <a:lnTo>
                      <a:pt x="568" y="152"/>
                    </a:lnTo>
                    <a:lnTo>
                      <a:pt x="337" y="331"/>
                    </a:lnTo>
                    <a:lnTo>
                      <a:pt x="244" y="211"/>
                    </a:lnTo>
                    <a:lnTo>
                      <a:pt x="477" y="38"/>
                    </a:lnTo>
                    <a:lnTo>
                      <a:pt x="447" y="0"/>
                    </a:lnTo>
                    <a:lnTo>
                      <a:pt x="215" y="173"/>
                    </a:lnTo>
                    <a:lnTo>
                      <a:pt x="160" y="103"/>
                    </a:lnTo>
                    <a:lnTo>
                      <a:pt x="141" y="118"/>
                    </a:lnTo>
                    <a:lnTo>
                      <a:pt x="0" y="233"/>
                    </a:lnTo>
                    <a:lnTo>
                      <a:pt x="0" y="293"/>
                    </a:lnTo>
                    <a:lnTo>
                      <a:pt x="152" y="171"/>
                    </a:lnTo>
                    <a:lnTo>
                      <a:pt x="329" y="398"/>
                    </a:lnTo>
                    <a:lnTo>
                      <a:pt x="354" y="432"/>
                    </a:lnTo>
                    <a:lnTo>
                      <a:pt x="170" y="576"/>
                    </a:lnTo>
                    <a:lnTo>
                      <a:pt x="247" y="576"/>
                    </a:lnTo>
                    <a:lnTo>
                      <a:pt x="422" y="4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65" name="Freeform 273">
                <a:extLst>
                  <a:ext uri="{FF2B5EF4-FFF2-40B4-BE49-F238E27FC236}">
                    <a16:creationId xmlns:a16="http://schemas.microsoft.com/office/drawing/2014/main" id="{7BF41A1A-2E89-43E8-B8EE-F07425101E91}"/>
                  </a:ext>
                </a:extLst>
              </p:cNvPr>
              <p:cNvSpPr>
                <a:spLocks/>
              </p:cNvSpPr>
              <p:nvPr/>
            </p:nvSpPr>
            <p:spPr bwMode="auto">
              <a:xfrm>
                <a:off x="6634163" y="4608513"/>
                <a:ext cx="195263" cy="234950"/>
              </a:xfrm>
              <a:custGeom>
                <a:avLst/>
                <a:gdLst>
                  <a:gd name="T0" fmla="*/ 2147483646 w 246"/>
                  <a:gd name="T1" fmla="*/ 2147483646 h 296"/>
                  <a:gd name="T2" fmla="*/ 2147483646 w 246"/>
                  <a:gd name="T3" fmla="*/ 2147483646 h 296"/>
                  <a:gd name="T4" fmla="*/ 2147483646 w 246"/>
                  <a:gd name="T5" fmla="*/ 2147483646 h 296"/>
                  <a:gd name="T6" fmla="*/ 2147483646 w 246"/>
                  <a:gd name="T7" fmla="*/ 2147483646 h 296"/>
                  <a:gd name="T8" fmla="*/ 2147483646 w 246"/>
                  <a:gd name="T9" fmla="*/ 2147483646 h 296"/>
                  <a:gd name="T10" fmla="*/ 2147483646 w 246"/>
                  <a:gd name="T11" fmla="*/ 2147483646 h 296"/>
                  <a:gd name="T12" fmla="*/ 2147483646 w 246"/>
                  <a:gd name="T13" fmla="*/ 2147483646 h 296"/>
                  <a:gd name="T14" fmla="*/ 2147483646 w 246"/>
                  <a:gd name="T15" fmla="*/ 2147483646 h 296"/>
                  <a:gd name="T16" fmla="*/ 2147483646 w 246"/>
                  <a:gd name="T17" fmla="*/ 2147483646 h 296"/>
                  <a:gd name="T18" fmla="*/ 2147483646 w 246"/>
                  <a:gd name="T19" fmla="*/ 2147483646 h 296"/>
                  <a:gd name="T20" fmla="*/ 2147483646 w 246"/>
                  <a:gd name="T21" fmla="*/ 2147483646 h 296"/>
                  <a:gd name="T22" fmla="*/ 2147483646 w 246"/>
                  <a:gd name="T23" fmla="*/ 2147483646 h 296"/>
                  <a:gd name="T24" fmla="*/ 2147483646 w 246"/>
                  <a:gd name="T25" fmla="*/ 0 h 296"/>
                  <a:gd name="T26" fmla="*/ 2147483646 w 246"/>
                  <a:gd name="T27" fmla="*/ 2147483646 h 296"/>
                  <a:gd name="T28" fmla="*/ 2147483646 w 246"/>
                  <a:gd name="T29" fmla="*/ 2147483646 h 296"/>
                  <a:gd name="T30" fmla="*/ 2147483646 w 246"/>
                  <a:gd name="T31" fmla="*/ 2147483646 h 296"/>
                  <a:gd name="T32" fmla="*/ 2147483646 w 246"/>
                  <a:gd name="T33" fmla="*/ 2147483646 h 296"/>
                  <a:gd name="T34" fmla="*/ 2147483646 w 246"/>
                  <a:gd name="T35" fmla="*/ 2147483646 h 296"/>
                  <a:gd name="T36" fmla="*/ 2147483646 w 246"/>
                  <a:gd name="T37" fmla="*/ 2147483646 h 296"/>
                  <a:gd name="T38" fmla="*/ 2147483646 w 246"/>
                  <a:gd name="T39" fmla="*/ 2147483646 h 296"/>
                  <a:gd name="T40" fmla="*/ 2147483646 w 246"/>
                  <a:gd name="T41" fmla="*/ 2147483646 h 296"/>
                  <a:gd name="T42" fmla="*/ 2147483646 w 246"/>
                  <a:gd name="T43" fmla="*/ 2147483646 h 296"/>
                  <a:gd name="T44" fmla="*/ 2147483646 w 246"/>
                  <a:gd name="T45" fmla="*/ 2147483646 h 296"/>
                  <a:gd name="T46" fmla="*/ 2147483646 w 246"/>
                  <a:gd name="T47" fmla="*/ 2147483646 h 296"/>
                  <a:gd name="T48" fmla="*/ 2147483646 w 246"/>
                  <a:gd name="T49" fmla="*/ 2147483646 h 296"/>
                  <a:gd name="T50" fmla="*/ 2147483646 w 246"/>
                  <a:gd name="T51" fmla="*/ 2147483646 h 296"/>
                  <a:gd name="T52" fmla="*/ 2147483646 w 246"/>
                  <a:gd name="T53" fmla="*/ 2147483646 h 296"/>
                  <a:gd name="T54" fmla="*/ 2147483646 w 246"/>
                  <a:gd name="T55" fmla="*/ 2147483646 h 296"/>
                  <a:gd name="T56" fmla="*/ 2147483646 w 246"/>
                  <a:gd name="T57" fmla="*/ 2147483646 h 296"/>
                  <a:gd name="T58" fmla="*/ 2147483646 w 246"/>
                  <a:gd name="T59" fmla="*/ 2147483646 h 296"/>
                  <a:gd name="T60" fmla="*/ 2147483646 w 246"/>
                  <a:gd name="T61" fmla="*/ 2147483646 h 296"/>
                  <a:gd name="T62" fmla="*/ 2147483646 w 246"/>
                  <a:gd name="T63" fmla="*/ 2147483646 h 296"/>
                  <a:gd name="T64" fmla="*/ 2147483646 w 246"/>
                  <a:gd name="T65" fmla="*/ 2147483646 h 296"/>
                  <a:gd name="T66" fmla="*/ 2147483646 w 246"/>
                  <a:gd name="T67" fmla="*/ 2147483646 h 296"/>
                  <a:gd name="T68" fmla="*/ 2147483646 w 246"/>
                  <a:gd name="T69" fmla="*/ 2147483646 h 296"/>
                  <a:gd name="T70" fmla="*/ 2147483646 w 246"/>
                  <a:gd name="T71" fmla="*/ 2147483646 h 296"/>
                  <a:gd name="T72" fmla="*/ 2147483646 w 246"/>
                  <a:gd name="T73" fmla="*/ 2147483646 h 296"/>
                  <a:gd name="T74" fmla="*/ 2147483646 w 246"/>
                  <a:gd name="T75" fmla="*/ 2147483646 h 296"/>
                  <a:gd name="T76" fmla="*/ 2147483646 w 246"/>
                  <a:gd name="T77" fmla="*/ 2147483646 h 296"/>
                  <a:gd name="T78" fmla="*/ 2147483646 w 246"/>
                  <a:gd name="T79" fmla="*/ 2147483646 h 296"/>
                  <a:gd name="T80" fmla="*/ 2147483646 w 246"/>
                  <a:gd name="T81" fmla="*/ 2147483646 h 296"/>
                  <a:gd name="T82" fmla="*/ 2147483646 w 246"/>
                  <a:gd name="T83" fmla="*/ 2147483646 h 296"/>
                  <a:gd name="T84" fmla="*/ 2147483646 w 246"/>
                  <a:gd name="T85" fmla="*/ 2147483646 h 296"/>
                  <a:gd name="T86" fmla="*/ 2147483646 w 246"/>
                  <a:gd name="T87" fmla="*/ 2147483646 h 296"/>
                  <a:gd name="T88" fmla="*/ 2147483646 w 246"/>
                  <a:gd name="T89" fmla="*/ 2147483646 h 296"/>
                  <a:gd name="T90" fmla="*/ 2147483646 w 246"/>
                  <a:gd name="T91" fmla="*/ 2147483646 h 296"/>
                  <a:gd name="T92" fmla="*/ 2147483646 w 246"/>
                  <a:gd name="T93" fmla="*/ 2147483646 h 296"/>
                  <a:gd name="T94" fmla="*/ 2147483646 w 246"/>
                  <a:gd name="T95" fmla="*/ 2147483646 h 296"/>
                  <a:gd name="T96" fmla="*/ 2147483646 w 246"/>
                  <a:gd name="T97" fmla="*/ 2147483646 h 296"/>
                  <a:gd name="T98" fmla="*/ 0 w 246"/>
                  <a:gd name="T99" fmla="*/ 2147483646 h 296"/>
                  <a:gd name="T100" fmla="*/ 2147483646 w 246"/>
                  <a:gd name="T101" fmla="*/ 2147483646 h 296"/>
                  <a:gd name="T102" fmla="*/ 2147483646 w 246"/>
                  <a:gd name="T103" fmla="*/ 2147483646 h 296"/>
                  <a:gd name="T104" fmla="*/ 2147483646 w 246"/>
                  <a:gd name="T105" fmla="*/ 2147483646 h 296"/>
                  <a:gd name="T106" fmla="*/ 2147483646 w 246"/>
                  <a:gd name="T107" fmla="*/ 2147483646 h 296"/>
                  <a:gd name="T108" fmla="*/ 2147483646 w 246"/>
                  <a:gd name="T109" fmla="*/ 2147483646 h 296"/>
                  <a:gd name="T110" fmla="*/ 2147483646 w 246"/>
                  <a:gd name="T111" fmla="*/ 2147483646 h 296"/>
                  <a:gd name="T112" fmla="*/ 2147483646 w 246"/>
                  <a:gd name="T113" fmla="*/ 2147483646 h 296"/>
                  <a:gd name="T114" fmla="*/ 2147483646 w 246"/>
                  <a:gd name="T115" fmla="*/ 2147483646 h 29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6"/>
                  <a:gd name="T175" fmla="*/ 0 h 296"/>
                  <a:gd name="T176" fmla="*/ 246 w 246"/>
                  <a:gd name="T177" fmla="*/ 296 h 29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6" h="296">
                    <a:moveTo>
                      <a:pt x="105" y="287"/>
                    </a:moveTo>
                    <a:lnTo>
                      <a:pt x="114" y="283"/>
                    </a:lnTo>
                    <a:lnTo>
                      <a:pt x="123" y="277"/>
                    </a:lnTo>
                    <a:lnTo>
                      <a:pt x="133" y="270"/>
                    </a:lnTo>
                    <a:lnTo>
                      <a:pt x="140" y="263"/>
                    </a:lnTo>
                    <a:lnTo>
                      <a:pt x="146" y="255"/>
                    </a:lnTo>
                    <a:lnTo>
                      <a:pt x="151" y="247"/>
                    </a:lnTo>
                    <a:lnTo>
                      <a:pt x="156" y="238"/>
                    </a:lnTo>
                    <a:lnTo>
                      <a:pt x="158" y="227"/>
                    </a:lnTo>
                    <a:lnTo>
                      <a:pt x="170" y="251"/>
                    </a:lnTo>
                    <a:lnTo>
                      <a:pt x="246" y="218"/>
                    </a:lnTo>
                    <a:lnTo>
                      <a:pt x="152" y="0"/>
                    </a:lnTo>
                    <a:lnTo>
                      <a:pt x="121" y="14"/>
                    </a:lnTo>
                    <a:lnTo>
                      <a:pt x="112" y="26"/>
                    </a:lnTo>
                    <a:lnTo>
                      <a:pt x="103" y="37"/>
                    </a:lnTo>
                    <a:lnTo>
                      <a:pt x="95" y="49"/>
                    </a:lnTo>
                    <a:lnTo>
                      <a:pt x="87" y="61"/>
                    </a:lnTo>
                    <a:lnTo>
                      <a:pt x="79" y="74"/>
                    </a:lnTo>
                    <a:lnTo>
                      <a:pt x="70" y="87"/>
                    </a:lnTo>
                    <a:lnTo>
                      <a:pt x="64" y="99"/>
                    </a:lnTo>
                    <a:lnTo>
                      <a:pt x="57" y="112"/>
                    </a:lnTo>
                    <a:lnTo>
                      <a:pt x="68" y="110"/>
                    </a:lnTo>
                    <a:lnTo>
                      <a:pt x="79" y="109"/>
                    </a:lnTo>
                    <a:lnTo>
                      <a:pt x="88" y="110"/>
                    </a:lnTo>
                    <a:lnTo>
                      <a:pt x="98" y="113"/>
                    </a:lnTo>
                    <a:lnTo>
                      <a:pt x="106" y="118"/>
                    </a:lnTo>
                    <a:lnTo>
                      <a:pt x="113" y="125"/>
                    </a:lnTo>
                    <a:lnTo>
                      <a:pt x="120" y="132"/>
                    </a:lnTo>
                    <a:lnTo>
                      <a:pt x="125" y="141"/>
                    </a:lnTo>
                    <a:lnTo>
                      <a:pt x="128" y="151"/>
                    </a:lnTo>
                    <a:lnTo>
                      <a:pt x="129" y="162"/>
                    </a:lnTo>
                    <a:lnTo>
                      <a:pt x="129" y="172"/>
                    </a:lnTo>
                    <a:lnTo>
                      <a:pt x="126" y="181"/>
                    </a:lnTo>
                    <a:lnTo>
                      <a:pt x="121" y="190"/>
                    </a:lnTo>
                    <a:lnTo>
                      <a:pt x="115" y="198"/>
                    </a:lnTo>
                    <a:lnTo>
                      <a:pt x="106" y="205"/>
                    </a:lnTo>
                    <a:lnTo>
                      <a:pt x="96" y="211"/>
                    </a:lnTo>
                    <a:lnTo>
                      <a:pt x="84" y="215"/>
                    </a:lnTo>
                    <a:lnTo>
                      <a:pt x="74" y="217"/>
                    </a:lnTo>
                    <a:lnTo>
                      <a:pt x="64" y="216"/>
                    </a:lnTo>
                    <a:lnTo>
                      <a:pt x="54" y="213"/>
                    </a:lnTo>
                    <a:lnTo>
                      <a:pt x="45" y="209"/>
                    </a:lnTo>
                    <a:lnTo>
                      <a:pt x="37" y="202"/>
                    </a:lnTo>
                    <a:lnTo>
                      <a:pt x="31" y="194"/>
                    </a:lnTo>
                    <a:lnTo>
                      <a:pt x="26" y="185"/>
                    </a:lnTo>
                    <a:lnTo>
                      <a:pt x="17" y="208"/>
                    </a:lnTo>
                    <a:lnTo>
                      <a:pt x="12" y="232"/>
                    </a:lnTo>
                    <a:lnTo>
                      <a:pt x="5" y="256"/>
                    </a:lnTo>
                    <a:lnTo>
                      <a:pt x="0" y="280"/>
                    </a:lnTo>
                    <a:lnTo>
                      <a:pt x="12" y="286"/>
                    </a:lnTo>
                    <a:lnTo>
                      <a:pt x="24" y="292"/>
                    </a:lnTo>
                    <a:lnTo>
                      <a:pt x="37" y="295"/>
                    </a:lnTo>
                    <a:lnTo>
                      <a:pt x="51" y="296"/>
                    </a:lnTo>
                    <a:lnTo>
                      <a:pt x="65" y="296"/>
                    </a:lnTo>
                    <a:lnTo>
                      <a:pt x="79" y="295"/>
                    </a:lnTo>
                    <a:lnTo>
                      <a:pt x="91" y="292"/>
                    </a:lnTo>
                    <a:lnTo>
                      <a:pt x="105" y="2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66" name="Freeform 274">
                <a:extLst>
                  <a:ext uri="{FF2B5EF4-FFF2-40B4-BE49-F238E27FC236}">
                    <a16:creationId xmlns:a16="http://schemas.microsoft.com/office/drawing/2014/main" id="{0AF2C943-5984-495E-B8D0-D0C6EAE5E27A}"/>
                  </a:ext>
                </a:extLst>
              </p:cNvPr>
              <p:cNvSpPr>
                <a:spLocks/>
              </p:cNvSpPr>
              <p:nvPr/>
            </p:nvSpPr>
            <p:spPr bwMode="auto">
              <a:xfrm>
                <a:off x="6813550" y="4457700"/>
                <a:ext cx="247650" cy="285750"/>
              </a:xfrm>
              <a:custGeom>
                <a:avLst/>
                <a:gdLst>
                  <a:gd name="T0" fmla="*/ 2147483646 w 312"/>
                  <a:gd name="T1" fmla="*/ 2147483646 h 361"/>
                  <a:gd name="T2" fmla="*/ 2147483646 w 312"/>
                  <a:gd name="T3" fmla="*/ 2147483646 h 361"/>
                  <a:gd name="T4" fmla="*/ 2147483646 w 312"/>
                  <a:gd name="T5" fmla="*/ 2147483646 h 361"/>
                  <a:gd name="T6" fmla="*/ 2147483646 w 312"/>
                  <a:gd name="T7" fmla="*/ 2147483646 h 361"/>
                  <a:gd name="T8" fmla="*/ 2147483646 w 312"/>
                  <a:gd name="T9" fmla="*/ 2147483646 h 361"/>
                  <a:gd name="T10" fmla="*/ 2147483646 w 312"/>
                  <a:gd name="T11" fmla="*/ 2147483646 h 361"/>
                  <a:gd name="T12" fmla="*/ 0 w 312"/>
                  <a:gd name="T13" fmla="*/ 2147483646 h 361"/>
                  <a:gd name="T14" fmla="*/ 2147483646 w 312"/>
                  <a:gd name="T15" fmla="*/ 2147483646 h 361"/>
                  <a:gd name="T16" fmla="*/ 2147483646 w 312"/>
                  <a:gd name="T17" fmla="*/ 2147483646 h 361"/>
                  <a:gd name="T18" fmla="*/ 2147483646 w 312"/>
                  <a:gd name="T19" fmla="*/ 2147483646 h 361"/>
                  <a:gd name="T20" fmla="*/ 2147483646 w 312"/>
                  <a:gd name="T21" fmla="*/ 2147483646 h 361"/>
                  <a:gd name="T22" fmla="*/ 2147483646 w 312"/>
                  <a:gd name="T23" fmla="*/ 2147483646 h 361"/>
                  <a:gd name="T24" fmla="*/ 2147483646 w 312"/>
                  <a:gd name="T25" fmla="*/ 2147483646 h 361"/>
                  <a:gd name="T26" fmla="*/ 2147483646 w 312"/>
                  <a:gd name="T27" fmla="*/ 2147483646 h 361"/>
                  <a:gd name="T28" fmla="*/ 2147483646 w 312"/>
                  <a:gd name="T29" fmla="*/ 2147483646 h 361"/>
                  <a:gd name="T30" fmla="*/ 2147483646 w 312"/>
                  <a:gd name="T31" fmla="*/ 2147483646 h 361"/>
                  <a:gd name="T32" fmla="*/ 2147483646 w 312"/>
                  <a:gd name="T33" fmla="*/ 2147483646 h 361"/>
                  <a:gd name="T34" fmla="*/ 2147483646 w 312"/>
                  <a:gd name="T35" fmla="*/ 2147483646 h 361"/>
                  <a:gd name="T36" fmla="*/ 2147483646 w 312"/>
                  <a:gd name="T37" fmla="*/ 2147483646 h 361"/>
                  <a:gd name="T38" fmla="*/ 2147483646 w 312"/>
                  <a:gd name="T39" fmla="*/ 2147483646 h 361"/>
                  <a:gd name="T40" fmla="*/ 2147483646 w 312"/>
                  <a:gd name="T41" fmla="*/ 2147483646 h 361"/>
                  <a:gd name="T42" fmla="*/ 2147483646 w 312"/>
                  <a:gd name="T43" fmla="*/ 2147483646 h 361"/>
                  <a:gd name="T44" fmla="*/ 2147483646 w 312"/>
                  <a:gd name="T45" fmla="*/ 2147483646 h 361"/>
                  <a:gd name="T46" fmla="*/ 2147483646 w 312"/>
                  <a:gd name="T47" fmla="*/ 2147483646 h 361"/>
                  <a:gd name="T48" fmla="*/ 2147483646 w 312"/>
                  <a:gd name="T49" fmla="*/ 2147483646 h 361"/>
                  <a:gd name="T50" fmla="*/ 2147483646 w 312"/>
                  <a:gd name="T51" fmla="*/ 2147483646 h 361"/>
                  <a:gd name="T52" fmla="*/ 2147483646 w 312"/>
                  <a:gd name="T53" fmla="*/ 2147483646 h 361"/>
                  <a:gd name="T54" fmla="*/ 2147483646 w 312"/>
                  <a:gd name="T55" fmla="*/ 2147483646 h 361"/>
                  <a:gd name="T56" fmla="*/ 2147483646 w 312"/>
                  <a:gd name="T57" fmla="*/ 0 h 361"/>
                  <a:gd name="T58" fmla="*/ 2147483646 w 312"/>
                  <a:gd name="T59" fmla="*/ 2147483646 h 361"/>
                  <a:gd name="T60" fmla="*/ 2147483646 w 312"/>
                  <a:gd name="T61" fmla="*/ 2147483646 h 361"/>
                  <a:gd name="T62" fmla="*/ 2147483646 w 312"/>
                  <a:gd name="T63" fmla="*/ 2147483646 h 361"/>
                  <a:gd name="T64" fmla="*/ 2147483646 w 312"/>
                  <a:gd name="T65" fmla="*/ 2147483646 h 361"/>
                  <a:gd name="T66" fmla="*/ 2147483646 w 312"/>
                  <a:gd name="T67" fmla="*/ 2147483646 h 361"/>
                  <a:gd name="T68" fmla="*/ 2147483646 w 312"/>
                  <a:gd name="T69" fmla="*/ 2147483646 h 361"/>
                  <a:gd name="T70" fmla="*/ 2147483646 w 312"/>
                  <a:gd name="T71" fmla="*/ 2147483646 h 361"/>
                  <a:gd name="T72" fmla="*/ 2147483646 w 312"/>
                  <a:gd name="T73" fmla="*/ 2147483646 h 361"/>
                  <a:gd name="T74" fmla="*/ 2147483646 w 312"/>
                  <a:gd name="T75" fmla="*/ 2147483646 h 361"/>
                  <a:gd name="T76" fmla="*/ 2147483646 w 312"/>
                  <a:gd name="T77" fmla="*/ 2147483646 h 361"/>
                  <a:gd name="T78" fmla="*/ 2147483646 w 312"/>
                  <a:gd name="T79" fmla="*/ 2147483646 h 361"/>
                  <a:gd name="T80" fmla="*/ 2147483646 w 312"/>
                  <a:gd name="T81" fmla="*/ 2147483646 h 361"/>
                  <a:gd name="T82" fmla="*/ 2147483646 w 312"/>
                  <a:gd name="T83" fmla="*/ 2147483646 h 361"/>
                  <a:gd name="T84" fmla="*/ 2147483646 w 312"/>
                  <a:gd name="T85" fmla="*/ 2147483646 h 361"/>
                  <a:gd name="T86" fmla="*/ 2147483646 w 312"/>
                  <a:gd name="T87" fmla="*/ 2147483646 h 361"/>
                  <a:gd name="T88" fmla="*/ 2147483646 w 312"/>
                  <a:gd name="T89" fmla="*/ 2147483646 h 361"/>
                  <a:gd name="T90" fmla="*/ 2147483646 w 312"/>
                  <a:gd name="T91" fmla="*/ 2147483646 h 36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12"/>
                  <a:gd name="T139" fmla="*/ 0 h 361"/>
                  <a:gd name="T140" fmla="*/ 312 w 312"/>
                  <a:gd name="T141" fmla="*/ 361 h 36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12" h="361">
                    <a:moveTo>
                      <a:pt x="70" y="120"/>
                    </a:moveTo>
                    <a:lnTo>
                      <a:pt x="48" y="133"/>
                    </a:lnTo>
                    <a:lnTo>
                      <a:pt x="30" y="149"/>
                    </a:lnTo>
                    <a:lnTo>
                      <a:pt x="16" y="167"/>
                    </a:lnTo>
                    <a:lnTo>
                      <a:pt x="7" y="188"/>
                    </a:lnTo>
                    <a:lnTo>
                      <a:pt x="1" y="211"/>
                    </a:lnTo>
                    <a:lnTo>
                      <a:pt x="0" y="235"/>
                    </a:lnTo>
                    <a:lnTo>
                      <a:pt x="3" y="258"/>
                    </a:lnTo>
                    <a:lnTo>
                      <a:pt x="11" y="282"/>
                    </a:lnTo>
                    <a:lnTo>
                      <a:pt x="23" y="304"/>
                    </a:lnTo>
                    <a:lnTo>
                      <a:pt x="39" y="324"/>
                    </a:lnTo>
                    <a:lnTo>
                      <a:pt x="56" y="339"/>
                    </a:lnTo>
                    <a:lnTo>
                      <a:pt x="77" y="351"/>
                    </a:lnTo>
                    <a:lnTo>
                      <a:pt x="99" y="358"/>
                    </a:lnTo>
                    <a:lnTo>
                      <a:pt x="123" y="361"/>
                    </a:lnTo>
                    <a:lnTo>
                      <a:pt x="147" y="359"/>
                    </a:lnTo>
                    <a:lnTo>
                      <a:pt x="172" y="351"/>
                    </a:lnTo>
                    <a:lnTo>
                      <a:pt x="181" y="347"/>
                    </a:lnTo>
                    <a:lnTo>
                      <a:pt x="190" y="341"/>
                    </a:lnTo>
                    <a:lnTo>
                      <a:pt x="198" y="334"/>
                    </a:lnTo>
                    <a:lnTo>
                      <a:pt x="206" y="327"/>
                    </a:lnTo>
                    <a:lnTo>
                      <a:pt x="212" y="319"/>
                    </a:lnTo>
                    <a:lnTo>
                      <a:pt x="218" y="311"/>
                    </a:lnTo>
                    <a:lnTo>
                      <a:pt x="221" y="302"/>
                    </a:lnTo>
                    <a:lnTo>
                      <a:pt x="223" y="292"/>
                    </a:lnTo>
                    <a:lnTo>
                      <a:pt x="225" y="292"/>
                    </a:lnTo>
                    <a:lnTo>
                      <a:pt x="235" y="316"/>
                    </a:lnTo>
                    <a:lnTo>
                      <a:pt x="312" y="282"/>
                    </a:lnTo>
                    <a:lnTo>
                      <a:pt x="190" y="0"/>
                    </a:lnTo>
                    <a:lnTo>
                      <a:pt x="180" y="4"/>
                    </a:lnTo>
                    <a:lnTo>
                      <a:pt x="170" y="7"/>
                    </a:lnTo>
                    <a:lnTo>
                      <a:pt x="160" y="10"/>
                    </a:lnTo>
                    <a:lnTo>
                      <a:pt x="151" y="14"/>
                    </a:lnTo>
                    <a:lnTo>
                      <a:pt x="140" y="17"/>
                    </a:lnTo>
                    <a:lnTo>
                      <a:pt x="131" y="22"/>
                    </a:lnTo>
                    <a:lnTo>
                      <a:pt x="121" y="27"/>
                    </a:lnTo>
                    <a:lnTo>
                      <a:pt x="112" y="31"/>
                    </a:lnTo>
                    <a:lnTo>
                      <a:pt x="150" y="119"/>
                    </a:lnTo>
                    <a:lnTo>
                      <a:pt x="140" y="115"/>
                    </a:lnTo>
                    <a:lnTo>
                      <a:pt x="130" y="113"/>
                    </a:lnTo>
                    <a:lnTo>
                      <a:pt x="121" y="112"/>
                    </a:lnTo>
                    <a:lnTo>
                      <a:pt x="111" y="111"/>
                    </a:lnTo>
                    <a:lnTo>
                      <a:pt x="100" y="112"/>
                    </a:lnTo>
                    <a:lnTo>
                      <a:pt x="90" y="114"/>
                    </a:lnTo>
                    <a:lnTo>
                      <a:pt x="79" y="116"/>
                    </a:lnTo>
                    <a:lnTo>
                      <a:pt x="7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67" name="Freeform 275">
                <a:extLst>
                  <a:ext uri="{FF2B5EF4-FFF2-40B4-BE49-F238E27FC236}">
                    <a16:creationId xmlns:a16="http://schemas.microsoft.com/office/drawing/2014/main" id="{88F2CD3C-74EB-4E6B-B155-01DA87DB631C}"/>
                  </a:ext>
                </a:extLst>
              </p:cNvPr>
              <p:cNvSpPr>
                <a:spLocks/>
              </p:cNvSpPr>
              <p:nvPr/>
            </p:nvSpPr>
            <p:spPr bwMode="auto">
              <a:xfrm>
                <a:off x="6881813" y="4594225"/>
                <a:ext cx="87313" cy="85725"/>
              </a:xfrm>
              <a:custGeom>
                <a:avLst/>
                <a:gdLst>
                  <a:gd name="T0" fmla="*/ 2147483646 w 110"/>
                  <a:gd name="T1" fmla="*/ 2147483646 h 108"/>
                  <a:gd name="T2" fmla="*/ 2147483646 w 110"/>
                  <a:gd name="T3" fmla="*/ 2147483646 h 108"/>
                  <a:gd name="T4" fmla="*/ 2147483646 w 110"/>
                  <a:gd name="T5" fmla="*/ 2147483646 h 108"/>
                  <a:gd name="T6" fmla="*/ 2147483646 w 110"/>
                  <a:gd name="T7" fmla="*/ 2147483646 h 108"/>
                  <a:gd name="T8" fmla="*/ 2147483646 w 110"/>
                  <a:gd name="T9" fmla="*/ 2147483646 h 108"/>
                  <a:gd name="T10" fmla="*/ 2147483646 w 110"/>
                  <a:gd name="T11" fmla="*/ 2147483646 h 108"/>
                  <a:gd name="T12" fmla="*/ 2147483646 w 110"/>
                  <a:gd name="T13" fmla="*/ 2147483646 h 108"/>
                  <a:gd name="T14" fmla="*/ 2147483646 w 110"/>
                  <a:gd name="T15" fmla="*/ 2147483646 h 108"/>
                  <a:gd name="T16" fmla="*/ 2147483646 w 110"/>
                  <a:gd name="T17" fmla="*/ 2147483646 h 108"/>
                  <a:gd name="T18" fmla="*/ 2147483646 w 110"/>
                  <a:gd name="T19" fmla="*/ 2147483646 h 108"/>
                  <a:gd name="T20" fmla="*/ 2147483646 w 110"/>
                  <a:gd name="T21" fmla="*/ 2147483646 h 108"/>
                  <a:gd name="T22" fmla="*/ 2147483646 w 110"/>
                  <a:gd name="T23" fmla="*/ 2147483646 h 108"/>
                  <a:gd name="T24" fmla="*/ 2147483646 w 110"/>
                  <a:gd name="T25" fmla="*/ 2147483646 h 108"/>
                  <a:gd name="T26" fmla="*/ 2147483646 w 110"/>
                  <a:gd name="T27" fmla="*/ 2147483646 h 108"/>
                  <a:gd name="T28" fmla="*/ 2147483646 w 110"/>
                  <a:gd name="T29" fmla="*/ 2147483646 h 108"/>
                  <a:gd name="T30" fmla="*/ 2147483646 w 110"/>
                  <a:gd name="T31" fmla="*/ 2147483646 h 108"/>
                  <a:gd name="T32" fmla="*/ 2147483646 w 110"/>
                  <a:gd name="T33" fmla="*/ 2147483646 h 108"/>
                  <a:gd name="T34" fmla="*/ 2147483646 w 110"/>
                  <a:gd name="T35" fmla="*/ 2147483646 h 108"/>
                  <a:gd name="T36" fmla="*/ 0 w 110"/>
                  <a:gd name="T37" fmla="*/ 2147483646 h 108"/>
                  <a:gd name="T38" fmla="*/ 0 w 110"/>
                  <a:gd name="T39" fmla="*/ 2147483646 h 108"/>
                  <a:gd name="T40" fmla="*/ 2147483646 w 110"/>
                  <a:gd name="T41" fmla="*/ 2147483646 h 108"/>
                  <a:gd name="T42" fmla="*/ 2147483646 w 110"/>
                  <a:gd name="T43" fmla="*/ 2147483646 h 108"/>
                  <a:gd name="T44" fmla="*/ 2147483646 w 110"/>
                  <a:gd name="T45" fmla="*/ 2147483646 h 108"/>
                  <a:gd name="T46" fmla="*/ 2147483646 w 110"/>
                  <a:gd name="T47" fmla="*/ 2147483646 h 108"/>
                  <a:gd name="T48" fmla="*/ 2147483646 w 110"/>
                  <a:gd name="T49" fmla="*/ 2147483646 h 108"/>
                  <a:gd name="T50" fmla="*/ 2147483646 w 110"/>
                  <a:gd name="T51" fmla="*/ 2147483646 h 108"/>
                  <a:gd name="T52" fmla="*/ 2147483646 w 110"/>
                  <a:gd name="T53" fmla="*/ 0 h 108"/>
                  <a:gd name="T54" fmla="*/ 2147483646 w 110"/>
                  <a:gd name="T55" fmla="*/ 2147483646 h 108"/>
                  <a:gd name="T56" fmla="*/ 2147483646 w 110"/>
                  <a:gd name="T57" fmla="*/ 2147483646 h 108"/>
                  <a:gd name="T58" fmla="*/ 2147483646 w 110"/>
                  <a:gd name="T59" fmla="*/ 2147483646 h 108"/>
                  <a:gd name="T60" fmla="*/ 2147483646 w 110"/>
                  <a:gd name="T61" fmla="*/ 2147483646 h 108"/>
                  <a:gd name="T62" fmla="*/ 2147483646 w 110"/>
                  <a:gd name="T63" fmla="*/ 2147483646 h 108"/>
                  <a:gd name="T64" fmla="*/ 2147483646 w 110"/>
                  <a:gd name="T65" fmla="*/ 2147483646 h 1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0"/>
                  <a:gd name="T100" fmla="*/ 0 h 108"/>
                  <a:gd name="T101" fmla="*/ 110 w 110"/>
                  <a:gd name="T102" fmla="*/ 108 h 1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0" h="108">
                    <a:moveTo>
                      <a:pt x="104" y="33"/>
                    </a:moveTo>
                    <a:lnTo>
                      <a:pt x="107" y="44"/>
                    </a:lnTo>
                    <a:lnTo>
                      <a:pt x="110" y="54"/>
                    </a:lnTo>
                    <a:lnTo>
                      <a:pt x="109" y="63"/>
                    </a:lnTo>
                    <a:lnTo>
                      <a:pt x="106" y="72"/>
                    </a:lnTo>
                    <a:lnTo>
                      <a:pt x="102" y="82"/>
                    </a:lnTo>
                    <a:lnTo>
                      <a:pt x="96" y="90"/>
                    </a:lnTo>
                    <a:lnTo>
                      <a:pt x="87" y="97"/>
                    </a:lnTo>
                    <a:lnTo>
                      <a:pt x="76" y="102"/>
                    </a:lnTo>
                    <a:lnTo>
                      <a:pt x="65" y="106"/>
                    </a:lnTo>
                    <a:lnTo>
                      <a:pt x="53" y="108"/>
                    </a:lnTo>
                    <a:lnTo>
                      <a:pt x="43" y="107"/>
                    </a:lnTo>
                    <a:lnTo>
                      <a:pt x="34" y="105"/>
                    </a:lnTo>
                    <a:lnTo>
                      <a:pt x="25" y="100"/>
                    </a:lnTo>
                    <a:lnTo>
                      <a:pt x="16" y="93"/>
                    </a:lnTo>
                    <a:lnTo>
                      <a:pt x="11" y="85"/>
                    </a:lnTo>
                    <a:lnTo>
                      <a:pt x="5" y="76"/>
                    </a:lnTo>
                    <a:lnTo>
                      <a:pt x="1" y="66"/>
                    </a:lnTo>
                    <a:lnTo>
                      <a:pt x="0" y="55"/>
                    </a:lnTo>
                    <a:lnTo>
                      <a:pt x="0" y="45"/>
                    </a:lnTo>
                    <a:lnTo>
                      <a:pt x="4" y="36"/>
                    </a:lnTo>
                    <a:lnTo>
                      <a:pt x="8" y="26"/>
                    </a:lnTo>
                    <a:lnTo>
                      <a:pt x="14" y="18"/>
                    </a:lnTo>
                    <a:lnTo>
                      <a:pt x="23" y="11"/>
                    </a:lnTo>
                    <a:lnTo>
                      <a:pt x="34" y="6"/>
                    </a:lnTo>
                    <a:lnTo>
                      <a:pt x="45" y="2"/>
                    </a:lnTo>
                    <a:lnTo>
                      <a:pt x="57" y="0"/>
                    </a:lnTo>
                    <a:lnTo>
                      <a:pt x="67" y="1"/>
                    </a:lnTo>
                    <a:lnTo>
                      <a:pt x="76" y="3"/>
                    </a:lnTo>
                    <a:lnTo>
                      <a:pt x="84" y="9"/>
                    </a:lnTo>
                    <a:lnTo>
                      <a:pt x="92" y="15"/>
                    </a:lnTo>
                    <a:lnTo>
                      <a:pt x="99" y="24"/>
                    </a:lnTo>
                    <a:lnTo>
                      <a:pt x="104"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68" name="Freeform 276">
                <a:extLst>
                  <a:ext uri="{FF2B5EF4-FFF2-40B4-BE49-F238E27FC236}">
                    <a16:creationId xmlns:a16="http://schemas.microsoft.com/office/drawing/2014/main" id="{CFE50AB4-EB67-49B1-8582-F7BEB61A17D7}"/>
                  </a:ext>
                </a:extLst>
              </p:cNvPr>
              <p:cNvSpPr>
                <a:spLocks/>
              </p:cNvSpPr>
              <p:nvPr/>
            </p:nvSpPr>
            <p:spPr bwMode="auto">
              <a:xfrm>
                <a:off x="7040563" y="4441825"/>
                <a:ext cx="180975" cy="201612"/>
              </a:xfrm>
              <a:custGeom>
                <a:avLst/>
                <a:gdLst>
                  <a:gd name="T0" fmla="*/ 2147483646 w 228"/>
                  <a:gd name="T1" fmla="*/ 2147483646 h 255"/>
                  <a:gd name="T2" fmla="*/ 2147483646 w 228"/>
                  <a:gd name="T3" fmla="*/ 2147483646 h 255"/>
                  <a:gd name="T4" fmla="*/ 2147483646 w 228"/>
                  <a:gd name="T5" fmla="*/ 2147483646 h 255"/>
                  <a:gd name="T6" fmla="*/ 2147483646 w 228"/>
                  <a:gd name="T7" fmla="*/ 2147483646 h 255"/>
                  <a:gd name="T8" fmla="*/ 2147483646 w 228"/>
                  <a:gd name="T9" fmla="*/ 2147483646 h 255"/>
                  <a:gd name="T10" fmla="*/ 2147483646 w 228"/>
                  <a:gd name="T11" fmla="*/ 2147483646 h 255"/>
                  <a:gd name="T12" fmla="*/ 2147483646 w 228"/>
                  <a:gd name="T13" fmla="*/ 2147483646 h 255"/>
                  <a:gd name="T14" fmla="*/ 2147483646 w 228"/>
                  <a:gd name="T15" fmla="*/ 2147483646 h 255"/>
                  <a:gd name="T16" fmla="*/ 2147483646 w 228"/>
                  <a:gd name="T17" fmla="*/ 2147483646 h 255"/>
                  <a:gd name="T18" fmla="*/ 2147483646 w 228"/>
                  <a:gd name="T19" fmla="*/ 2147483646 h 255"/>
                  <a:gd name="T20" fmla="*/ 2147483646 w 228"/>
                  <a:gd name="T21" fmla="*/ 2147483646 h 255"/>
                  <a:gd name="T22" fmla="*/ 2147483646 w 228"/>
                  <a:gd name="T23" fmla="*/ 2147483646 h 255"/>
                  <a:gd name="T24" fmla="*/ 2147483646 w 228"/>
                  <a:gd name="T25" fmla="*/ 2147483646 h 255"/>
                  <a:gd name="T26" fmla="*/ 2147483646 w 228"/>
                  <a:gd name="T27" fmla="*/ 2147483646 h 255"/>
                  <a:gd name="T28" fmla="*/ 2147483646 w 228"/>
                  <a:gd name="T29" fmla="*/ 2147483646 h 255"/>
                  <a:gd name="T30" fmla="*/ 2147483646 w 228"/>
                  <a:gd name="T31" fmla="*/ 2147483646 h 255"/>
                  <a:gd name="T32" fmla="*/ 2147483646 w 228"/>
                  <a:gd name="T33" fmla="*/ 2147483646 h 255"/>
                  <a:gd name="T34" fmla="*/ 2147483646 w 228"/>
                  <a:gd name="T35" fmla="*/ 2147483646 h 255"/>
                  <a:gd name="T36" fmla="*/ 2147483646 w 228"/>
                  <a:gd name="T37" fmla="*/ 2147483646 h 255"/>
                  <a:gd name="T38" fmla="*/ 2147483646 w 228"/>
                  <a:gd name="T39" fmla="*/ 2147483646 h 255"/>
                  <a:gd name="T40" fmla="*/ 2147483646 w 228"/>
                  <a:gd name="T41" fmla="*/ 2147483646 h 255"/>
                  <a:gd name="T42" fmla="*/ 2147483646 w 228"/>
                  <a:gd name="T43" fmla="*/ 2147483646 h 255"/>
                  <a:gd name="T44" fmla="*/ 2147483646 w 228"/>
                  <a:gd name="T45" fmla="*/ 2147483646 h 255"/>
                  <a:gd name="T46" fmla="*/ 2147483646 w 228"/>
                  <a:gd name="T47" fmla="*/ 2147483646 h 255"/>
                  <a:gd name="T48" fmla="*/ 2147483646 w 228"/>
                  <a:gd name="T49" fmla="*/ 2147483646 h 255"/>
                  <a:gd name="T50" fmla="*/ 2147483646 w 228"/>
                  <a:gd name="T51" fmla="*/ 2147483646 h 255"/>
                  <a:gd name="T52" fmla="*/ 2147483646 w 228"/>
                  <a:gd name="T53" fmla="*/ 2147483646 h 255"/>
                  <a:gd name="T54" fmla="*/ 2147483646 w 228"/>
                  <a:gd name="T55" fmla="*/ 2147483646 h 255"/>
                  <a:gd name="T56" fmla="*/ 2147483646 w 228"/>
                  <a:gd name="T57" fmla="*/ 2147483646 h 255"/>
                  <a:gd name="T58" fmla="*/ 2147483646 w 228"/>
                  <a:gd name="T59" fmla="*/ 2147483646 h 255"/>
                  <a:gd name="T60" fmla="*/ 2147483646 w 228"/>
                  <a:gd name="T61" fmla="*/ 2147483646 h 255"/>
                  <a:gd name="T62" fmla="*/ 2147483646 w 228"/>
                  <a:gd name="T63" fmla="*/ 2147483646 h 255"/>
                  <a:gd name="T64" fmla="*/ 2147483646 w 228"/>
                  <a:gd name="T65" fmla="*/ 2147483646 h 255"/>
                  <a:gd name="T66" fmla="*/ 2147483646 w 228"/>
                  <a:gd name="T67" fmla="*/ 2147483646 h 255"/>
                  <a:gd name="T68" fmla="*/ 2147483646 w 228"/>
                  <a:gd name="T69" fmla="*/ 2147483646 h 255"/>
                  <a:gd name="T70" fmla="*/ 2147483646 w 228"/>
                  <a:gd name="T71" fmla="*/ 2147483646 h 255"/>
                  <a:gd name="T72" fmla="*/ 2147483646 w 228"/>
                  <a:gd name="T73" fmla="*/ 2147483646 h 255"/>
                  <a:gd name="T74" fmla="*/ 2147483646 w 228"/>
                  <a:gd name="T75" fmla="*/ 2147483646 h 255"/>
                  <a:gd name="T76" fmla="*/ 2147483646 w 228"/>
                  <a:gd name="T77" fmla="*/ 0 h 255"/>
                  <a:gd name="T78" fmla="*/ 2147483646 w 228"/>
                  <a:gd name="T79" fmla="*/ 0 h 255"/>
                  <a:gd name="T80" fmla="*/ 2147483646 w 228"/>
                  <a:gd name="T81" fmla="*/ 0 h 255"/>
                  <a:gd name="T82" fmla="*/ 2147483646 w 228"/>
                  <a:gd name="T83" fmla="*/ 2147483646 h 255"/>
                  <a:gd name="T84" fmla="*/ 2147483646 w 228"/>
                  <a:gd name="T85" fmla="*/ 2147483646 h 255"/>
                  <a:gd name="T86" fmla="*/ 2147483646 w 228"/>
                  <a:gd name="T87" fmla="*/ 2147483646 h 255"/>
                  <a:gd name="T88" fmla="*/ 2147483646 w 228"/>
                  <a:gd name="T89" fmla="*/ 2147483646 h 255"/>
                  <a:gd name="T90" fmla="*/ 2147483646 w 228"/>
                  <a:gd name="T91" fmla="*/ 2147483646 h 255"/>
                  <a:gd name="T92" fmla="*/ 2147483646 w 228"/>
                  <a:gd name="T93" fmla="*/ 2147483646 h 255"/>
                  <a:gd name="T94" fmla="*/ 2147483646 w 228"/>
                  <a:gd name="T95" fmla="*/ 2147483646 h 255"/>
                  <a:gd name="T96" fmla="*/ 2147483646 w 228"/>
                  <a:gd name="T97" fmla="*/ 2147483646 h 255"/>
                  <a:gd name="T98" fmla="*/ 2147483646 w 228"/>
                  <a:gd name="T99" fmla="*/ 2147483646 h 255"/>
                  <a:gd name="T100" fmla="*/ 2147483646 w 228"/>
                  <a:gd name="T101" fmla="*/ 2147483646 h 255"/>
                  <a:gd name="T102" fmla="*/ 2147483646 w 228"/>
                  <a:gd name="T103" fmla="*/ 2147483646 h 255"/>
                  <a:gd name="T104" fmla="*/ 0 w 228"/>
                  <a:gd name="T105" fmla="*/ 2147483646 h 255"/>
                  <a:gd name="T106" fmla="*/ 2147483646 w 228"/>
                  <a:gd name="T107" fmla="*/ 2147483646 h 255"/>
                  <a:gd name="T108" fmla="*/ 2147483646 w 228"/>
                  <a:gd name="T109" fmla="*/ 2147483646 h 255"/>
                  <a:gd name="T110" fmla="*/ 2147483646 w 228"/>
                  <a:gd name="T111" fmla="*/ 2147483646 h 255"/>
                  <a:gd name="T112" fmla="*/ 2147483646 w 228"/>
                  <a:gd name="T113" fmla="*/ 2147483646 h 255"/>
                  <a:gd name="T114" fmla="*/ 2147483646 w 228"/>
                  <a:gd name="T115" fmla="*/ 2147483646 h 255"/>
                  <a:gd name="T116" fmla="*/ 2147483646 w 228"/>
                  <a:gd name="T117" fmla="*/ 2147483646 h 255"/>
                  <a:gd name="T118" fmla="*/ 2147483646 w 228"/>
                  <a:gd name="T119" fmla="*/ 2147483646 h 255"/>
                  <a:gd name="T120" fmla="*/ 2147483646 w 228"/>
                  <a:gd name="T121" fmla="*/ 2147483646 h 255"/>
                  <a:gd name="T122" fmla="*/ 2147483646 w 228"/>
                  <a:gd name="T123" fmla="*/ 2147483646 h 255"/>
                  <a:gd name="T124" fmla="*/ 2147483646 w 228"/>
                  <a:gd name="T125" fmla="*/ 2147483646 h 2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8"/>
                  <a:gd name="T190" fmla="*/ 0 h 255"/>
                  <a:gd name="T191" fmla="*/ 228 w 228"/>
                  <a:gd name="T192" fmla="*/ 255 h 2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8" h="255">
                    <a:moveTo>
                      <a:pt x="179" y="244"/>
                    </a:moveTo>
                    <a:lnTo>
                      <a:pt x="186" y="240"/>
                    </a:lnTo>
                    <a:lnTo>
                      <a:pt x="193" y="237"/>
                    </a:lnTo>
                    <a:lnTo>
                      <a:pt x="199" y="233"/>
                    </a:lnTo>
                    <a:lnTo>
                      <a:pt x="206" y="229"/>
                    </a:lnTo>
                    <a:lnTo>
                      <a:pt x="212" y="224"/>
                    </a:lnTo>
                    <a:lnTo>
                      <a:pt x="217" y="219"/>
                    </a:lnTo>
                    <a:lnTo>
                      <a:pt x="223" y="214"/>
                    </a:lnTo>
                    <a:lnTo>
                      <a:pt x="228" y="208"/>
                    </a:lnTo>
                    <a:lnTo>
                      <a:pt x="200" y="142"/>
                    </a:lnTo>
                    <a:lnTo>
                      <a:pt x="194" y="153"/>
                    </a:lnTo>
                    <a:lnTo>
                      <a:pt x="186" y="162"/>
                    </a:lnTo>
                    <a:lnTo>
                      <a:pt x="177" y="169"/>
                    </a:lnTo>
                    <a:lnTo>
                      <a:pt x="168" y="174"/>
                    </a:lnTo>
                    <a:lnTo>
                      <a:pt x="156" y="178"/>
                    </a:lnTo>
                    <a:lnTo>
                      <a:pt x="144" y="180"/>
                    </a:lnTo>
                    <a:lnTo>
                      <a:pt x="132" y="179"/>
                    </a:lnTo>
                    <a:lnTo>
                      <a:pt x="122" y="177"/>
                    </a:lnTo>
                    <a:lnTo>
                      <a:pt x="111" y="171"/>
                    </a:lnTo>
                    <a:lnTo>
                      <a:pt x="103" y="164"/>
                    </a:lnTo>
                    <a:lnTo>
                      <a:pt x="95" y="155"/>
                    </a:lnTo>
                    <a:lnTo>
                      <a:pt x="90" y="144"/>
                    </a:lnTo>
                    <a:lnTo>
                      <a:pt x="86" y="133"/>
                    </a:lnTo>
                    <a:lnTo>
                      <a:pt x="85" y="121"/>
                    </a:lnTo>
                    <a:lnTo>
                      <a:pt x="86" y="111"/>
                    </a:lnTo>
                    <a:lnTo>
                      <a:pt x="90" y="100"/>
                    </a:lnTo>
                    <a:lnTo>
                      <a:pt x="94" y="90"/>
                    </a:lnTo>
                    <a:lnTo>
                      <a:pt x="101" y="81"/>
                    </a:lnTo>
                    <a:lnTo>
                      <a:pt x="109" y="74"/>
                    </a:lnTo>
                    <a:lnTo>
                      <a:pt x="120" y="68"/>
                    </a:lnTo>
                    <a:lnTo>
                      <a:pt x="125" y="66"/>
                    </a:lnTo>
                    <a:lnTo>
                      <a:pt x="131" y="65"/>
                    </a:lnTo>
                    <a:lnTo>
                      <a:pt x="137" y="64"/>
                    </a:lnTo>
                    <a:lnTo>
                      <a:pt x="144" y="64"/>
                    </a:lnTo>
                    <a:lnTo>
                      <a:pt x="149" y="64"/>
                    </a:lnTo>
                    <a:lnTo>
                      <a:pt x="155" y="64"/>
                    </a:lnTo>
                    <a:lnTo>
                      <a:pt x="161" y="65"/>
                    </a:lnTo>
                    <a:lnTo>
                      <a:pt x="167" y="66"/>
                    </a:lnTo>
                    <a:lnTo>
                      <a:pt x="138" y="0"/>
                    </a:lnTo>
                    <a:lnTo>
                      <a:pt x="131" y="0"/>
                    </a:lnTo>
                    <a:lnTo>
                      <a:pt x="124" y="0"/>
                    </a:lnTo>
                    <a:lnTo>
                      <a:pt x="117" y="2"/>
                    </a:lnTo>
                    <a:lnTo>
                      <a:pt x="110" y="2"/>
                    </a:lnTo>
                    <a:lnTo>
                      <a:pt x="102" y="4"/>
                    </a:lnTo>
                    <a:lnTo>
                      <a:pt x="95" y="5"/>
                    </a:lnTo>
                    <a:lnTo>
                      <a:pt x="88" y="9"/>
                    </a:lnTo>
                    <a:lnTo>
                      <a:pt x="82" y="11"/>
                    </a:lnTo>
                    <a:lnTo>
                      <a:pt x="57" y="24"/>
                    </a:lnTo>
                    <a:lnTo>
                      <a:pt x="38" y="40"/>
                    </a:lnTo>
                    <a:lnTo>
                      <a:pt x="22" y="59"/>
                    </a:lnTo>
                    <a:lnTo>
                      <a:pt x="10" y="80"/>
                    </a:lnTo>
                    <a:lnTo>
                      <a:pt x="2" y="104"/>
                    </a:lnTo>
                    <a:lnTo>
                      <a:pt x="0" y="129"/>
                    </a:lnTo>
                    <a:lnTo>
                      <a:pt x="3" y="155"/>
                    </a:lnTo>
                    <a:lnTo>
                      <a:pt x="11" y="181"/>
                    </a:lnTo>
                    <a:lnTo>
                      <a:pt x="24" y="204"/>
                    </a:lnTo>
                    <a:lnTo>
                      <a:pt x="40" y="223"/>
                    </a:lnTo>
                    <a:lnTo>
                      <a:pt x="60" y="237"/>
                    </a:lnTo>
                    <a:lnTo>
                      <a:pt x="82" y="247"/>
                    </a:lnTo>
                    <a:lnTo>
                      <a:pt x="106" y="253"/>
                    </a:lnTo>
                    <a:lnTo>
                      <a:pt x="130" y="255"/>
                    </a:lnTo>
                    <a:lnTo>
                      <a:pt x="155" y="252"/>
                    </a:lnTo>
                    <a:lnTo>
                      <a:pt x="179" y="2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69" name="Freeform 277">
                <a:extLst>
                  <a:ext uri="{FF2B5EF4-FFF2-40B4-BE49-F238E27FC236}">
                    <a16:creationId xmlns:a16="http://schemas.microsoft.com/office/drawing/2014/main" id="{F01595AE-F27E-4498-AE98-1F641EE84D79}"/>
                  </a:ext>
                </a:extLst>
              </p:cNvPr>
              <p:cNvSpPr>
                <a:spLocks/>
              </p:cNvSpPr>
              <p:nvPr/>
            </p:nvSpPr>
            <p:spPr bwMode="auto">
              <a:xfrm>
                <a:off x="7204075" y="4443413"/>
                <a:ext cx="250825" cy="209550"/>
              </a:xfrm>
              <a:custGeom>
                <a:avLst/>
                <a:gdLst>
                  <a:gd name="T0" fmla="*/ 2147483646 w 314"/>
                  <a:gd name="T1" fmla="*/ 2147483646 h 263"/>
                  <a:gd name="T2" fmla="*/ 2147483646 w 314"/>
                  <a:gd name="T3" fmla="*/ 2147483646 h 263"/>
                  <a:gd name="T4" fmla="*/ 2147483646 w 314"/>
                  <a:gd name="T5" fmla="*/ 2147483646 h 263"/>
                  <a:gd name="T6" fmla="*/ 2147483646 w 314"/>
                  <a:gd name="T7" fmla="*/ 2147483646 h 263"/>
                  <a:gd name="T8" fmla="*/ 2147483646 w 314"/>
                  <a:gd name="T9" fmla="*/ 2147483646 h 263"/>
                  <a:gd name="T10" fmla="*/ 2147483646 w 314"/>
                  <a:gd name="T11" fmla="*/ 2147483646 h 263"/>
                  <a:gd name="T12" fmla="*/ 2147483646 w 314"/>
                  <a:gd name="T13" fmla="*/ 2147483646 h 263"/>
                  <a:gd name="T14" fmla="*/ 2147483646 w 314"/>
                  <a:gd name="T15" fmla="*/ 2147483646 h 263"/>
                  <a:gd name="T16" fmla="*/ 2147483646 w 314"/>
                  <a:gd name="T17" fmla="*/ 2147483646 h 263"/>
                  <a:gd name="T18" fmla="*/ 2147483646 w 314"/>
                  <a:gd name="T19" fmla="*/ 2147483646 h 263"/>
                  <a:gd name="T20" fmla="*/ 2147483646 w 314"/>
                  <a:gd name="T21" fmla="*/ 2147483646 h 263"/>
                  <a:gd name="T22" fmla="*/ 2147483646 w 314"/>
                  <a:gd name="T23" fmla="*/ 2147483646 h 263"/>
                  <a:gd name="T24" fmla="*/ 2147483646 w 314"/>
                  <a:gd name="T25" fmla="*/ 2147483646 h 263"/>
                  <a:gd name="T26" fmla="*/ 2147483646 w 314"/>
                  <a:gd name="T27" fmla="*/ 2147483646 h 263"/>
                  <a:gd name="T28" fmla="*/ 2147483646 w 314"/>
                  <a:gd name="T29" fmla="*/ 2147483646 h 263"/>
                  <a:gd name="T30" fmla="*/ 2147483646 w 314"/>
                  <a:gd name="T31" fmla="*/ 2147483646 h 263"/>
                  <a:gd name="T32" fmla="*/ 2147483646 w 314"/>
                  <a:gd name="T33" fmla="*/ 2147483646 h 263"/>
                  <a:gd name="T34" fmla="*/ 2147483646 w 314"/>
                  <a:gd name="T35" fmla="*/ 2147483646 h 263"/>
                  <a:gd name="T36" fmla="*/ 2147483646 w 314"/>
                  <a:gd name="T37" fmla="*/ 2147483646 h 263"/>
                  <a:gd name="T38" fmla="*/ 2147483646 w 314"/>
                  <a:gd name="T39" fmla="*/ 2147483646 h 263"/>
                  <a:gd name="T40" fmla="*/ 2147483646 w 314"/>
                  <a:gd name="T41" fmla="*/ 2147483646 h 263"/>
                  <a:gd name="T42" fmla="*/ 2147483646 w 314"/>
                  <a:gd name="T43" fmla="*/ 2147483646 h 263"/>
                  <a:gd name="T44" fmla="*/ 2147483646 w 314"/>
                  <a:gd name="T45" fmla="*/ 2147483646 h 263"/>
                  <a:gd name="T46" fmla="*/ 2147483646 w 314"/>
                  <a:gd name="T47" fmla="*/ 2147483646 h 263"/>
                  <a:gd name="T48" fmla="*/ 2147483646 w 314"/>
                  <a:gd name="T49" fmla="*/ 2147483646 h 263"/>
                  <a:gd name="T50" fmla="*/ 2147483646 w 314"/>
                  <a:gd name="T51" fmla="*/ 2147483646 h 263"/>
                  <a:gd name="T52" fmla="*/ 2147483646 w 314"/>
                  <a:gd name="T53" fmla="*/ 2147483646 h 263"/>
                  <a:gd name="T54" fmla="*/ 2147483646 w 314"/>
                  <a:gd name="T55" fmla="*/ 2147483646 h 263"/>
                  <a:gd name="T56" fmla="*/ 2147483646 w 314"/>
                  <a:gd name="T57" fmla="*/ 2147483646 h 263"/>
                  <a:gd name="T58" fmla="*/ 2147483646 w 314"/>
                  <a:gd name="T59" fmla="*/ 2147483646 h 263"/>
                  <a:gd name="T60" fmla="*/ 2147483646 w 314"/>
                  <a:gd name="T61" fmla="*/ 2147483646 h 263"/>
                  <a:gd name="T62" fmla="*/ 2147483646 w 314"/>
                  <a:gd name="T63" fmla="*/ 2147483646 h 263"/>
                  <a:gd name="T64" fmla="*/ 2147483646 w 314"/>
                  <a:gd name="T65" fmla="*/ 2147483646 h 263"/>
                  <a:gd name="T66" fmla="*/ 2147483646 w 314"/>
                  <a:gd name="T67" fmla="*/ 2147483646 h 263"/>
                  <a:gd name="T68" fmla="*/ 2147483646 w 314"/>
                  <a:gd name="T69" fmla="*/ 2147483646 h 263"/>
                  <a:gd name="T70" fmla="*/ 2147483646 w 314"/>
                  <a:gd name="T71" fmla="*/ 2147483646 h 263"/>
                  <a:gd name="T72" fmla="*/ 2147483646 w 314"/>
                  <a:gd name="T73" fmla="*/ 2147483646 h 263"/>
                  <a:gd name="T74" fmla="*/ 2147483646 w 314"/>
                  <a:gd name="T75" fmla="*/ 2147483646 h 263"/>
                  <a:gd name="T76" fmla="*/ 2147483646 w 314"/>
                  <a:gd name="T77" fmla="*/ 2147483646 h 263"/>
                  <a:gd name="T78" fmla="*/ 2147483646 w 314"/>
                  <a:gd name="T79" fmla="*/ 2147483646 h 263"/>
                  <a:gd name="T80" fmla="*/ 2147483646 w 314"/>
                  <a:gd name="T81" fmla="*/ 2147483646 h 263"/>
                  <a:gd name="T82" fmla="*/ 0 w 314"/>
                  <a:gd name="T83" fmla="*/ 2147483646 h 263"/>
                  <a:gd name="T84" fmla="*/ 2147483646 w 314"/>
                  <a:gd name="T85" fmla="*/ 2147483646 h 26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14"/>
                  <a:gd name="T130" fmla="*/ 0 h 263"/>
                  <a:gd name="T131" fmla="*/ 314 w 314"/>
                  <a:gd name="T132" fmla="*/ 263 h 26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14" h="263">
                    <a:moveTo>
                      <a:pt x="10" y="87"/>
                    </a:moveTo>
                    <a:lnTo>
                      <a:pt x="22" y="109"/>
                    </a:lnTo>
                    <a:lnTo>
                      <a:pt x="37" y="128"/>
                    </a:lnTo>
                    <a:lnTo>
                      <a:pt x="55" y="143"/>
                    </a:lnTo>
                    <a:lnTo>
                      <a:pt x="75" y="154"/>
                    </a:lnTo>
                    <a:lnTo>
                      <a:pt x="96" y="160"/>
                    </a:lnTo>
                    <a:lnTo>
                      <a:pt x="119" y="162"/>
                    </a:lnTo>
                    <a:lnTo>
                      <a:pt x="142" y="160"/>
                    </a:lnTo>
                    <a:lnTo>
                      <a:pt x="166" y="152"/>
                    </a:lnTo>
                    <a:lnTo>
                      <a:pt x="176" y="147"/>
                    </a:lnTo>
                    <a:lnTo>
                      <a:pt x="185" y="142"/>
                    </a:lnTo>
                    <a:lnTo>
                      <a:pt x="193" y="135"/>
                    </a:lnTo>
                    <a:lnTo>
                      <a:pt x="200" y="128"/>
                    </a:lnTo>
                    <a:lnTo>
                      <a:pt x="206" y="121"/>
                    </a:lnTo>
                    <a:lnTo>
                      <a:pt x="212" y="112"/>
                    </a:lnTo>
                    <a:lnTo>
                      <a:pt x="216" y="102"/>
                    </a:lnTo>
                    <a:lnTo>
                      <a:pt x="221" y="92"/>
                    </a:lnTo>
                    <a:lnTo>
                      <a:pt x="226" y="102"/>
                    </a:lnTo>
                    <a:lnTo>
                      <a:pt x="230" y="115"/>
                    </a:lnTo>
                    <a:lnTo>
                      <a:pt x="234" y="128"/>
                    </a:lnTo>
                    <a:lnTo>
                      <a:pt x="236" y="140"/>
                    </a:lnTo>
                    <a:lnTo>
                      <a:pt x="235" y="151"/>
                    </a:lnTo>
                    <a:lnTo>
                      <a:pt x="233" y="161"/>
                    </a:lnTo>
                    <a:lnTo>
                      <a:pt x="226" y="170"/>
                    </a:lnTo>
                    <a:lnTo>
                      <a:pt x="216" y="180"/>
                    </a:lnTo>
                    <a:lnTo>
                      <a:pt x="203" y="187"/>
                    </a:lnTo>
                    <a:lnTo>
                      <a:pt x="198" y="189"/>
                    </a:lnTo>
                    <a:lnTo>
                      <a:pt x="192" y="190"/>
                    </a:lnTo>
                    <a:lnTo>
                      <a:pt x="187" y="191"/>
                    </a:lnTo>
                    <a:lnTo>
                      <a:pt x="180" y="191"/>
                    </a:lnTo>
                    <a:lnTo>
                      <a:pt x="174" y="190"/>
                    </a:lnTo>
                    <a:lnTo>
                      <a:pt x="168" y="189"/>
                    </a:lnTo>
                    <a:lnTo>
                      <a:pt x="163" y="185"/>
                    </a:lnTo>
                    <a:lnTo>
                      <a:pt x="159" y="181"/>
                    </a:lnTo>
                    <a:lnTo>
                      <a:pt x="72" y="219"/>
                    </a:lnTo>
                    <a:lnTo>
                      <a:pt x="86" y="236"/>
                    </a:lnTo>
                    <a:lnTo>
                      <a:pt x="104" y="249"/>
                    </a:lnTo>
                    <a:lnTo>
                      <a:pt x="123" y="258"/>
                    </a:lnTo>
                    <a:lnTo>
                      <a:pt x="145" y="261"/>
                    </a:lnTo>
                    <a:lnTo>
                      <a:pt x="167" y="263"/>
                    </a:lnTo>
                    <a:lnTo>
                      <a:pt x="190" y="260"/>
                    </a:lnTo>
                    <a:lnTo>
                      <a:pt x="211" y="255"/>
                    </a:lnTo>
                    <a:lnTo>
                      <a:pt x="230" y="248"/>
                    </a:lnTo>
                    <a:lnTo>
                      <a:pt x="246" y="240"/>
                    </a:lnTo>
                    <a:lnTo>
                      <a:pt x="261" y="231"/>
                    </a:lnTo>
                    <a:lnTo>
                      <a:pt x="274" y="223"/>
                    </a:lnTo>
                    <a:lnTo>
                      <a:pt x="286" y="213"/>
                    </a:lnTo>
                    <a:lnTo>
                      <a:pt x="295" y="203"/>
                    </a:lnTo>
                    <a:lnTo>
                      <a:pt x="303" y="192"/>
                    </a:lnTo>
                    <a:lnTo>
                      <a:pt x="310" y="180"/>
                    </a:lnTo>
                    <a:lnTo>
                      <a:pt x="314" y="167"/>
                    </a:lnTo>
                    <a:lnTo>
                      <a:pt x="298" y="152"/>
                    </a:lnTo>
                    <a:lnTo>
                      <a:pt x="282" y="137"/>
                    </a:lnTo>
                    <a:lnTo>
                      <a:pt x="266" y="123"/>
                    </a:lnTo>
                    <a:lnTo>
                      <a:pt x="250" y="111"/>
                    </a:lnTo>
                    <a:lnTo>
                      <a:pt x="233" y="98"/>
                    </a:lnTo>
                    <a:lnTo>
                      <a:pt x="215" y="86"/>
                    </a:lnTo>
                    <a:lnTo>
                      <a:pt x="198" y="75"/>
                    </a:lnTo>
                    <a:lnTo>
                      <a:pt x="180" y="64"/>
                    </a:lnTo>
                    <a:lnTo>
                      <a:pt x="175" y="68"/>
                    </a:lnTo>
                    <a:lnTo>
                      <a:pt x="170" y="71"/>
                    </a:lnTo>
                    <a:lnTo>
                      <a:pt x="166" y="75"/>
                    </a:lnTo>
                    <a:lnTo>
                      <a:pt x="160" y="77"/>
                    </a:lnTo>
                    <a:lnTo>
                      <a:pt x="148" y="81"/>
                    </a:lnTo>
                    <a:lnTo>
                      <a:pt x="137" y="83"/>
                    </a:lnTo>
                    <a:lnTo>
                      <a:pt x="127" y="82"/>
                    </a:lnTo>
                    <a:lnTo>
                      <a:pt x="117" y="78"/>
                    </a:lnTo>
                    <a:lnTo>
                      <a:pt x="108" y="74"/>
                    </a:lnTo>
                    <a:lnTo>
                      <a:pt x="101" y="68"/>
                    </a:lnTo>
                    <a:lnTo>
                      <a:pt x="94" y="59"/>
                    </a:lnTo>
                    <a:lnTo>
                      <a:pt x="89" y="49"/>
                    </a:lnTo>
                    <a:lnTo>
                      <a:pt x="86" y="43"/>
                    </a:lnTo>
                    <a:lnTo>
                      <a:pt x="85" y="36"/>
                    </a:lnTo>
                    <a:lnTo>
                      <a:pt x="84" y="29"/>
                    </a:lnTo>
                    <a:lnTo>
                      <a:pt x="84" y="22"/>
                    </a:lnTo>
                    <a:lnTo>
                      <a:pt x="75" y="18"/>
                    </a:lnTo>
                    <a:lnTo>
                      <a:pt x="64" y="15"/>
                    </a:lnTo>
                    <a:lnTo>
                      <a:pt x="55" y="13"/>
                    </a:lnTo>
                    <a:lnTo>
                      <a:pt x="45" y="9"/>
                    </a:lnTo>
                    <a:lnTo>
                      <a:pt x="34" y="7"/>
                    </a:lnTo>
                    <a:lnTo>
                      <a:pt x="24" y="5"/>
                    </a:lnTo>
                    <a:lnTo>
                      <a:pt x="14" y="2"/>
                    </a:lnTo>
                    <a:lnTo>
                      <a:pt x="3" y="0"/>
                    </a:lnTo>
                    <a:lnTo>
                      <a:pt x="0" y="21"/>
                    </a:lnTo>
                    <a:lnTo>
                      <a:pt x="0" y="44"/>
                    </a:lnTo>
                    <a:lnTo>
                      <a:pt x="3" y="66"/>
                    </a:lnTo>
                    <a:lnTo>
                      <a:pt x="10" y="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70" name="Freeform 278">
                <a:extLst>
                  <a:ext uri="{FF2B5EF4-FFF2-40B4-BE49-F238E27FC236}">
                    <a16:creationId xmlns:a16="http://schemas.microsoft.com/office/drawing/2014/main" id="{48269A71-BAE9-4B35-AD84-49EFDF665CD8}"/>
                  </a:ext>
                </a:extLst>
              </p:cNvPr>
              <p:cNvSpPr>
                <a:spLocks/>
              </p:cNvSpPr>
              <p:nvPr/>
            </p:nvSpPr>
            <p:spPr bwMode="auto">
              <a:xfrm>
                <a:off x="6805613" y="5180013"/>
                <a:ext cx="303213" cy="225425"/>
              </a:xfrm>
              <a:custGeom>
                <a:avLst/>
                <a:gdLst>
                  <a:gd name="T0" fmla="*/ 2147483646 w 381"/>
                  <a:gd name="T1" fmla="*/ 2147483646 h 284"/>
                  <a:gd name="T2" fmla="*/ 2147483646 w 381"/>
                  <a:gd name="T3" fmla="*/ 2147483646 h 284"/>
                  <a:gd name="T4" fmla="*/ 2147483646 w 381"/>
                  <a:gd name="T5" fmla="*/ 2147483646 h 284"/>
                  <a:gd name="T6" fmla="*/ 2147483646 w 381"/>
                  <a:gd name="T7" fmla="*/ 2147483646 h 284"/>
                  <a:gd name="T8" fmla="*/ 2147483646 w 381"/>
                  <a:gd name="T9" fmla="*/ 2147483646 h 284"/>
                  <a:gd name="T10" fmla="*/ 2147483646 w 381"/>
                  <a:gd name="T11" fmla="*/ 2147483646 h 284"/>
                  <a:gd name="T12" fmla="*/ 2147483646 w 381"/>
                  <a:gd name="T13" fmla="*/ 2147483646 h 284"/>
                  <a:gd name="T14" fmla="*/ 2147483646 w 381"/>
                  <a:gd name="T15" fmla="*/ 2147483646 h 284"/>
                  <a:gd name="T16" fmla="*/ 2147483646 w 381"/>
                  <a:gd name="T17" fmla="*/ 2147483646 h 284"/>
                  <a:gd name="T18" fmla="*/ 2147483646 w 381"/>
                  <a:gd name="T19" fmla="*/ 2147483646 h 284"/>
                  <a:gd name="T20" fmla="*/ 2147483646 w 381"/>
                  <a:gd name="T21" fmla="*/ 0 h 284"/>
                  <a:gd name="T22" fmla="*/ 0 w 381"/>
                  <a:gd name="T23" fmla="*/ 2147483646 h 284"/>
                  <a:gd name="T24" fmla="*/ 2147483646 w 381"/>
                  <a:gd name="T25" fmla="*/ 2147483646 h 284"/>
                  <a:gd name="T26" fmla="*/ 2147483646 w 381"/>
                  <a:gd name="T27" fmla="*/ 2147483646 h 284"/>
                  <a:gd name="T28" fmla="*/ 2147483646 w 381"/>
                  <a:gd name="T29" fmla="*/ 2147483646 h 284"/>
                  <a:gd name="T30" fmla="*/ 2147483646 w 381"/>
                  <a:gd name="T31" fmla="*/ 2147483646 h 284"/>
                  <a:gd name="T32" fmla="*/ 2147483646 w 381"/>
                  <a:gd name="T33" fmla="*/ 2147483646 h 284"/>
                  <a:gd name="T34" fmla="*/ 2147483646 w 381"/>
                  <a:gd name="T35" fmla="*/ 2147483646 h 284"/>
                  <a:gd name="T36" fmla="*/ 2147483646 w 381"/>
                  <a:gd name="T37" fmla="*/ 2147483646 h 284"/>
                  <a:gd name="T38" fmla="*/ 2147483646 w 381"/>
                  <a:gd name="T39" fmla="*/ 2147483646 h 284"/>
                  <a:gd name="T40" fmla="*/ 2147483646 w 381"/>
                  <a:gd name="T41" fmla="*/ 2147483646 h 284"/>
                  <a:gd name="T42" fmla="*/ 2147483646 w 381"/>
                  <a:gd name="T43" fmla="*/ 2147483646 h 284"/>
                  <a:gd name="T44" fmla="*/ 2147483646 w 381"/>
                  <a:gd name="T45" fmla="*/ 2147483646 h 284"/>
                  <a:gd name="T46" fmla="*/ 2147483646 w 381"/>
                  <a:gd name="T47" fmla="*/ 2147483646 h 284"/>
                  <a:gd name="T48" fmla="*/ 2147483646 w 381"/>
                  <a:gd name="T49" fmla="*/ 2147483646 h 284"/>
                  <a:gd name="T50" fmla="*/ 2147483646 w 381"/>
                  <a:gd name="T51" fmla="*/ 2147483646 h 284"/>
                  <a:gd name="T52" fmla="*/ 2147483646 w 381"/>
                  <a:gd name="T53" fmla="*/ 2147483646 h 284"/>
                  <a:gd name="T54" fmla="*/ 2147483646 w 381"/>
                  <a:gd name="T55" fmla="*/ 2147483646 h 284"/>
                  <a:gd name="T56" fmla="*/ 2147483646 w 381"/>
                  <a:gd name="T57" fmla="*/ 2147483646 h 284"/>
                  <a:gd name="T58" fmla="*/ 2147483646 w 381"/>
                  <a:gd name="T59" fmla="*/ 2147483646 h 284"/>
                  <a:gd name="T60" fmla="*/ 2147483646 w 381"/>
                  <a:gd name="T61" fmla="*/ 2147483646 h 284"/>
                  <a:gd name="T62" fmla="*/ 2147483646 w 381"/>
                  <a:gd name="T63" fmla="*/ 2147483646 h 284"/>
                  <a:gd name="T64" fmla="*/ 2147483646 w 381"/>
                  <a:gd name="T65" fmla="*/ 2147483646 h 284"/>
                  <a:gd name="T66" fmla="*/ 2147483646 w 381"/>
                  <a:gd name="T67" fmla="*/ 2147483646 h 284"/>
                  <a:gd name="T68" fmla="*/ 2147483646 w 381"/>
                  <a:gd name="T69" fmla="*/ 2147483646 h 284"/>
                  <a:gd name="T70" fmla="*/ 2147483646 w 381"/>
                  <a:gd name="T71" fmla="*/ 2147483646 h 284"/>
                  <a:gd name="T72" fmla="*/ 2147483646 w 381"/>
                  <a:gd name="T73" fmla="*/ 2147483646 h 284"/>
                  <a:gd name="T74" fmla="*/ 2147483646 w 381"/>
                  <a:gd name="T75" fmla="*/ 2147483646 h 284"/>
                  <a:gd name="T76" fmla="*/ 2147483646 w 381"/>
                  <a:gd name="T77" fmla="*/ 2147483646 h 284"/>
                  <a:gd name="T78" fmla="*/ 2147483646 w 381"/>
                  <a:gd name="T79" fmla="*/ 2147483646 h 284"/>
                  <a:gd name="T80" fmla="*/ 2147483646 w 381"/>
                  <a:gd name="T81" fmla="*/ 2147483646 h 284"/>
                  <a:gd name="T82" fmla="*/ 2147483646 w 381"/>
                  <a:gd name="T83" fmla="*/ 2147483646 h 284"/>
                  <a:gd name="T84" fmla="*/ 2147483646 w 381"/>
                  <a:gd name="T85" fmla="*/ 2147483646 h 284"/>
                  <a:gd name="T86" fmla="*/ 2147483646 w 381"/>
                  <a:gd name="T87" fmla="*/ 2147483646 h 284"/>
                  <a:gd name="T88" fmla="*/ 2147483646 w 381"/>
                  <a:gd name="T89" fmla="*/ 2147483646 h 284"/>
                  <a:gd name="T90" fmla="*/ 2147483646 w 381"/>
                  <a:gd name="T91" fmla="*/ 2147483646 h 284"/>
                  <a:gd name="T92" fmla="*/ 2147483646 w 381"/>
                  <a:gd name="T93" fmla="*/ 2147483646 h 284"/>
                  <a:gd name="T94" fmla="*/ 2147483646 w 381"/>
                  <a:gd name="T95" fmla="*/ 2147483646 h 284"/>
                  <a:gd name="T96" fmla="*/ 2147483646 w 381"/>
                  <a:gd name="T97" fmla="*/ 2147483646 h 284"/>
                  <a:gd name="T98" fmla="*/ 2147483646 w 381"/>
                  <a:gd name="T99" fmla="*/ 2147483646 h 284"/>
                  <a:gd name="T100" fmla="*/ 2147483646 w 381"/>
                  <a:gd name="T101" fmla="*/ 2147483646 h 284"/>
                  <a:gd name="T102" fmla="*/ 2147483646 w 381"/>
                  <a:gd name="T103" fmla="*/ 2147483646 h 28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81"/>
                  <a:gd name="T157" fmla="*/ 0 h 284"/>
                  <a:gd name="T158" fmla="*/ 381 w 381"/>
                  <a:gd name="T159" fmla="*/ 284 h 28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81" h="284">
                    <a:moveTo>
                      <a:pt x="202" y="97"/>
                    </a:moveTo>
                    <a:lnTo>
                      <a:pt x="192" y="102"/>
                    </a:lnTo>
                    <a:lnTo>
                      <a:pt x="183" y="109"/>
                    </a:lnTo>
                    <a:lnTo>
                      <a:pt x="175" y="114"/>
                    </a:lnTo>
                    <a:lnTo>
                      <a:pt x="167" y="122"/>
                    </a:lnTo>
                    <a:lnTo>
                      <a:pt x="161" y="130"/>
                    </a:lnTo>
                    <a:lnTo>
                      <a:pt x="156" y="140"/>
                    </a:lnTo>
                    <a:lnTo>
                      <a:pt x="152" y="150"/>
                    </a:lnTo>
                    <a:lnTo>
                      <a:pt x="148" y="162"/>
                    </a:lnTo>
                    <a:lnTo>
                      <a:pt x="147" y="163"/>
                    </a:lnTo>
                    <a:lnTo>
                      <a:pt x="77" y="0"/>
                    </a:lnTo>
                    <a:lnTo>
                      <a:pt x="0" y="34"/>
                    </a:lnTo>
                    <a:lnTo>
                      <a:pt x="71" y="197"/>
                    </a:lnTo>
                    <a:lnTo>
                      <a:pt x="85" y="205"/>
                    </a:lnTo>
                    <a:lnTo>
                      <a:pt x="99" y="213"/>
                    </a:lnTo>
                    <a:lnTo>
                      <a:pt x="113" y="220"/>
                    </a:lnTo>
                    <a:lnTo>
                      <a:pt x="128" y="227"/>
                    </a:lnTo>
                    <a:lnTo>
                      <a:pt x="141" y="233"/>
                    </a:lnTo>
                    <a:lnTo>
                      <a:pt x="156" y="239"/>
                    </a:lnTo>
                    <a:lnTo>
                      <a:pt x="171" y="245"/>
                    </a:lnTo>
                    <a:lnTo>
                      <a:pt x="186" y="250"/>
                    </a:lnTo>
                    <a:lnTo>
                      <a:pt x="182" y="241"/>
                    </a:lnTo>
                    <a:lnTo>
                      <a:pt x="175" y="222"/>
                    </a:lnTo>
                    <a:lnTo>
                      <a:pt x="175" y="202"/>
                    </a:lnTo>
                    <a:lnTo>
                      <a:pt x="182" y="185"/>
                    </a:lnTo>
                    <a:lnTo>
                      <a:pt x="199" y="172"/>
                    </a:lnTo>
                    <a:lnTo>
                      <a:pt x="209" y="169"/>
                    </a:lnTo>
                    <a:lnTo>
                      <a:pt x="220" y="169"/>
                    </a:lnTo>
                    <a:lnTo>
                      <a:pt x="228" y="171"/>
                    </a:lnTo>
                    <a:lnTo>
                      <a:pt x="235" y="175"/>
                    </a:lnTo>
                    <a:lnTo>
                      <a:pt x="242" y="181"/>
                    </a:lnTo>
                    <a:lnTo>
                      <a:pt x="247" y="189"/>
                    </a:lnTo>
                    <a:lnTo>
                      <a:pt x="252" y="198"/>
                    </a:lnTo>
                    <a:lnTo>
                      <a:pt x="257" y="208"/>
                    </a:lnTo>
                    <a:lnTo>
                      <a:pt x="285" y="276"/>
                    </a:lnTo>
                    <a:lnTo>
                      <a:pt x="297" y="277"/>
                    </a:lnTo>
                    <a:lnTo>
                      <a:pt x="310" y="279"/>
                    </a:lnTo>
                    <a:lnTo>
                      <a:pt x="321" y="280"/>
                    </a:lnTo>
                    <a:lnTo>
                      <a:pt x="334" y="281"/>
                    </a:lnTo>
                    <a:lnTo>
                      <a:pt x="345" y="283"/>
                    </a:lnTo>
                    <a:lnTo>
                      <a:pt x="357" y="283"/>
                    </a:lnTo>
                    <a:lnTo>
                      <a:pt x="369" y="284"/>
                    </a:lnTo>
                    <a:lnTo>
                      <a:pt x="381" y="284"/>
                    </a:lnTo>
                    <a:lnTo>
                      <a:pt x="325" y="154"/>
                    </a:lnTo>
                    <a:lnTo>
                      <a:pt x="314" y="134"/>
                    </a:lnTo>
                    <a:lnTo>
                      <a:pt x="303" y="118"/>
                    </a:lnTo>
                    <a:lnTo>
                      <a:pt x="290" y="105"/>
                    </a:lnTo>
                    <a:lnTo>
                      <a:pt x="275" y="96"/>
                    </a:lnTo>
                    <a:lnTo>
                      <a:pt x="259" y="90"/>
                    </a:lnTo>
                    <a:lnTo>
                      <a:pt x="242" y="88"/>
                    </a:lnTo>
                    <a:lnTo>
                      <a:pt x="222" y="90"/>
                    </a:lnTo>
                    <a:lnTo>
                      <a:pt x="202" y="9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71" name="Freeform 279">
                <a:extLst>
                  <a:ext uri="{FF2B5EF4-FFF2-40B4-BE49-F238E27FC236}">
                    <a16:creationId xmlns:a16="http://schemas.microsoft.com/office/drawing/2014/main" id="{2A095EE1-8B73-4C7E-A29A-367A1993BAAB}"/>
                  </a:ext>
                </a:extLst>
              </p:cNvPr>
              <p:cNvSpPr>
                <a:spLocks/>
              </p:cNvSpPr>
              <p:nvPr/>
            </p:nvSpPr>
            <p:spPr bwMode="auto">
              <a:xfrm>
                <a:off x="7073900" y="5138738"/>
                <a:ext cx="236538" cy="231775"/>
              </a:xfrm>
              <a:custGeom>
                <a:avLst/>
                <a:gdLst>
                  <a:gd name="T0" fmla="*/ 2147483646 w 299"/>
                  <a:gd name="T1" fmla="*/ 0 h 293"/>
                  <a:gd name="T2" fmla="*/ 2147483646 w 299"/>
                  <a:gd name="T3" fmla="*/ 2147483646 h 293"/>
                  <a:gd name="T4" fmla="*/ 2147483646 w 299"/>
                  <a:gd name="T5" fmla="*/ 2147483646 h 293"/>
                  <a:gd name="T6" fmla="*/ 2147483646 w 299"/>
                  <a:gd name="T7" fmla="*/ 2147483646 h 293"/>
                  <a:gd name="T8" fmla="*/ 2147483646 w 299"/>
                  <a:gd name="T9" fmla="*/ 2147483646 h 293"/>
                  <a:gd name="T10" fmla="*/ 2147483646 w 299"/>
                  <a:gd name="T11" fmla="*/ 2147483646 h 293"/>
                  <a:gd name="T12" fmla="*/ 2147483646 w 299"/>
                  <a:gd name="T13" fmla="*/ 2147483646 h 293"/>
                  <a:gd name="T14" fmla="*/ 2147483646 w 299"/>
                  <a:gd name="T15" fmla="*/ 2147483646 h 293"/>
                  <a:gd name="T16" fmla="*/ 2147483646 w 299"/>
                  <a:gd name="T17" fmla="*/ 2147483646 h 293"/>
                  <a:gd name="T18" fmla="*/ 2147483646 w 299"/>
                  <a:gd name="T19" fmla="*/ 2147483646 h 293"/>
                  <a:gd name="T20" fmla="*/ 2147483646 w 299"/>
                  <a:gd name="T21" fmla="*/ 2147483646 h 293"/>
                  <a:gd name="T22" fmla="*/ 2147483646 w 299"/>
                  <a:gd name="T23" fmla="*/ 2147483646 h 293"/>
                  <a:gd name="T24" fmla="*/ 2147483646 w 299"/>
                  <a:gd name="T25" fmla="*/ 2147483646 h 293"/>
                  <a:gd name="T26" fmla="*/ 2147483646 w 299"/>
                  <a:gd name="T27" fmla="*/ 2147483646 h 293"/>
                  <a:gd name="T28" fmla="*/ 2147483646 w 299"/>
                  <a:gd name="T29" fmla="*/ 2147483646 h 293"/>
                  <a:gd name="T30" fmla="*/ 2147483646 w 299"/>
                  <a:gd name="T31" fmla="*/ 2147483646 h 293"/>
                  <a:gd name="T32" fmla="*/ 0 w 299"/>
                  <a:gd name="T33" fmla="*/ 2147483646 h 293"/>
                  <a:gd name="T34" fmla="*/ 2147483646 w 299"/>
                  <a:gd name="T35" fmla="*/ 2147483646 h 293"/>
                  <a:gd name="T36" fmla="*/ 2147483646 w 299"/>
                  <a:gd name="T37" fmla="*/ 2147483646 h 293"/>
                  <a:gd name="T38" fmla="*/ 2147483646 w 299"/>
                  <a:gd name="T39" fmla="*/ 2147483646 h 293"/>
                  <a:gd name="T40" fmla="*/ 2147483646 w 299"/>
                  <a:gd name="T41" fmla="*/ 2147483646 h 293"/>
                  <a:gd name="T42" fmla="*/ 2147483646 w 299"/>
                  <a:gd name="T43" fmla="*/ 2147483646 h 293"/>
                  <a:gd name="T44" fmla="*/ 2147483646 w 299"/>
                  <a:gd name="T45" fmla="*/ 2147483646 h 293"/>
                  <a:gd name="T46" fmla="*/ 2147483646 w 299"/>
                  <a:gd name="T47" fmla="*/ 2147483646 h 293"/>
                  <a:gd name="T48" fmla="*/ 2147483646 w 299"/>
                  <a:gd name="T49" fmla="*/ 2147483646 h 293"/>
                  <a:gd name="T50" fmla="*/ 2147483646 w 299"/>
                  <a:gd name="T51" fmla="*/ 2147483646 h 293"/>
                  <a:gd name="T52" fmla="*/ 2147483646 w 299"/>
                  <a:gd name="T53" fmla="*/ 2147483646 h 293"/>
                  <a:gd name="T54" fmla="*/ 2147483646 w 299"/>
                  <a:gd name="T55" fmla="*/ 2147483646 h 293"/>
                  <a:gd name="T56" fmla="*/ 2147483646 w 299"/>
                  <a:gd name="T57" fmla="*/ 2147483646 h 293"/>
                  <a:gd name="T58" fmla="*/ 2147483646 w 299"/>
                  <a:gd name="T59" fmla="*/ 2147483646 h 293"/>
                  <a:gd name="T60" fmla="*/ 2147483646 w 299"/>
                  <a:gd name="T61" fmla="*/ 2147483646 h 293"/>
                  <a:gd name="T62" fmla="*/ 2147483646 w 299"/>
                  <a:gd name="T63" fmla="*/ 2147483646 h 293"/>
                  <a:gd name="T64" fmla="*/ 2147483646 w 299"/>
                  <a:gd name="T65" fmla="*/ 2147483646 h 293"/>
                  <a:gd name="T66" fmla="*/ 2147483646 w 299"/>
                  <a:gd name="T67" fmla="*/ 2147483646 h 293"/>
                  <a:gd name="T68" fmla="*/ 2147483646 w 299"/>
                  <a:gd name="T69" fmla="*/ 0 h 29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293"/>
                  <a:gd name="T107" fmla="*/ 299 w 299"/>
                  <a:gd name="T108" fmla="*/ 293 h 29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293">
                    <a:moveTo>
                      <a:pt x="232" y="0"/>
                    </a:moveTo>
                    <a:lnTo>
                      <a:pt x="155" y="34"/>
                    </a:lnTo>
                    <a:lnTo>
                      <a:pt x="205" y="150"/>
                    </a:lnTo>
                    <a:lnTo>
                      <a:pt x="212" y="170"/>
                    </a:lnTo>
                    <a:lnTo>
                      <a:pt x="212" y="187"/>
                    </a:lnTo>
                    <a:lnTo>
                      <a:pt x="204" y="202"/>
                    </a:lnTo>
                    <a:lnTo>
                      <a:pt x="187" y="213"/>
                    </a:lnTo>
                    <a:lnTo>
                      <a:pt x="175" y="217"/>
                    </a:lnTo>
                    <a:lnTo>
                      <a:pt x="166" y="218"/>
                    </a:lnTo>
                    <a:lnTo>
                      <a:pt x="157" y="217"/>
                    </a:lnTo>
                    <a:lnTo>
                      <a:pt x="150" y="213"/>
                    </a:lnTo>
                    <a:lnTo>
                      <a:pt x="143" y="208"/>
                    </a:lnTo>
                    <a:lnTo>
                      <a:pt x="137" y="201"/>
                    </a:lnTo>
                    <a:lnTo>
                      <a:pt x="133" y="193"/>
                    </a:lnTo>
                    <a:lnTo>
                      <a:pt x="128" y="183"/>
                    </a:lnTo>
                    <a:lnTo>
                      <a:pt x="77" y="67"/>
                    </a:lnTo>
                    <a:lnTo>
                      <a:pt x="0" y="101"/>
                    </a:lnTo>
                    <a:lnTo>
                      <a:pt x="57" y="231"/>
                    </a:lnTo>
                    <a:lnTo>
                      <a:pt x="69" y="255"/>
                    </a:lnTo>
                    <a:lnTo>
                      <a:pt x="85" y="272"/>
                    </a:lnTo>
                    <a:lnTo>
                      <a:pt x="103" y="284"/>
                    </a:lnTo>
                    <a:lnTo>
                      <a:pt x="122" y="291"/>
                    </a:lnTo>
                    <a:lnTo>
                      <a:pt x="143" y="293"/>
                    </a:lnTo>
                    <a:lnTo>
                      <a:pt x="166" y="289"/>
                    </a:lnTo>
                    <a:lnTo>
                      <a:pt x="189" y="284"/>
                    </a:lnTo>
                    <a:lnTo>
                      <a:pt x="213" y="275"/>
                    </a:lnTo>
                    <a:lnTo>
                      <a:pt x="236" y="263"/>
                    </a:lnTo>
                    <a:lnTo>
                      <a:pt x="257" y="250"/>
                    </a:lnTo>
                    <a:lnTo>
                      <a:pt x="274" y="236"/>
                    </a:lnTo>
                    <a:lnTo>
                      <a:pt x="287" y="219"/>
                    </a:lnTo>
                    <a:lnTo>
                      <a:pt x="295" y="201"/>
                    </a:lnTo>
                    <a:lnTo>
                      <a:pt x="299" y="180"/>
                    </a:lnTo>
                    <a:lnTo>
                      <a:pt x="296" y="156"/>
                    </a:lnTo>
                    <a:lnTo>
                      <a:pt x="288" y="130"/>
                    </a:lnTo>
                    <a:lnTo>
                      <a:pt x="2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72" name="Freeform 280">
                <a:extLst>
                  <a:ext uri="{FF2B5EF4-FFF2-40B4-BE49-F238E27FC236}">
                    <a16:creationId xmlns:a16="http://schemas.microsoft.com/office/drawing/2014/main" id="{C0C8BE02-3377-4607-937A-9FAE923D55C1}"/>
                  </a:ext>
                </a:extLst>
              </p:cNvPr>
              <p:cNvSpPr>
                <a:spLocks/>
              </p:cNvSpPr>
              <p:nvPr/>
            </p:nvSpPr>
            <p:spPr bwMode="auto">
              <a:xfrm>
                <a:off x="7250113" y="4987925"/>
                <a:ext cx="180975" cy="306387"/>
              </a:xfrm>
              <a:custGeom>
                <a:avLst/>
                <a:gdLst>
                  <a:gd name="T0" fmla="*/ 0 w 228"/>
                  <a:gd name="T1" fmla="*/ 2147483646 h 385"/>
                  <a:gd name="T2" fmla="*/ 2147483646 w 228"/>
                  <a:gd name="T3" fmla="*/ 2147483646 h 385"/>
                  <a:gd name="T4" fmla="*/ 2147483646 w 228"/>
                  <a:gd name="T5" fmla="*/ 2147483646 h 385"/>
                  <a:gd name="T6" fmla="*/ 2147483646 w 228"/>
                  <a:gd name="T7" fmla="*/ 0 h 385"/>
                  <a:gd name="T8" fmla="*/ 0 w 228"/>
                  <a:gd name="T9" fmla="*/ 2147483646 h 385"/>
                  <a:gd name="T10" fmla="*/ 0 60000 65536"/>
                  <a:gd name="T11" fmla="*/ 0 60000 65536"/>
                  <a:gd name="T12" fmla="*/ 0 60000 65536"/>
                  <a:gd name="T13" fmla="*/ 0 60000 65536"/>
                  <a:gd name="T14" fmla="*/ 0 60000 65536"/>
                  <a:gd name="T15" fmla="*/ 0 w 228"/>
                  <a:gd name="T16" fmla="*/ 0 h 385"/>
                  <a:gd name="T17" fmla="*/ 228 w 228"/>
                  <a:gd name="T18" fmla="*/ 385 h 385"/>
                </a:gdLst>
                <a:ahLst/>
                <a:cxnLst>
                  <a:cxn ang="T10">
                    <a:pos x="T0" y="T1"/>
                  </a:cxn>
                  <a:cxn ang="T11">
                    <a:pos x="T2" y="T3"/>
                  </a:cxn>
                  <a:cxn ang="T12">
                    <a:pos x="T4" y="T5"/>
                  </a:cxn>
                  <a:cxn ang="T13">
                    <a:pos x="T6" y="T7"/>
                  </a:cxn>
                  <a:cxn ang="T14">
                    <a:pos x="T8" y="T9"/>
                  </a:cxn>
                </a:cxnLst>
                <a:rect l="T15" t="T16" r="T17" b="T18"/>
                <a:pathLst>
                  <a:path w="228" h="385">
                    <a:moveTo>
                      <a:pt x="0" y="34"/>
                    </a:moveTo>
                    <a:lnTo>
                      <a:pt x="150" y="385"/>
                    </a:lnTo>
                    <a:lnTo>
                      <a:pt x="228" y="352"/>
                    </a:lnTo>
                    <a:lnTo>
                      <a:pt x="77" y="0"/>
                    </a:lnTo>
                    <a:lnTo>
                      <a:pt x="0"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73" name="Freeform 281">
                <a:extLst>
                  <a:ext uri="{FF2B5EF4-FFF2-40B4-BE49-F238E27FC236}">
                    <a16:creationId xmlns:a16="http://schemas.microsoft.com/office/drawing/2014/main" id="{E7CF294E-90C7-46DA-8B88-EB1288479AA7}"/>
                  </a:ext>
                </a:extLst>
              </p:cNvPr>
              <p:cNvSpPr>
                <a:spLocks/>
              </p:cNvSpPr>
              <p:nvPr/>
            </p:nvSpPr>
            <p:spPr bwMode="auto">
              <a:xfrm>
                <a:off x="7397750" y="5013325"/>
                <a:ext cx="185738" cy="231775"/>
              </a:xfrm>
              <a:custGeom>
                <a:avLst/>
                <a:gdLst>
                  <a:gd name="T0" fmla="*/ 2147483646 w 234"/>
                  <a:gd name="T1" fmla="*/ 2147483646 h 291"/>
                  <a:gd name="T2" fmla="*/ 2147483646 w 234"/>
                  <a:gd name="T3" fmla="*/ 2147483646 h 291"/>
                  <a:gd name="T4" fmla="*/ 2147483646 w 234"/>
                  <a:gd name="T5" fmla="*/ 2147483646 h 291"/>
                  <a:gd name="T6" fmla="*/ 2147483646 w 234"/>
                  <a:gd name="T7" fmla="*/ 2147483646 h 291"/>
                  <a:gd name="T8" fmla="*/ 2147483646 w 234"/>
                  <a:gd name="T9" fmla="*/ 2147483646 h 291"/>
                  <a:gd name="T10" fmla="*/ 2147483646 w 234"/>
                  <a:gd name="T11" fmla="*/ 2147483646 h 291"/>
                  <a:gd name="T12" fmla="*/ 2147483646 w 234"/>
                  <a:gd name="T13" fmla="*/ 2147483646 h 291"/>
                  <a:gd name="T14" fmla="*/ 2147483646 w 234"/>
                  <a:gd name="T15" fmla="*/ 2147483646 h 291"/>
                  <a:gd name="T16" fmla="*/ 2147483646 w 234"/>
                  <a:gd name="T17" fmla="*/ 2147483646 h 291"/>
                  <a:gd name="T18" fmla="*/ 2147483646 w 234"/>
                  <a:gd name="T19" fmla="*/ 2147483646 h 291"/>
                  <a:gd name="T20" fmla="*/ 2147483646 w 234"/>
                  <a:gd name="T21" fmla="*/ 2147483646 h 291"/>
                  <a:gd name="T22" fmla="*/ 0 w 234"/>
                  <a:gd name="T23" fmla="*/ 2147483646 h 291"/>
                  <a:gd name="T24" fmla="*/ 2147483646 w 234"/>
                  <a:gd name="T25" fmla="*/ 2147483646 h 291"/>
                  <a:gd name="T26" fmla="*/ 2147483646 w 234"/>
                  <a:gd name="T27" fmla="*/ 2147483646 h 291"/>
                  <a:gd name="T28" fmla="*/ 2147483646 w 234"/>
                  <a:gd name="T29" fmla="*/ 2147483646 h 291"/>
                  <a:gd name="T30" fmla="*/ 2147483646 w 234"/>
                  <a:gd name="T31" fmla="*/ 2147483646 h 291"/>
                  <a:gd name="T32" fmla="*/ 2147483646 w 234"/>
                  <a:gd name="T33" fmla="*/ 2147483646 h 291"/>
                  <a:gd name="T34" fmla="*/ 2147483646 w 234"/>
                  <a:gd name="T35" fmla="*/ 2147483646 h 291"/>
                  <a:gd name="T36" fmla="*/ 2147483646 w 234"/>
                  <a:gd name="T37" fmla="*/ 2147483646 h 291"/>
                  <a:gd name="T38" fmla="*/ 2147483646 w 234"/>
                  <a:gd name="T39" fmla="*/ 2147483646 h 291"/>
                  <a:gd name="T40" fmla="*/ 2147483646 w 234"/>
                  <a:gd name="T41" fmla="*/ 2147483646 h 291"/>
                  <a:gd name="T42" fmla="*/ 2147483646 w 234"/>
                  <a:gd name="T43" fmla="*/ 2147483646 h 291"/>
                  <a:gd name="T44" fmla="*/ 2147483646 w 234"/>
                  <a:gd name="T45" fmla="*/ 2147483646 h 291"/>
                  <a:gd name="T46" fmla="*/ 2147483646 w 234"/>
                  <a:gd name="T47" fmla="*/ 2147483646 h 291"/>
                  <a:gd name="T48" fmla="*/ 2147483646 w 234"/>
                  <a:gd name="T49" fmla="*/ 2147483646 h 291"/>
                  <a:gd name="T50" fmla="*/ 2147483646 w 234"/>
                  <a:gd name="T51" fmla="*/ 2147483646 h 291"/>
                  <a:gd name="T52" fmla="*/ 2147483646 w 234"/>
                  <a:gd name="T53" fmla="*/ 2147483646 h 291"/>
                  <a:gd name="T54" fmla="*/ 2147483646 w 234"/>
                  <a:gd name="T55" fmla="*/ 2147483646 h 291"/>
                  <a:gd name="T56" fmla="*/ 2147483646 w 234"/>
                  <a:gd name="T57" fmla="*/ 2147483646 h 291"/>
                  <a:gd name="T58" fmla="*/ 2147483646 w 234"/>
                  <a:gd name="T59" fmla="*/ 2147483646 h 291"/>
                  <a:gd name="T60" fmla="*/ 2147483646 w 234"/>
                  <a:gd name="T61" fmla="*/ 2147483646 h 291"/>
                  <a:gd name="T62" fmla="*/ 2147483646 w 234"/>
                  <a:gd name="T63" fmla="*/ 2147483646 h 291"/>
                  <a:gd name="T64" fmla="*/ 2147483646 w 234"/>
                  <a:gd name="T65" fmla="*/ 2147483646 h 291"/>
                  <a:gd name="T66" fmla="*/ 2147483646 w 234"/>
                  <a:gd name="T67" fmla="*/ 2147483646 h 291"/>
                  <a:gd name="T68" fmla="*/ 2147483646 w 234"/>
                  <a:gd name="T69" fmla="*/ 2147483646 h 291"/>
                  <a:gd name="T70" fmla="*/ 2147483646 w 234"/>
                  <a:gd name="T71" fmla="*/ 2147483646 h 291"/>
                  <a:gd name="T72" fmla="*/ 2147483646 w 234"/>
                  <a:gd name="T73" fmla="*/ 2147483646 h 291"/>
                  <a:gd name="T74" fmla="*/ 2147483646 w 234"/>
                  <a:gd name="T75" fmla="*/ 2147483646 h 291"/>
                  <a:gd name="T76" fmla="*/ 2147483646 w 234"/>
                  <a:gd name="T77" fmla="*/ 2147483646 h 291"/>
                  <a:gd name="T78" fmla="*/ 2147483646 w 234"/>
                  <a:gd name="T79" fmla="*/ 2147483646 h 291"/>
                  <a:gd name="T80" fmla="*/ 2147483646 w 234"/>
                  <a:gd name="T81" fmla="*/ 2147483646 h 291"/>
                  <a:gd name="T82" fmla="*/ 2147483646 w 234"/>
                  <a:gd name="T83" fmla="*/ 2147483646 h 291"/>
                  <a:gd name="T84" fmla="*/ 2147483646 w 234"/>
                  <a:gd name="T85" fmla="*/ 2147483646 h 291"/>
                  <a:gd name="T86" fmla="*/ 2147483646 w 234"/>
                  <a:gd name="T87" fmla="*/ 2147483646 h 291"/>
                  <a:gd name="T88" fmla="*/ 2147483646 w 234"/>
                  <a:gd name="T89" fmla="*/ 2147483646 h 291"/>
                  <a:gd name="T90" fmla="*/ 2147483646 w 234"/>
                  <a:gd name="T91" fmla="*/ 2147483646 h 291"/>
                  <a:gd name="T92" fmla="*/ 2147483646 w 234"/>
                  <a:gd name="T93" fmla="*/ 2147483646 h 291"/>
                  <a:gd name="T94" fmla="*/ 2147483646 w 234"/>
                  <a:gd name="T95" fmla="*/ 2147483646 h 291"/>
                  <a:gd name="T96" fmla="*/ 2147483646 w 234"/>
                  <a:gd name="T97" fmla="*/ 2147483646 h 291"/>
                  <a:gd name="T98" fmla="*/ 2147483646 w 234"/>
                  <a:gd name="T99" fmla="*/ 2147483646 h 291"/>
                  <a:gd name="T100" fmla="*/ 2147483646 w 234"/>
                  <a:gd name="T101" fmla="*/ 0 h 291"/>
                  <a:gd name="T102" fmla="*/ 2147483646 w 234"/>
                  <a:gd name="T103" fmla="*/ 0 h 291"/>
                  <a:gd name="T104" fmla="*/ 2147483646 w 234"/>
                  <a:gd name="T105" fmla="*/ 2147483646 h 291"/>
                  <a:gd name="T106" fmla="*/ 2147483646 w 234"/>
                  <a:gd name="T107" fmla="*/ 2147483646 h 291"/>
                  <a:gd name="T108" fmla="*/ 2147483646 w 234"/>
                  <a:gd name="T109" fmla="*/ 2147483646 h 29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4"/>
                  <a:gd name="T166" fmla="*/ 0 h 291"/>
                  <a:gd name="T167" fmla="*/ 234 w 234"/>
                  <a:gd name="T168" fmla="*/ 291 h 29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4" h="291">
                    <a:moveTo>
                      <a:pt x="143" y="9"/>
                    </a:moveTo>
                    <a:lnTo>
                      <a:pt x="132" y="13"/>
                    </a:lnTo>
                    <a:lnTo>
                      <a:pt x="124" y="19"/>
                    </a:lnTo>
                    <a:lnTo>
                      <a:pt x="115" y="25"/>
                    </a:lnTo>
                    <a:lnTo>
                      <a:pt x="108" y="33"/>
                    </a:lnTo>
                    <a:lnTo>
                      <a:pt x="102" y="41"/>
                    </a:lnTo>
                    <a:lnTo>
                      <a:pt x="97" y="50"/>
                    </a:lnTo>
                    <a:lnTo>
                      <a:pt x="92" y="61"/>
                    </a:lnTo>
                    <a:lnTo>
                      <a:pt x="89" y="72"/>
                    </a:lnTo>
                    <a:lnTo>
                      <a:pt x="89" y="73"/>
                    </a:lnTo>
                    <a:lnTo>
                      <a:pt x="77" y="46"/>
                    </a:lnTo>
                    <a:lnTo>
                      <a:pt x="0" y="79"/>
                    </a:lnTo>
                    <a:lnTo>
                      <a:pt x="92" y="291"/>
                    </a:lnTo>
                    <a:lnTo>
                      <a:pt x="100" y="282"/>
                    </a:lnTo>
                    <a:lnTo>
                      <a:pt x="107" y="273"/>
                    </a:lnTo>
                    <a:lnTo>
                      <a:pt x="115" y="263"/>
                    </a:lnTo>
                    <a:lnTo>
                      <a:pt x="122" y="254"/>
                    </a:lnTo>
                    <a:lnTo>
                      <a:pt x="129" y="245"/>
                    </a:lnTo>
                    <a:lnTo>
                      <a:pt x="136" y="235"/>
                    </a:lnTo>
                    <a:lnTo>
                      <a:pt x="143" y="225"/>
                    </a:lnTo>
                    <a:lnTo>
                      <a:pt x="150" y="215"/>
                    </a:lnTo>
                    <a:lnTo>
                      <a:pt x="125" y="160"/>
                    </a:lnTo>
                    <a:lnTo>
                      <a:pt x="121" y="151"/>
                    </a:lnTo>
                    <a:lnTo>
                      <a:pt x="117" y="140"/>
                    </a:lnTo>
                    <a:lnTo>
                      <a:pt x="114" y="129"/>
                    </a:lnTo>
                    <a:lnTo>
                      <a:pt x="113" y="118"/>
                    </a:lnTo>
                    <a:lnTo>
                      <a:pt x="113" y="108"/>
                    </a:lnTo>
                    <a:lnTo>
                      <a:pt x="116" y="99"/>
                    </a:lnTo>
                    <a:lnTo>
                      <a:pt x="123" y="91"/>
                    </a:lnTo>
                    <a:lnTo>
                      <a:pt x="134" y="84"/>
                    </a:lnTo>
                    <a:lnTo>
                      <a:pt x="146" y="80"/>
                    </a:lnTo>
                    <a:lnTo>
                      <a:pt x="157" y="81"/>
                    </a:lnTo>
                    <a:lnTo>
                      <a:pt x="166" y="85"/>
                    </a:lnTo>
                    <a:lnTo>
                      <a:pt x="173" y="92"/>
                    </a:lnTo>
                    <a:lnTo>
                      <a:pt x="180" y="101"/>
                    </a:lnTo>
                    <a:lnTo>
                      <a:pt x="185" y="110"/>
                    </a:lnTo>
                    <a:lnTo>
                      <a:pt x="190" y="121"/>
                    </a:lnTo>
                    <a:lnTo>
                      <a:pt x="195" y="130"/>
                    </a:lnTo>
                    <a:lnTo>
                      <a:pt x="196" y="132"/>
                    </a:lnTo>
                    <a:lnTo>
                      <a:pt x="202" y="118"/>
                    </a:lnTo>
                    <a:lnTo>
                      <a:pt x="207" y="104"/>
                    </a:lnTo>
                    <a:lnTo>
                      <a:pt x="213" y="89"/>
                    </a:lnTo>
                    <a:lnTo>
                      <a:pt x="218" y="76"/>
                    </a:lnTo>
                    <a:lnTo>
                      <a:pt x="222" y="61"/>
                    </a:lnTo>
                    <a:lnTo>
                      <a:pt x="227" y="46"/>
                    </a:lnTo>
                    <a:lnTo>
                      <a:pt x="230" y="32"/>
                    </a:lnTo>
                    <a:lnTo>
                      <a:pt x="234" y="17"/>
                    </a:lnTo>
                    <a:lnTo>
                      <a:pt x="223" y="10"/>
                    </a:lnTo>
                    <a:lnTo>
                      <a:pt x="212" y="5"/>
                    </a:lnTo>
                    <a:lnTo>
                      <a:pt x="202" y="2"/>
                    </a:lnTo>
                    <a:lnTo>
                      <a:pt x="190" y="0"/>
                    </a:lnTo>
                    <a:lnTo>
                      <a:pt x="178" y="0"/>
                    </a:lnTo>
                    <a:lnTo>
                      <a:pt x="166" y="1"/>
                    </a:lnTo>
                    <a:lnTo>
                      <a:pt x="154" y="4"/>
                    </a:lnTo>
                    <a:lnTo>
                      <a:pt x="14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74" name="Freeform 282">
                <a:extLst>
                  <a:ext uri="{FF2B5EF4-FFF2-40B4-BE49-F238E27FC236}">
                    <a16:creationId xmlns:a16="http://schemas.microsoft.com/office/drawing/2014/main" id="{245EFEF5-5179-4AB7-BBAA-C09EBB1749F0}"/>
                  </a:ext>
                </a:extLst>
              </p:cNvPr>
              <p:cNvSpPr>
                <a:spLocks/>
              </p:cNvSpPr>
              <p:nvPr/>
            </p:nvSpPr>
            <p:spPr bwMode="auto">
              <a:xfrm>
                <a:off x="6715125" y="4816475"/>
                <a:ext cx="247650" cy="341312"/>
              </a:xfrm>
              <a:custGeom>
                <a:avLst/>
                <a:gdLst>
                  <a:gd name="T0" fmla="*/ 2147483646 w 312"/>
                  <a:gd name="T1" fmla="*/ 2147483646 h 431"/>
                  <a:gd name="T2" fmla="*/ 2147483646 w 312"/>
                  <a:gd name="T3" fmla="*/ 2147483646 h 431"/>
                  <a:gd name="T4" fmla="*/ 2147483646 w 312"/>
                  <a:gd name="T5" fmla="*/ 2147483646 h 431"/>
                  <a:gd name="T6" fmla="*/ 2147483646 w 312"/>
                  <a:gd name="T7" fmla="*/ 2147483646 h 431"/>
                  <a:gd name="T8" fmla="*/ 2147483646 w 312"/>
                  <a:gd name="T9" fmla="*/ 2147483646 h 431"/>
                  <a:gd name="T10" fmla="*/ 2147483646 w 312"/>
                  <a:gd name="T11" fmla="*/ 2147483646 h 431"/>
                  <a:gd name="T12" fmla="*/ 2147483646 w 312"/>
                  <a:gd name="T13" fmla="*/ 2147483646 h 431"/>
                  <a:gd name="T14" fmla="*/ 2147483646 w 312"/>
                  <a:gd name="T15" fmla="*/ 2147483646 h 431"/>
                  <a:gd name="T16" fmla="*/ 2147483646 w 312"/>
                  <a:gd name="T17" fmla="*/ 2147483646 h 431"/>
                  <a:gd name="T18" fmla="*/ 2147483646 w 312"/>
                  <a:gd name="T19" fmla="*/ 2147483646 h 431"/>
                  <a:gd name="T20" fmla="*/ 2147483646 w 312"/>
                  <a:gd name="T21" fmla="*/ 2147483646 h 431"/>
                  <a:gd name="T22" fmla="*/ 2147483646 w 312"/>
                  <a:gd name="T23" fmla="*/ 2147483646 h 431"/>
                  <a:gd name="T24" fmla="*/ 2147483646 w 312"/>
                  <a:gd name="T25" fmla="*/ 2147483646 h 431"/>
                  <a:gd name="T26" fmla="*/ 2147483646 w 312"/>
                  <a:gd name="T27" fmla="*/ 2147483646 h 431"/>
                  <a:gd name="T28" fmla="*/ 2147483646 w 312"/>
                  <a:gd name="T29" fmla="*/ 2147483646 h 431"/>
                  <a:gd name="T30" fmla="*/ 0 w 312"/>
                  <a:gd name="T31" fmla="*/ 2147483646 h 431"/>
                  <a:gd name="T32" fmla="*/ 2147483646 w 312"/>
                  <a:gd name="T33" fmla="*/ 2147483646 h 431"/>
                  <a:gd name="T34" fmla="*/ 2147483646 w 312"/>
                  <a:gd name="T35" fmla="*/ 2147483646 h 431"/>
                  <a:gd name="T36" fmla="*/ 2147483646 w 312"/>
                  <a:gd name="T37" fmla="*/ 2147483646 h 431"/>
                  <a:gd name="T38" fmla="*/ 2147483646 w 312"/>
                  <a:gd name="T39" fmla="*/ 2147483646 h 431"/>
                  <a:gd name="T40" fmla="*/ 2147483646 w 312"/>
                  <a:gd name="T41" fmla="*/ 2147483646 h 431"/>
                  <a:gd name="T42" fmla="*/ 2147483646 w 312"/>
                  <a:gd name="T43" fmla="*/ 2147483646 h 431"/>
                  <a:gd name="T44" fmla="*/ 2147483646 w 312"/>
                  <a:gd name="T45" fmla="*/ 2147483646 h 431"/>
                  <a:gd name="T46" fmla="*/ 2147483646 w 312"/>
                  <a:gd name="T47" fmla="*/ 2147483646 h 431"/>
                  <a:gd name="T48" fmla="*/ 2147483646 w 312"/>
                  <a:gd name="T49" fmla="*/ 2147483646 h 431"/>
                  <a:gd name="T50" fmla="*/ 2147483646 w 312"/>
                  <a:gd name="T51" fmla="*/ 2147483646 h 431"/>
                  <a:gd name="T52" fmla="*/ 2147483646 w 312"/>
                  <a:gd name="T53" fmla="*/ 2147483646 h 431"/>
                  <a:gd name="T54" fmla="*/ 2147483646 w 312"/>
                  <a:gd name="T55" fmla="*/ 2147483646 h 431"/>
                  <a:gd name="T56" fmla="*/ 2147483646 w 312"/>
                  <a:gd name="T57" fmla="*/ 2147483646 h 431"/>
                  <a:gd name="T58" fmla="*/ 2147483646 w 312"/>
                  <a:gd name="T59" fmla="*/ 2147483646 h 431"/>
                  <a:gd name="T60" fmla="*/ 2147483646 w 312"/>
                  <a:gd name="T61" fmla="*/ 2147483646 h 431"/>
                  <a:gd name="T62" fmla="*/ 2147483646 w 312"/>
                  <a:gd name="T63" fmla="*/ 2147483646 h 431"/>
                  <a:gd name="T64" fmla="*/ 2147483646 w 312"/>
                  <a:gd name="T65" fmla="*/ 2147483646 h 431"/>
                  <a:gd name="T66" fmla="*/ 2147483646 w 312"/>
                  <a:gd name="T67" fmla="*/ 2147483646 h 431"/>
                  <a:gd name="T68" fmla="*/ 2147483646 w 312"/>
                  <a:gd name="T69" fmla="*/ 2147483646 h 431"/>
                  <a:gd name="T70" fmla="*/ 2147483646 w 312"/>
                  <a:gd name="T71" fmla="*/ 2147483646 h 431"/>
                  <a:gd name="T72" fmla="*/ 2147483646 w 312"/>
                  <a:gd name="T73" fmla="*/ 2147483646 h 431"/>
                  <a:gd name="T74" fmla="*/ 2147483646 w 312"/>
                  <a:gd name="T75" fmla="*/ 0 h 431"/>
                  <a:gd name="T76" fmla="*/ 2147483646 w 312"/>
                  <a:gd name="T77" fmla="*/ 2147483646 h 43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12"/>
                  <a:gd name="T118" fmla="*/ 0 h 431"/>
                  <a:gd name="T119" fmla="*/ 312 w 312"/>
                  <a:gd name="T120" fmla="*/ 431 h 43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12" h="431">
                    <a:moveTo>
                      <a:pt x="81" y="33"/>
                    </a:moveTo>
                    <a:lnTo>
                      <a:pt x="149" y="189"/>
                    </a:lnTo>
                    <a:lnTo>
                      <a:pt x="140" y="185"/>
                    </a:lnTo>
                    <a:lnTo>
                      <a:pt x="130" y="183"/>
                    </a:lnTo>
                    <a:lnTo>
                      <a:pt x="119" y="181"/>
                    </a:lnTo>
                    <a:lnTo>
                      <a:pt x="110" y="181"/>
                    </a:lnTo>
                    <a:lnTo>
                      <a:pt x="100" y="182"/>
                    </a:lnTo>
                    <a:lnTo>
                      <a:pt x="89" y="183"/>
                    </a:lnTo>
                    <a:lnTo>
                      <a:pt x="79" y="186"/>
                    </a:lnTo>
                    <a:lnTo>
                      <a:pt x="70" y="190"/>
                    </a:lnTo>
                    <a:lnTo>
                      <a:pt x="48" y="203"/>
                    </a:lnTo>
                    <a:lnTo>
                      <a:pt x="30" y="219"/>
                    </a:lnTo>
                    <a:lnTo>
                      <a:pt x="16" y="237"/>
                    </a:lnTo>
                    <a:lnTo>
                      <a:pt x="6" y="258"/>
                    </a:lnTo>
                    <a:lnTo>
                      <a:pt x="1" y="281"/>
                    </a:lnTo>
                    <a:lnTo>
                      <a:pt x="0" y="305"/>
                    </a:lnTo>
                    <a:lnTo>
                      <a:pt x="3" y="328"/>
                    </a:lnTo>
                    <a:lnTo>
                      <a:pt x="11" y="352"/>
                    </a:lnTo>
                    <a:lnTo>
                      <a:pt x="23" y="374"/>
                    </a:lnTo>
                    <a:lnTo>
                      <a:pt x="39" y="394"/>
                    </a:lnTo>
                    <a:lnTo>
                      <a:pt x="56" y="409"/>
                    </a:lnTo>
                    <a:lnTo>
                      <a:pt x="77" y="420"/>
                    </a:lnTo>
                    <a:lnTo>
                      <a:pt x="99" y="428"/>
                    </a:lnTo>
                    <a:lnTo>
                      <a:pt x="123" y="431"/>
                    </a:lnTo>
                    <a:lnTo>
                      <a:pt x="147" y="430"/>
                    </a:lnTo>
                    <a:lnTo>
                      <a:pt x="171" y="421"/>
                    </a:lnTo>
                    <a:lnTo>
                      <a:pt x="180" y="417"/>
                    </a:lnTo>
                    <a:lnTo>
                      <a:pt x="190" y="411"/>
                    </a:lnTo>
                    <a:lnTo>
                      <a:pt x="198" y="404"/>
                    </a:lnTo>
                    <a:lnTo>
                      <a:pt x="205" y="397"/>
                    </a:lnTo>
                    <a:lnTo>
                      <a:pt x="211" y="389"/>
                    </a:lnTo>
                    <a:lnTo>
                      <a:pt x="216" y="381"/>
                    </a:lnTo>
                    <a:lnTo>
                      <a:pt x="221" y="372"/>
                    </a:lnTo>
                    <a:lnTo>
                      <a:pt x="223" y="362"/>
                    </a:lnTo>
                    <a:lnTo>
                      <a:pt x="224" y="360"/>
                    </a:lnTo>
                    <a:lnTo>
                      <a:pt x="235" y="385"/>
                    </a:lnTo>
                    <a:lnTo>
                      <a:pt x="312" y="351"/>
                    </a:lnTo>
                    <a:lnTo>
                      <a:pt x="159" y="0"/>
                    </a:lnTo>
                    <a:lnTo>
                      <a:pt x="81"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75" name="Freeform 283">
                <a:extLst>
                  <a:ext uri="{FF2B5EF4-FFF2-40B4-BE49-F238E27FC236}">
                    <a16:creationId xmlns:a16="http://schemas.microsoft.com/office/drawing/2014/main" id="{171E7A81-BF9F-4825-AB52-8EF18B13CEEA}"/>
                  </a:ext>
                </a:extLst>
              </p:cNvPr>
              <p:cNvSpPr>
                <a:spLocks/>
              </p:cNvSpPr>
              <p:nvPr/>
            </p:nvSpPr>
            <p:spPr bwMode="auto">
              <a:xfrm>
                <a:off x="6783388" y="5008563"/>
                <a:ext cx="85725" cy="87312"/>
              </a:xfrm>
              <a:custGeom>
                <a:avLst/>
                <a:gdLst>
                  <a:gd name="T0" fmla="*/ 2147483646 w 108"/>
                  <a:gd name="T1" fmla="*/ 2147483646 h 109"/>
                  <a:gd name="T2" fmla="*/ 2147483646 w 108"/>
                  <a:gd name="T3" fmla="*/ 2147483646 h 109"/>
                  <a:gd name="T4" fmla="*/ 2147483646 w 108"/>
                  <a:gd name="T5" fmla="*/ 2147483646 h 109"/>
                  <a:gd name="T6" fmla="*/ 2147483646 w 108"/>
                  <a:gd name="T7" fmla="*/ 2147483646 h 109"/>
                  <a:gd name="T8" fmla="*/ 2147483646 w 108"/>
                  <a:gd name="T9" fmla="*/ 2147483646 h 109"/>
                  <a:gd name="T10" fmla="*/ 2147483646 w 108"/>
                  <a:gd name="T11" fmla="*/ 2147483646 h 109"/>
                  <a:gd name="T12" fmla="*/ 2147483646 w 108"/>
                  <a:gd name="T13" fmla="*/ 2147483646 h 109"/>
                  <a:gd name="T14" fmla="*/ 2147483646 w 108"/>
                  <a:gd name="T15" fmla="*/ 2147483646 h 109"/>
                  <a:gd name="T16" fmla="*/ 2147483646 w 108"/>
                  <a:gd name="T17" fmla="*/ 2147483646 h 109"/>
                  <a:gd name="T18" fmla="*/ 2147483646 w 108"/>
                  <a:gd name="T19" fmla="*/ 2147483646 h 109"/>
                  <a:gd name="T20" fmla="*/ 2147483646 w 108"/>
                  <a:gd name="T21" fmla="*/ 2147483646 h 109"/>
                  <a:gd name="T22" fmla="*/ 2147483646 w 108"/>
                  <a:gd name="T23" fmla="*/ 2147483646 h 109"/>
                  <a:gd name="T24" fmla="*/ 2147483646 w 108"/>
                  <a:gd name="T25" fmla="*/ 2147483646 h 109"/>
                  <a:gd name="T26" fmla="*/ 2147483646 w 108"/>
                  <a:gd name="T27" fmla="*/ 2147483646 h 109"/>
                  <a:gd name="T28" fmla="*/ 2147483646 w 108"/>
                  <a:gd name="T29" fmla="*/ 2147483646 h 109"/>
                  <a:gd name="T30" fmla="*/ 2147483646 w 108"/>
                  <a:gd name="T31" fmla="*/ 2147483646 h 109"/>
                  <a:gd name="T32" fmla="*/ 2147483646 w 108"/>
                  <a:gd name="T33" fmla="*/ 2147483646 h 109"/>
                  <a:gd name="T34" fmla="*/ 2147483646 w 108"/>
                  <a:gd name="T35" fmla="*/ 2147483646 h 109"/>
                  <a:gd name="T36" fmla="*/ 0 w 108"/>
                  <a:gd name="T37" fmla="*/ 2147483646 h 109"/>
                  <a:gd name="T38" fmla="*/ 0 w 108"/>
                  <a:gd name="T39" fmla="*/ 2147483646 h 109"/>
                  <a:gd name="T40" fmla="*/ 2147483646 w 108"/>
                  <a:gd name="T41" fmla="*/ 2147483646 h 109"/>
                  <a:gd name="T42" fmla="*/ 2147483646 w 108"/>
                  <a:gd name="T43" fmla="*/ 2147483646 h 109"/>
                  <a:gd name="T44" fmla="*/ 2147483646 w 108"/>
                  <a:gd name="T45" fmla="*/ 2147483646 h 109"/>
                  <a:gd name="T46" fmla="*/ 2147483646 w 108"/>
                  <a:gd name="T47" fmla="*/ 2147483646 h 109"/>
                  <a:gd name="T48" fmla="*/ 2147483646 w 108"/>
                  <a:gd name="T49" fmla="*/ 2147483646 h 109"/>
                  <a:gd name="T50" fmla="*/ 2147483646 w 108"/>
                  <a:gd name="T51" fmla="*/ 2147483646 h 109"/>
                  <a:gd name="T52" fmla="*/ 2147483646 w 108"/>
                  <a:gd name="T53" fmla="*/ 0 h 109"/>
                  <a:gd name="T54" fmla="*/ 2147483646 w 108"/>
                  <a:gd name="T55" fmla="*/ 2147483646 h 109"/>
                  <a:gd name="T56" fmla="*/ 2147483646 w 108"/>
                  <a:gd name="T57" fmla="*/ 2147483646 h 109"/>
                  <a:gd name="T58" fmla="*/ 2147483646 w 108"/>
                  <a:gd name="T59" fmla="*/ 2147483646 h 109"/>
                  <a:gd name="T60" fmla="*/ 2147483646 w 108"/>
                  <a:gd name="T61" fmla="*/ 2147483646 h 109"/>
                  <a:gd name="T62" fmla="*/ 2147483646 w 108"/>
                  <a:gd name="T63" fmla="*/ 2147483646 h 109"/>
                  <a:gd name="T64" fmla="*/ 2147483646 w 108"/>
                  <a:gd name="T65" fmla="*/ 2147483646 h 10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8"/>
                  <a:gd name="T100" fmla="*/ 0 h 109"/>
                  <a:gd name="T101" fmla="*/ 108 w 108"/>
                  <a:gd name="T102" fmla="*/ 109 h 10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8" h="109">
                    <a:moveTo>
                      <a:pt x="104" y="33"/>
                    </a:moveTo>
                    <a:lnTo>
                      <a:pt x="107" y="44"/>
                    </a:lnTo>
                    <a:lnTo>
                      <a:pt x="108" y="54"/>
                    </a:lnTo>
                    <a:lnTo>
                      <a:pt x="108" y="64"/>
                    </a:lnTo>
                    <a:lnTo>
                      <a:pt x="106" y="73"/>
                    </a:lnTo>
                    <a:lnTo>
                      <a:pt x="101" y="83"/>
                    </a:lnTo>
                    <a:lnTo>
                      <a:pt x="94" y="91"/>
                    </a:lnTo>
                    <a:lnTo>
                      <a:pt x="86" y="98"/>
                    </a:lnTo>
                    <a:lnTo>
                      <a:pt x="75" y="103"/>
                    </a:lnTo>
                    <a:lnTo>
                      <a:pt x="63" y="107"/>
                    </a:lnTo>
                    <a:lnTo>
                      <a:pt x="52" y="109"/>
                    </a:lnTo>
                    <a:lnTo>
                      <a:pt x="41" y="108"/>
                    </a:lnTo>
                    <a:lnTo>
                      <a:pt x="32" y="106"/>
                    </a:lnTo>
                    <a:lnTo>
                      <a:pt x="24" y="101"/>
                    </a:lnTo>
                    <a:lnTo>
                      <a:pt x="16" y="94"/>
                    </a:lnTo>
                    <a:lnTo>
                      <a:pt x="9" y="86"/>
                    </a:lnTo>
                    <a:lnTo>
                      <a:pt x="5" y="77"/>
                    </a:lnTo>
                    <a:lnTo>
                      <a:pt x="1" y="67"/>
                    </a:lnTo>
                    <a:lnTo>
                      <a:pt x="0" y="56"/>
                    </a:lnTo>
                    <a:lnTo>
                      <a:pt x="0" y="46"/>
                    </a:lnTo>
                    <a:lnTo>
                      <a:pt x="2" y="35"/>
                    </a:lnTo>
                    <a:lnTo>
                      <a:pt x="7" y="27"/>
                    </a:lnTo>
                    <a:lnTo>
                      <a:pt x="14" y="18"/>
                    </a:lnTo>
                    <a:lnTo>
                      <a:pt x="22" y="11"/>
                    </a:lnTo>
                    <a:lnTo>
                      <a:pt x="33" y="5"/>
                    </a:lnTo>
                    <a:lnTo>
                      <a:pt x="45" y="2"/>
                    </a:lnTo>
                    <a:lnTo>
                      <a:pt x="56" y="0"/>
                    </a:lnTo>
                    <a:lnTo>
                      <a:pt x="67" y="1"/>
                    </a:lnTo>
                    <a:lnTo>
                      <a:pt x="76" y="4"/>
                    </a:lnTo>
                    <a:lnTo>
                      <a:pt x="84" y="9"/>
                    </a:lnTo>
                    <a:lnTo>
                      <a:pt x="92" y="16"/>
                    </a:lnTo>
                    <a:lnTo>
                      <a:pt x="99" y="24"/>
                    </a:lnTo>
                    <a:lnTo>
                      <a:pt x="104"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76" name="Freeform 284">
                <a:extLst>
                  <a:ext uri="{FF2B5EF4-FFF2-40B4-BE49-F238E27FC236}">
                    <a16:creationId xmlns:a16="http://schemas.microsoft.com/office/drawing/2014/main" id="{0BB9762D-B4AC-40FB-8CBA-42B6B570E423}"/>
                  </a:ext>
                </a:extLst>
              </p:cNvPr>
              <p:cNvSpPr>
                <a:spLocks/>
              </p:cNvSpPr>
              <p:nvPr/>
            </p:nvSpPr>
            <p:spPr bwMode="auto">
              <a:xfrm>
                <a:off x="6940550" y="4854575"/>
                <a:ext cx="212725" cy="203200"/>
              </a:xfrm>
              <a:custGeom>
                <a:avLst/>
                <a:gdLst>
                  <a:gd name="T0" fmla="*/ 2147483646 w 268"/>
                  <a:gd name="T1" fmla="*/ 2147483646 h 257"/>
                  <a:gd name="T2" fmla="*/ 2147483646 w 268"/>
                  <a:gd name="T3" fmla="*/ 2147483646 h 257"/>
                  <a:gd name="T4" fmla="*/ 2147483646 w 268"/>
                  <a:gd name="T5" fmla="*/ 2147483646 h 257"/>
                  <a:gd name="T6" fmla="*/ 2147483646 w 268"/>
                  <a:gd name="T7" fmla="*/ 2147483646 h 257"/>
                  <a:gd name="T8" fmla="*/ 2147483646 w 268"/>
                  <a:gd name="T9" fmla="*/ 2147483646 h 257"/>
                  <a:gd name="T10" fmla="*/ 2147483646 w 268"/>
                  <a:gd name="T11" fmla="*/ 2147483646 h 257"/>
                  <a:gd name="T12" fmla="*/ 2147483646 w 268"/>
                  <a:gd name="T13" fmla="*/ 2147483646 h 257"/>
                  <a:gd name="T14" fmla="*/ 2147483646 w 268"/>
                  <a:gd name="T15" fmla="*/ 2147483646 h 257"/>
                  <a:gd name="T16" fmla="*/ 2147483646 w 268"/>
                  <a:gd name="T17" fmla="*/ 2147483646 h 257"/>
                  <a:gd name="T18" fmla="*/ 2147483646 w 268"/>
                  <a:gd name="T19" fmla="*/ 2147483646 h 257"/>
                  <a:gd name="T20" fmla="*/ 2147483646 w 268"/>
                  <a:gd name="T21" fmla="*/ 2147483646 h 257"/>
                  <a:gd name="T22" fmla="*/ 2147483646 w 268"/>
                  <a:gd name="T23" fmla="*/ 2147483646 h 257"/>
                  <a:gd name="T24" fmla="*/ 2147483646 w 268"/>
                  <a:gd name="T25" fmla="*/ 2147483646 h 257"/>
                  <a:gd name="T26" fmla="*/ 2147483646 w 268"/>
                  <a:gd name="T27" fmla="*/ 2147483646 h 257"/>
                  <a:gd name="T28" fmla="*/ 2147483646 w 268"/>
                  <a:gd name="T29" fmla="*/ 2147483646 h 257"/>
                  <a:gd name="T30" fmla="*/ 2147483646 w 268"/>
                  <a:gd name="T31" fmla="*/ 2147483646 h 257"/>
                  <a:gd name="T32" fmla="*/ 2147483646 w 268"/>
                  <a:gd name="T33" fmla="*/ 2147483646 h 257"/>
                  <a:gd name="T34" fmla="*/ 2147483646 w 268"/>
                  <a:gd name="T35" fmla="*/ 2147483646 h 257"/>
                  <a:gd name="T36" fmla="*/ 2147483646 w 268"/>
                  <a:gd name="T37" fmla="*/ 2147483646 h 257"/>
                  <a:gd name="T38" fmla="*/ 2147483646 w 268"/>
                  <a:gd name="T39" fmla="*/ 2147483646 h 257"/>
                  <a:gd name="T40" fmla="*/ 2147483646 w 268"/>
                  <a:gd name="T41" fmla="*/ 2147483646 h 257"/>
                  <a:gd name="T42" fmla="*/ 2147483646 w 268"/>
                  <a:gd name="T43" fmla="*/ 0 h 257"/>
                  <a:gd name="T44" fmla="*/ 2147483646 w 268"/>
                  <a:gd name="T45" fmla="*/ 2147483646 h 257"/>
                  <a:gd name="T46" fmla="*/ 2147483646 w 268"/>
                  <a:gd name="T47" fmla="*/ 2147483646 h 257"/>
                  <a:gd name="T48" fmla="*/ 2147483646 w 268"/>
                  <a:gd name="T49" fmla="*/ 2147483646 h 257"/>
                  <a:gd name="T50" fmla="*/ 2147483646 w 268"/>
                  <a:gd name="T51" fmla="*/ 2147483646 h 257"/>
                  <a:gd name="T52" fmla="*/ 2147483646 w 268"/>
                  <a:gd name="T53" fmla="*/ 2147483646 h 257"/>
                  <a:gd name="T54" fmla="*/ 2147483646 w 268"/>
                  <a:gd name="T55" fmla="*/ 2147483646 h 257"/>
                  <a:gd name="T56" fmla="*/ 2147483646 w 268"/>
                  <a:gd name="T57" fmla="*/ 2147483646 h 257"/>
                  <a:gd name="T58" fmla="*/ 0 w 268"/>
                  <a:gd name="T59" fmla="*/ 2147483646 h 257"/>
                  <a:gd name="T60" fmla="*/ 2147483646 w 268"/>
                  <a:gd name="T61" fmla="*/ 2147483646 h 257"/>
                  <a:gd name="T62" fmla="*/ 2147483646 w 268"/>
                  <a:gd name="T63" fmla="*/ 2147483646 h 257"/>
                  <a:gd name="T64" fmla="*/ 2147483646 w 268"/>
                  <a:gd name="T65" fmla="*/ 2147483646 h 257"/>
                  <a:gd name="T66" fmla="*/ 2147483646 w 268"/>
                  <a:gd name="T67" fmla="*/ 2147483646 h 257"/>
                  <a:gd name="T68" fmla="*/ 2147483646 w 268"/>
                  <a:gd name="T69" fmla="*/ 2147483646 h 257"/>
                  <a:gd name="T70" fmla="*/ 2147483646 w 268"/>
                  <a:gd name="T71" fmla="*/ 2147483646 h 257"/>
                  <a:gd name="T72" fmla="*/ 2147483646 w 268"/>
                  <a:gd name="T73" fmla="*/ 2147483646 h 257"/>
                  <a:gd name="T74" fmla="*/ 2147483646 w 268"/>
                  <a:gd name="T75" fmla="*/ 2147483646 h 257"/>
                  <a:gd name="T76" fmla="*/ 2147483646 w 268"/>
                  <a:gd name="T77" fmla="*/ 2147483646 h 257"/>
                  <a:gd name="T78" fmla="*/ 2147483646 w 268"/>
                  <a:gd name="T79" fmla="*/ 2147483646 h 257"/>
                  <a:gd name="T80" fmla="*/ 2147483646 w 268"/>
                  <a:gd name="T81" fmla="*/ 2147483646 h 257"/>
                  <a:gd name="T82" fmla="*/ 2147483646 w 268"/>
                  <a:gd name="T83" fmla="*/ 2147483646 h 257"/>
                  <a:gd name="T84" fmla="*/ 2147483646 w 268"/>
                  <a:gd name="T85" fmla="*/ 2147483646 h 257"/>
                  <a:gd name="T86" fmla="*/ 2147483646 w 268"/>
                  <a:gd name="T87" fmla="*/ 2147483646 h 257"/>
                  <a:gd name="T88" fmla="*/ 2147483646 w 268"/>
                  <a:gd name="T89" fmla="*/ 2147483646 h 257"/>
                  <a:gd name="T90" fmla="*/ 2147483646 w 268"/>
                  <a:gd name="T91" fmla="*/ 2147483646 h 257"/>
                  <a:gd name="T92" fmla="*/ 2147483646 w 268"/>
                  <a:gd name="T93" fmla="*/ 2147483646 h 257"/>
                  <a:gd name="T94" fmla="*/ 2147483646 w 268"/>
                  <a:gd name="T95" fmla="*/ 2147483646 h 2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68"/>
                  <a:gd name="T145" fmla="*/ 0 h 257"/>
                  <a:gd name="T146" fmla="*/ 268 w 268"/>
                  <a:gd name="T147" fmla="*/ 257 h 2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68" h="257">
                    <a:moveTo>
                      <a:pt x="267" y="121"/>
                    </a:moveTo>
                    <a:lnTo>
                      <a:pt x="192" y="153"/>
                    </a:lnTo>
                    <a:lnTo>
                      <a:pt x="189" y="165"/>
                    </a:lnTo>
                    <a:lnTo>
                      <a:pt x="184" y="175"/>
                    </a:lnTo>
                    <a:lnTo>
                      <a:pt x="175" y="183"/>
                    </a:lnTo>
                    <a:lnTo>
                      <a:pt x="165" y="189"/>
                    </a:lnTo>
                    <a:lnTo>
                      <a:pt x="153" y="194"/>
                    </a:lnTo>
                    <a:lnTo>
                      <a:pt x="142" y="195"/>
                    </a:lnTo>
                    <a:lnTo>
                      <a:pt x="133" y="195"/>
                    </a:lnTo>
                    <a:lnTo>
                      <a:pt x="123" y="192"/>
                    </a:lnTo>
                    <a:lnTo>
                      <a:pt x="114" y="188"/>
                    </a:lnTo>
                    <a:lnTo>
                      <a:pt x="107" y="181"/>
                    </a:lnTo>
                    <a:lnTo>
                      <a:pt x="101" y="172"/>
                    </a:lnTo>
                    <a:lnTo>
                      <a:pt x="96" y="161"/>
                    </a:lnTo>
                    <a:lnTo>
                      <a:pt x="257" y="91"/>
                    </a:lnTo>
                    <a:lnTo>
                      <a:pt x="253" y="83"/>
                    </a:lnTo>
                    <a:lnTo>
                      <a:pt x="240" y="58"/>
                    </a:lnTo>
                    <a:lnTo>
                      <a:pt x="223" y="37"/>
                    </a:lnTo>
                    <a:lnTo>
                      <a:pt x="205" y="20"/>
                    </a:lnTo>
                    <a:lnTo>
                      <a:pt x="184" y="8"/>
                    </a:lnTo>
                    <a:lnTo>
                      <a:pt x="161" y="1"/>
                    </a:lnTo>
                    <a:lnTo>
                      <a:pt x="137" y="0"/>
                    </a:lnTo>
                    <a:lnTo>
                      <a:pt x="111" y="5"/>
                    </a:lnTo>
                    <a:lnTo>
                      <a:pt x="83" y="14"/>
                    </a:lnTo>
                    <a:lnTo>
                      <a:pt x="58" y="27"/>
                    </a:lnTo>
                    <a:lnTo>
                      <a:pt x="38" y="43"/>
                    </a:lnTo>
                    <a:lnTo>
                      <a:pt x="21" y="61"/>
                    </a:lnTo>
                    <a:lnTo>
                      <a:pt x="9" y="82"/>
                    </a:lnTo>
                    <a:lnTo>
                      <a:pt x="2" y="105"/>
                    </a:lnTo>
                    <a:lnTo>
                      <a:pt x="0" y="129"/>
                    </a:lnTo>
                    <a:lnTo>
                      <a:pt x="4" y="156"/>
                    </a:lnTo>
                    <a:lnTo>
                      <a:pt x="13" y="182"/>
                    </a:lnTo>
                    <a:lnTo>
                      <a:pt x="27" y="207"/>
                    </a:lnTo>
                    <a:lnTo>
                      <a:pt x="44" y="227"/>
                    </a:lnTo>
                    <a:lnTo>
                      <a:pt x="63" y="242"/>
                    </a:lnTo>
                    <a:lnTo>
                      <a:pt x="85" y="252"/>
                    </a:lnTo>
                    <a:lnTo>
                      <a:pt x="109" y="257"/>
                    </a:lnTo>
                    <a:lnTo>
                      <a:pt x="135" y="257"/>
                    </a:lnTo>
                    <a:lnTo>
                      <a:pt x="161" y="252"/>
                    </a:lnTo>
                    <a:lnTo>
                      <a:pt x="189" y="243"/>
                    </a:lnTo>
                    <a:lnTo>
                      <a:pt x="207" y="234"/>
                    </a:lnTo>
                    <a:lnTo>
                      <a:pt x="223" y="222"/>
                    </a:lnTo>
                    <a:lnTo>
                      <a:pt x="238" y="210"/>
                    </a:lnTo>
                    <a:lnTo>
                      <a:pt x="250" y="195"/>
                    </a:lnTo>
                    <a:lnTo>
                      <a:pt x="259" y="179"/>
                    </a:lnTo>
                    <a:lnTo>
                      <a:pt x="266" y="161"/>
                    </a:lnTo>
                    <a:lnTo>
                      <a:pt x="268" y="142"/>
                    </a:lnTo>
                    <a:lnTo>
                      <a:pt x="267" y="1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77" name="Freeform 285">
                <a:extLst>
                  <a:ext uri="{FF2B5EF4-FFF2-40B4-BE49-F238E27FC236}">
                    <a16:creationId xmlns:a16="http://schemas.microsoft.com/office/drawing/2014/main" id="{B335D1AD-B572-4A68-A796-A6361C4FCAA2}"/>
                  </a:ext>
                </a:extLst>
              </p:cNvPr>
              <p:cNvSpPr>
                <a:spLocks/>
              </p:cNvSpPr>
              <p:nvPr/>
            </p:nvSpPr>
            <p:spPr bwMode="auto">
              <a:xfrm>
                <a:off x="7000875" y="4899025"/>
                <a:ext cx="71438" cy="47625"/>
              </a:xfrm>
              <a:custGeom>
                <a:avLst/>
                <a:gdLst>
                  <a:gd name="T0" fmla="*/ 2147483646 w 90"/>
                  <a:gd name="T1" fmla="*/ 2147483646 h 58"/>
                  <a:gd name="T2" fmla="*/ 2147483646 w 90"/>
                  <a:gd name="T3" fmla="*/ 2147483646 h 58"/>
                  <a:gd name="T4" fmla="*/ 2147483646 w 90"/>
                  <a:gd name="T5" fmla="*/ 0 h 58"/>
                  <a:gd name="T6" fmla="*/ 2147483646 w 90"/>
                  <a:gd name="T7" fmla="*/ 0 h 58"/>
                  <a:gd name="T8" fmla="*/ 2147483646 w 90"/>
                  <a:gd name="T9" fmla="*/ 2147483646 h 58"/>
                  <a:gd name="T10" fmla="*/ 2147483646 w 90"/>
                  <a:gd name="T11" fmla="*/ 2147483646 h 58"/>
                  <a:gd name="T12" fmla="*/ 2147483646 w 90"/>
                  <a:gd name="T13" fmla="*/ 2147483646 h 58"/>
                  <a:gd name="T14" fmla="*/ 2147483646 w 90"/>
                  <a:gd name="T15" fmla="*/ 2147483646 h 58"/>
                  <a:gd name="T16" fmla="*/ 2147483646 w 90"/>
                  <a:gd name="T17" fmla="*/ 2147483646 h 58"/>
                  <a:gd name="T18" fmla="*/ 2147483646 w 90"/>
                  <a:gd name="T19" fmla="*/ 2147483646 h 58"/>
                  <a:gd name="T20" fmla="*/ 0 w 90"/>
                  <a:gd name="T21" fmla="*/ 2147483646 h 58"/>
                  <a:gd name="T22" fmla="*/ 0 w 90"/>
                  <a:gd name="T23" fmla="*/ 2147483646 h 58"/>
                  <a:gd name="T24" fmla="*/ 2147483646 w 90"/>
                  <a:gd name="T25" fmla="*/ 2147483646 h 58"/>
                  <a:gd name="T26" fmla="*/ 2147483646 w 90"/>
                  <a:gd name="T27" fmla="*/ 2147483646 h 58"/>
                  <a:gd name="T28" fmla="*/ 2147483646 w 90"/>
                  <a:gd name="T29" fmla="*/ 2147483646 h 58"/>
                  <a:gd name="T30" fmla="*/ 2147483646 w 90"/>
                  <a:gd name="T31" fmla="*/ 2147483646 h 58"/>
                  <a:gd name="T32" fmla="*/ 2147483646 w 90"/>
                  <a:gd name="T33" fmla="*/ 2147483646 h 58"/>
                  <a:gd name="T34" fmla="*/ 2147483646 w 90"/>
                  <a:gd name="T35" fmla="*/ 2147483646 h 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58"/>
                  <a:gd name="T56" fmla="*/ 90 w 90"/>
                  <a:gd name="T57" fmla="*/ 58 h 5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58">
                    <a:moveTo>
                      <a:pt x="32" y="4"/>
                    </a:moveTo>
                    <a:lnTo>
                      <a:pt x="40" y="2"/>
                    </a:lnTo>
                    <a:lnTo>
                      <a:pt x="48" y="0"/>
                    </a:lnTo>
                    <a:lnTo>
                      <a:pt x="57" y="0"/>
                    </a:lnTo>
                    <a:lnTo>
                      <a:pt x="65" y="1"/>
                    </a:lnTo>
                    <a:lnTo>
                      <a:pt x="71" y="4"/>
                    </a:lnTo>
                    <a:lnTo>
                      <a:pt x="78" y="8"/>
                    </a:lnTo>
                    <a:lnTo>
                      <a:pt x="84" y="13"/>
                    </a:lnTo>
                    <a:lnTo>
                      <a:pt x="90" y="19"/>
                    </a:lnTo>
                    <a:lnTo>
                      <a:pt x="1" y="58"/>
                    </a:lnTo>
                    <a:lnTo>
                      <a:pt x="0" y="49"/>
                    </a:lnTo>
                    <a:lnTo>
                      <a:pt x="0" y="41"/>
                    </a:lnTo>
                    <a:lnTo>
                      <a:pt x="2" y="33"/>
                    </a:lnTo>
                    <a:lnTo>
                      <a:pt x="6" y="26"/>
                    </a:lnTo>
                    <a:lnTo>
                      <a:pt x="10" y="19"/>
                    </a:lnTo>
                    <a:lnTo>
                      <a:pt x="17" y="13"/>
                    </a:lnTo>
                    <a:lnTo>
                      <a:pt x="24" y="8"/>
                    </a:lnTo>
                    <a:lnTo>
                      <a:pt x="3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78" name="Freeform 286">
                <a:extLst>
                  <a:ext uri="{FF2B5EF4-FFF2-40B4-BE49-F238E27FC236}">
                    <a16:creationId xmlns:a16="http://schemas.microsoft.com/office/drawing/2014/main" id="{34847A93-4CFB-4817-803A-6C39007A1072}"/>
                  </a:ext>
                </a:extLst>
              </p:cNvPr>
              <p:cNvSpPr>
                <a:spLocks/>
              </p:cNvSpPr>
              <p:nvPr/>
            </p:nvSpPr>
            <p:spPr bwMode="auto">
              <a:xfrm>
                <a:off x="7115175" y="4665663"/>
                <a:ext cx="158750" cy="322262"/>
              </a:xfrm>
              <a:custGeom>
                <a:avLst/>
                <a:gdLst>
                  <a:gd name="T0" fmla="*/ 2147483646 w 199"/>
                  <a:gd name="T1" fmla="*/ 2147483646 h 405"/>
                  <a:gd name="T2" fmla="*/ 2147483646 w 199"/>
                  <a:gd name="T3" fmla="*/ 2147483646 h 405"/>
                  <a:gd name="T4" fmla="*/ 2147483646 w 199"/>
                  <a:gd name="T5" fmla="*/ 2147483646 h 405"/>
                  <a:gd name="T6" fmla="*/ 2147483646 w 199"/>
                  <a:gd name="T7" fmla="*/ 2147483646 h 405"/>
                  <a:gd name="T8" fmla="*/ 2147483646 w 199"/>
                  <a:gd name="T9" fmla="*/ 2147483646 h 405"/>
                  <a:gd name="T10" fmla="*/ 2147483646 w 199"/>
                  <a:gd name="T11" fmla="*/ 2147483646 h 405"/>
                  <a:gd name="T12" fmla="*/ 2147483646 w 199"/>
                  <a:gd name="T13" fmla="*/ 2147483646 h 405"/>
                  <a:gd name="T14" fmla="*/ 2147483646 w 199"/>
                  <a:gd name="T15" fmla="*/ 2147483646 h 405"/>
                  <a:gd name="T16" fmla="*/ 2147483646 w 199"/>
                  <a:gd name="T17" fmla="*/ 2147483646 h 405"/>
                  <a:gd name="T18" fmla="*/ 2147483646 w 199"/>
                  <a:gd name="T19" fmla="*/ 0 h 405"/>
                  <a:gd name="T20" fmla="*/ 2147483646 w 199"/>
                  <a:gd name="T21" fmla="*/ 0 h 405"/>
                  <a:gd name="T22" fmla="*/ 2147483646 w 199"/>
                  <a:gd name="T23" fmla="*/ 0 h 405"/>
                  <a:gd name="T24" fmla="*/ 2147483646 w 199"/>
                  <a:gd name="T25" fmla="*/ 0 h 405"/>
                  <a:gd name="T26" fmla="*/ 2147483646 w 199"/>
                  <a:gd name="T27" fmla="*/ 2147483646 h 405"/>
                  <a:gd name="T28" fmla="*/ 2147483646 w 199"/>
                  <a:gd name="T29" fmla="*/ 2147483646 h 405"/>
                  <a:gd name="T30" fmla="*/ 2147483646 w 199"/>
                  <a:gd name="T31" fmla="*/ 2147483646 h 405"/>
                  <a:gd name="T32" fmla="*/ 2147483646 w 199"/>
                  <a:gd name="T33" fmla="*/ 2147483646 h 405"/>
                  <a:gd name="T34" fmla="*/ 2147483646 w 199"/>
                  <a:gd name="T35" fmla="*/ 2147483646 h 405"/>
                  <a:gd name="T36" fmla="*/ 2147483646 w 199"/>
                  <a:gd name="T37" fmla="*/ 2147483646 h 405"/>
                  <a:gd name="T38" fmla="*/ 2147483646 w 199"/>
                  <a:gd name="T39" fmla="*/ 2147483646 h 405"/>
                  <a:gd name="T40" fmla="*/ 2147483646 w 199"/>
                  <a:gd name="T41" fmla="*/ 2147483646 h 405"/>
                  <a:gd name="T42" fmla="*/ 2147483646 w 199"/>
                  <a:gd name="T43" fmla="*/ 2147483646 h 405"/>
                  <a:gd name="T44" fmla="*/ 2147483646 w 199"/>
                  <a:gd name="T45" fmla="*/ 2147483646 h 405"/>
                  <a:gd name="T46" fmla="*/ 2147483646 w 199"/>
                  <a:gd name="T47" fmla="*/ 2147483646 h 405"/>
                  <a:gd name="T48" fmla="*/ 2147483646 w 199"/>
                  <a:gd name="T49" fmla="*/ 2147483646 h 405"/>
                  <a:gd name="T50" fmla="*/ 2147483646 w 199"/>
                  <a:gd name="T51" fmla="*/ 2147483646 h 405"/>
                  <a:gd name="T52" fmla="*/ 0 w 199"/>
                  <a:gd name="T53" fmla="*/ 2147483646 h 405"/>
                  <a:gd name="T54" fmla="*/ 2147483646 w 199"/>
                  <a:gd name="T55" fmla="*/ 2147483646 h 405"/>
                  <a:gd name="T56" fmla="*/ 2147483646 w 199"/>
                  <a:gd name="T57" fmla="*/ 2147483646 h 405"/>
                  <a:gd name="T58" fmla="*/ 2147483646 w 199"/>
                  <a:gd name="T59" fmla="*/ 2147483646 h 405"/>
                  <a:gd name="T60" fmla="*/ 2147483646 w 199"/>
                  <a:gd name="T61" fmla="*/ 2147483646 h 405"/>
                  <a:gd name="T62" fmla="*/ 0 w 199"/>
                  <a:gd name="T63" fmla="*/ 2147483646 h 405"/>
                  <a:gd name="T64" fmla="*/ 2147483646 w 199"/>
                  <a:gd name="T65" fmla="*/ 2147483646 h 405"/>
                  <a:gd name="T66" fmla="*/ 2147483646 w 199"/>
                  <a:gd name="T67" fmla="*/ 2147483646 h 405"/>
                  <a:gd name="T68" fmla="*/ 2147483646 w 199"/>
                  <a:gd name="T69" fmla="*/ 2147483646 h 405"/>
                  <a:gd name="T70" fmla="*/ 2147483646 w 199"/>
                  <a:gd name="T71" fmla="*/ 2147483646 h 405"/>
                  <a:gd name="T72" fmla="*/ 2147483646 w 199"/>
                  <a:gd name="T73" fmla="*/ 2147483646 h 405"/>
                  <a:gd name="T74" fmla="*/ 2147483646 w 199"/>
                  <a:gd name="T75" fmla="*/ 2147483646 h 405"/>
                  <a:gd name="T76" fmla="*/ 2147483646 w 199"/>
                  <a:gd name="T77" fmla="*/ 2147483646 h 405"/>
                  <a:gd name="T78" fmla="*/ 2147483646 w 199"/>
                  <a:gd name="T79" fmla="*/ 2147483646 h 405"/>
                  <a:gd name="T80" fmla="*/ 2147483646 w 199"/>
                  <a:gd name="T81" fmla="*/ 2147483646 h 40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9"/>
                  <a:gd name="T124" fmla="*/ 0 h 405"/>
                  <a:gd name="T125" fmla="*/ 199 w 199"/>
                  <a:gd name="T126" fmla="*/ 405 h 40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9" h="405">
                    <a:moveTo>
                      <a:pt x="89" y="120"/>
                    </a:moveTo>
                    <a:lnTo>
                      <a:pt x="83" y="102"/>
                    </a:lnTo>
                    <a:lnTo>
                      <a:pt x="83" y="88"/>
                    </a:lnTo>
                    <a:lnTo>
                      <a:pt x="89" y="78"/>
                    </a:lnTo>
                    <a:lnTo>
                      <a:pt x="100" y="71"/>
                    </a:lnTo>
                    <a:lnTo>
                      <a:pt x="108" y="69"/>
                    </a:lnTo>
                    <a:lnTo>
                      <a:pt x="115" y="67"/>
                    </a:lnTo>
                    <a:lnTo>
                      <a:pt x="122" y="67"/>
                    </a:lnTo>
                    <a:lnTo>
                      <a:pt x="130" y="67"/>
                    </a:lnTo>
                    <a:lnTo>
                      <a:pt x="101" y="0"/>
                    </a:lnTo>
                    <a:lnTo>
                      <a:pt x="97" y="0"/>
                    </a:lnTo>
                    <a:lnTo>
                      <a:pt x="92" y="0"/>
                    </a:lnTo>
                    <a:lnTo>
                      <a:pt x="88" y="0"/>
                    </a:lnTo>
                    <a:lnTo>
                      <a:pt x="83" y="1"/>
                    </a:lnTo>
                    <a:lnTo>
                      <a:pt x="78" y="2"/>
                    </a:lnTo>
                    <a:lnTo>
                      <a:pt x="75" y="3"/>
                    </a:lnTo>
                    <a:lnTo>
                      <a:pt x="70" y="5"/>
                    </a:lnTo>
                    <a:lnTo>
                      <a:pt x="66" y="7"/>
                    </a:lnTo>
                    <a:lnTo>
                      <a:pt x="55" y="12"/>
                    </a:lnTo>
                    <a:lnTo>
                      <a:pt x="45" y="18"/>
                    </a:lnTo>
                    <a:lnTo>
                      <a:pt x="36" y="25"/>
                    </a:lnTo>
                    <a:lnTo>
                      <a:pt x="28" y="33"/>
                    </a:lnTo>
                    <a:lnTo>
                      <a:pt x="20" y="42"/>
                    </a:lnTo>
                    <a:lnTo>
                      <a:pt x="14" y="53"/>
                    </a:lnTo>
                    <a:lnTo>
                      <a:pt x="9" y="63"/>
                    </a:lnTo>
                    <a:lnTo>
                      <a:pt x="5" y="75"/>
                    </a:lnTo>
                    <a:lnTo>
                      <a:pt x="0" y="98"/>
                    </a:lnTo>
                    <a:lnTo>
                      <a:pt x="1" y="118"/>
                    </a:lnTo>
                    <a:lnTo>
                      <a:pt x="7" y="139"/>
                    </a:lnTo>
                    <a:lnTo>
                      <a:pt x="15" y="160"/>
                    </a:lnTo>
                    <a:lnTo>
                      <a:pt x="28" y="187"/>
                    </a:lnTo>
                    <a:lnTo>
                      <a:pt x="0" y="199"/>
                    </a:lnTo>
                    <a:lnTo>
                      <a:pt x="28" y="264"/>
                    </a:lnTo>
                    <a:lnTo>
                      <a:pt x="55" y="251"/>
                    </a:lnTo>
                    <a:lnTo>
                      <a:pt x="122" y="405"/>
                    </a:lnTo>
                    <a:lnTo>
                      <a:pt x="199" y="372"/>
                    </a:lnTo>
                    <a:lnTo>
                      <a:pt x="132" y="217"/>
                    </a:lnTo>
                    <a:lnTo>
                      <a:pt x="185" y="194"/>
                    </a:lnTo>
                    <a:lnTo>
                      <a:pt x="158" y="131"/>
                    </a:lnTo>
                    <a:lnTo>
                      <a:pt x="105" y="154"/>
                    </a:lnTo>
                    <a:lnTo>
                      <a:pt x="89"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79" name="Freeform 287">
                <a:extLst>
                  <a:ext uri="{FF2B5EF4-FFF2-40B4-BE49-F238E27FC236}">
                    <a16:creationId xmlns:a16="http://schemas.microsoft.com/office/drawing/2014/main" id="{FDB6A80D-4672-45AF-8D44-8E4C532481B0}"/>
                  </a:ext>
                </a:extLst>
              </p:cNvPr>
              <p:cNvSpPr>
                <a:spLocks/>
              </p:cNvSpPr>
              <p:nvPr/>
            </p:nvSpPr>
            <p:spPr bwMode="auto">
              <a:xfrm>
                <a:off x="7278688" y="4703763"/>
                <a:ext cx="222250" cy="206375"/>
              </a:xfrm>
              <a:custGeom>
                <a:avLst/>
                <a:gdLst>
                  <a:gd name="T0" fmla="*/ 2147483646 w 281"/>
                  <a:gd name="T1" fmla="*/ 2147483646 h 260"/>
                  <a:gd name="T2" fmla="*/ 2147483646 w 281"/>
                  <a:gd name="T3" fmla="*/ 2147483646 h 260"/>
                  <a:gd name="T4" fmla="*/ 2147483646 w 281"/>
                  <a:gd name="T5" fmla="*/ 2147483646 h 260"/>
                  <a:gd name="T6" fmla="*/ 2147483646 w 281"/>
                  <a:gd name="T7" fmla="*/ 2147483646 h 260"/>
                  <a:gd name="T8" fmla="*/ 2147483646 w 281"/>
                  <a:gd name="T9" fmla="*/ 2147483646 h 260"/>
                  <a:gd name="T10" fmla="*/ 2147483646 w 281"/>
                  <a:gd name="T11" fmla="*/ 2147483646 h 260"/>
                  <a:gd name="T12" fmla="*/ 2147483646 w 281"/>
                  <a:gd name="T13" fmla="*/ 2147483646 h 260"/>
                  <a:gd name="T14" fmla="*/ 2147483646 w 281"/>
                  <a:gd name="T15" fmla="*/ 2147483646 h 260"/>
                  <a:gd name="T16" fmla="*/ 2147483646 w 281"/>
                  <a:gd name="T17" fmla="*/ 2147483646 h 260"/>
                  <a:gd name="T18" fmla="*/ 2147483646 w 281"/>
                  <a:gd name="T19" fmla="*/ 2147483646 h 260"/>
                  <a:gd name="T20" fmla="*/ 2147483646 w 281"/>
                  <a:gd name="T21" fmla="*/ 2147483646 h 260"/>
                  <a:gd name="T22" fmla="*/ 2147483646 w 281"/>
                  <a:gd name="T23" fmla="*/ 2147483646 h 260"/>
                  <a:gd name="T24" fmla="*/ 2147483646 w 281"/>
                  <a:gd name="T25" fmla="*/ 2147483646 h 260"/>
                  <a:gd name="T26" fmla="*/ 2147483646 w 281"/>
                  <a:gd name="T27" fmla="*/ 0 h 260"/>
                  <a:gd name="T28" fmla="*/ 2147483646 w 281"/>
                  <a:gd name="T29" fmla="*/ 2147483646 h 260"/>
                  <a:gd name="T30" fmla="*/ 2147483646 w 281"/>
                  <a:gd name="T31" fmla="*/ 2147483646 h 260"/>
                  <a:gd name="T32" fmla="*/ 2147483646 w 281"/>
                  <a:gd name="T33" fmla="*/ 2147483646 h 260"/>
                  <a:gd name="T34" fmla="*/ 2147483646 w 281"/>
                  <a:gd name="T35" fmla="*/ 2147483646 h 260"/>
                  <a:gd name="T36" fmla="*/ 2147483646 w 281"/>
                  <a:gd name="T37" fmla="*/ 2147483646 h 260"/>
                  <a:gd name="T38" fmla="*/ 2147483646 w 281"/>
                  <a:gd name="T39" fmla="*/ 2147483646 h 260"/>
                  <a:gd name="T40" fmla="*/ 2147483646 w 281"/>
                  <a:gd name="T41" fmla="*/ 2147483646 h 260"/>
                  <a:gd name="T42" fmla="*/ 2147483646 w 281"/>
                  <a:gd name="T43" fmla="*/ 2147483646 h 260"/>
                  <a:gd name="T44" fmla="*/ 0 w 281"/>
                  <a:gd name="T45" fmla="*/ 2147483646 h 260"/>
                  <a:gd name="T46" fmla="*/ 2147483646 w 281"/>
                  <a:gd name="T47" fmla="*/ 2147483646 h 260"/>
                  <a:gd name="T48" fmla="*/ 2147483646 w 281"/>
                  <a:gd name="T49" fmla="*/ 2147483646 h 260"/>
                  <a:gd name="T50" fmla="*/ 2147483646 w 281"/>
                  <a:gd name="T51" fmla="*/ 2147483646 h 260"/>
                  <a:gd name="T52" fmla="*/ 2147483646 w 281"/>
                  <a:gd name="T53" fmla="*/ 2147483646 h 260"/>
                  <a:gd name="T54" fmla="*/ 2147483646 w 281"/>
                  <a:gd name="T55" fmla="*/ 2147483646 h 260"/>
                  <a:gd name="T56" fmla="*/ 2147483646 w 281"/>
                  <a:gd name="T57" fmla="*/ 2147483646 h 260"/>
                  <a:gd name="T58" fmla="*/ 2147483646 w 281"/>
                  <a:gd name="T59" fmla="*/ 2147483646 h 260"/>
                  <a:gd name="T60" fmla="*/ 2147483646 w 281"/>
                  <a:gd name="T61" fmla="*/ 2147483646 h 260"/>
                  <a:gd name="T62" fmla="*/ 2147483646 w 281"/>
                  <a:gd name="T63" fmla="*/ 2147483646 h 260"/>
                  <a:gd name="T64" fmla="*/ 2147483646 w 281"/>
                  <a:gd name="T65" fmla="*/ 2147483646 h 26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1"/>
                  <a:gd name="T100" fmla="*/ 0 h 260"/>
                  <a:gd name="T101" fmla="*/ 281 w 281"/>
                  <a:gd name="T102" fmla="*/ 260 h 26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1" h="260">
                    <a:moveTo>
                      <a:pt x="190" y="247"/>
                    </a:moveTo>
                    <a:lnTo>
                      <a:pt x="215" y="234"/>
                    </a:lnTo>
                    <a:lnTo>
                      <a:pt x="237" y="218"/>
                    </a:lnTo>
                    <a:lnTo>
                      <a:pt x="255" y="198"/>
                    </a:lnTo>
                    <a:lnTo>
                      <a:pt x="268" y="176"/>
                    </a:lnTo>
                    <a:lnTo>
                      <a:pt x="278" y="153"/>
                    </a:lnTo>
                    <a:lnTo>
                      <a:pt x="281" y="128"/>
                    </a:lnTo>
                    <a:lnTo>
                      <a:pt x="280" y="101"/>
                    </a:lnTo>
                    <a:lnTo>
                      <a:pt x="271" y="74"/>
                    </a:lnTo>
                    <a:lnTo>
                      <a:pt x="257" y="48"/>
                    </a:lnTo>
                    <a:lnTo>
                      <a:pt x="238" y="29"/>
                    </a:lnTo>
                    <a:lnTo>
                      <a:pt x="218" y="15"/>
                    </a:lnTo>
                    <a:lnTo>
                      <a:pt x="195" y="5"/>
                    </a:lnTo>
                    <a:lnTo>
                      <a:pt x="169" y="0"/>
                    </a:lnTo>
                    <a:lnTo>
                      <a:pt x="144" y="1"/>
                    </a:lnTo>
                    <a:lnTo>
                      <a:pt x="118" y="6"/>
                    </a:lnTo>
                    <a:lnTo>
                      <a:pt x="91" y="15"/>
                    </a:lnTo>
                    <a:lnTo>
                      <a:pt x="66" y="28"/>
                    </a:lnTo>
                    <a:lnTo>
                      <a:pt x="44" y="44"/>
                    </a:lnTo>
                    <a:lnTo>
                      <a:pt x="27" y="63"/>
                    </a:lnTo>
                    <a:lnTo>
                      <a:pt x="13" y="84"/>
                    </a:lnTo>
                    <a:lnTo>
                      <a:pt x="4" y="108"/>
                    </a:lnTo>
                    <a:lnTo>
                      <a:pt x="0" y="134"/>
                    </a:lnTo>
                    <a:lnTo>
                      <a:pt x="1" y="160"/>
                    </a:lnTo>
                    <a:lnTo>
                      <a:pt x="10" y="188"/>
                    </a:lnTo>
                    <a:lnTo>
                      <a:pt x="24" y="213"/>
                    </a:lnTo>
                    <a:lnTo>
                      <a:pt x="43" y="233"/>
                    </a:lnTo>
                    <a:lnTo>
                      <a:pt x="63" y="247"/>
                    </a:lnTo>
                    <a:lnTo>
                      <a:pt x="86" y="256"/>
                    </a:lnTo>
                    <a:lnTo>
                      <a:pt x="112" y="260"/>
                    </a:lnTo>
                    <a:lnTo>
                      <a:pt x="137" y="260"/>
                    </a:lnTo>
                    <a:lnTo>
                      <a:pt x="164" y="256"/>
                    </a:lnTo>
                    <a:lnTo>
                      <a:pt x="190" y="2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80" name="Freeform 288">
                <a:extLst>
                  <a:ext uri="{FF2B5EF4-FFF2-40B4-BE49-F238E27FC236}">
                    <a16:creationId xmlns:a16="http://schemas.microsoft.com/office/drawing/2014/main" id="{7FDFAB1A-FEF5-43AB-BB87-FDBFDE82184B}"/>
                  </a:ext>
                </a:extLst>
              </p:cNvPr>
              <p:cNvSpPr>
                <a:spLocks/>
              </p:cNvSpPr>
              <p:nvPr/>
            </p:nvSpPr>
            <p:spPr bwMode="auto">
              <a:xfrm>
                <a:off x="7346950" y="4764088"/>
                <a:ext cx="85725" cy="87312"/>
              </a:xfrm>
              <a:custGeom>
                <a:avLst/>
                <a:gdLst>
                  <a:gd name="T0" fmla="*/ 2147483646 w 109"/>
                  <a:gd name="T1" fmla="*/ 2147483646 h 110"/>
                  <a:gd name="T2" fmla="*/ 2147483646 w 109"/>
                  <a:gd name="T3" fmla="*/ 2147483646 h 110"/>
                  <a:gd name="T4" fmla="*/ 2147483646 w 109"/>
                  <a:gd name="T5" fmla="*/ 0 h 110"/>
                  <a:gd name="T6" fmla="*/ 2147483646 w 109"/>
                  <a:gd name="T7" fmla="*/ 2147483646 h 110"/>
                  <a:gd name="T8" fmla="*/ 2147483646 w 109"/>
                  <a:gd name="T9" fmla="*/ 2147483646 h 110"/>
                  <a:gd name="T10" fmla="*/ 2147483646 w 109"/>
                  <a:gd name="T11" fmla="*/ 2147483646 h 110"/>
                  <a:gd name="T12" fmla="*/ 2147483646 w 109"/>
                  <a:gd name="T13" fmla="*/ 2147483646 h 110"/>
                  <a:gd name="T14" fmla="*/ 2147483646 w 109"/>
                  <a:gd name="T15" fmla="*/ 2147483646 h 110"/>
                  <a:gd name="T16" fmla="*/ 2147483646 w 109"/>
                  <a:gd name="T17" fmla="*/ 2147483646 h 110"/>
                  <a:gd name="T18" fmla="*/ 2147483646 w 109"/>
                  <a:gd name="T19" fmla="*/ 2147483646 h 110"/>
                  <a:gd name="T20" fmla="*/ 2147483646 w 109"/>
                  <a:gd name="T21" fmla="*/ 2147483646 h 110"/>
                  <a:gd name="T22" fmla="*/ 2147483646 w 109"/>
                  <a:gd name="T23" fmla="*/ 2147483646 h 110"/>
                  <a:gd name="T24" fmla="*/ 2147483646 w 109"/>
                  <a:gd name="T25" fmla="*/ 2147483646 h 110"/>
                  <a:gd name="T26" fmla="*/ 2147483646 w 109"/>
                  <a:gd name="T27" fmla="*/ 2147483646 h 110"/>
                  <a:gd name="T28" fmla="*/ 2147483646 w 109"/>
                  <a:gd name="T29" fmla="*/ 2147483646 h 110"/>
                  <a:gd name="T30" fmla="*/ 2147483646 w 109"/>
                  <a:gd name="T31" fmla="*/ 2147483646 h 110"/>
                  <a:gd name="T32" fmla="*/ 2147483646 w 109"/>
                  <a:gd name="T33" fmla="*/ 2147483646 h 110"/>
                  <a:gd name="T34" fmla="*/ 2147483646 w 109"/>
                  <a:gd name="T35" fmla="*/ 2147483646 h 110"/>
                  <a:gd name="T36" fmla="*/ 2147483646 w 109"/>
                  <a:gd name="T37" fmla="*/ 2147483646 h 110"/>
                  <a:gd name="T38" fmla="*/ 2147483646 w 109"/>
                  <a:gd name="T39" fmla="*/ 2147483646 h 110"/>
                  <a:gd name="T40" fmla="*/ 2147483646 w 109"/>
                  <a:gd name="T41" fmla="*/ 2147483646 h 110"/>
                  <a:gd name="T42" fmla="*/ 2147483646 w 109"/>
                  <a:gd name="T43" fmla="*/ 2147483646 h 110"/>
                  <a:gd name="T44" fmla="*/ 2147483646 w 109"/>
                  <a:gd name="T45" fmla="*/ 2147483646 h 110"/>
                  <a:gd name="T46" fmla="*/ 2147483646 w 109"/>
                  <a:gd name="T47" fmla="*/ 2147483646 h 110"/>
                  <a:gd name="T48" fmla="*/ 2147483646 w 109"/>
                  <a:gd name="T49" fmla="*/ 2147483646 h 110"/>
                  <a:gd name="T50" fmla="*/ 2147483646 w 109"/>
                  <a:gd name="T51" fmla="*/ 2147483646 h 110"/>
                  <a:gd name="T52" fmla="*/ 0 w 109"/>
                  <a:gd name="T53" fmla="*/ 2147483646 h 110"/>
                  <a:gd name="T54" fmla="*/ 2147483646 w 109"/>
                  <a:gd name="T55" fmla="*/ 2147483646 h 110"/>
                  <a:gd name="T56" fmla="*/ 2147483646 w 109"/>
                  <a:gd name="T57" fmla="*/ 2147483646 h 110"/>
                  <a:gd name="T58" fmla="*/ 2147483646 w 109"/>
                  <a:gd name="T59" fmla="*/ 2147483646 h 110"/>
                  <a:gd name="T60" fmla="*/ 2147483646 w 109"/>
                  <a:gd name="T61" fmla="*/ 2147483646 h 110"/>
                  <a:gd name="T62" fmla="*/ 2147483646 w 109"/>
                  <a:gd name="T63" fmla="*/ 2147483646 h 110"/>
                  <a:gd name="T64" fmla="*/ 2147483646 w 109"/>
                  <a:gd name="T65" fmla="*/ 2147483646 h 11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9"/>
                  <a:gd name="T100" fmla="*/ 0 h 110"/>
                  <a:gd name="T101" fmla="*/ 109 w 109"/>
                  <a:gd name="T102" fmla="*/ 110 h 11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9" h="110">
                    <a:moveTo>
                      <a:pt x="33" y="6"/>
                    </a:moveTo>
                    <a:lnTo>
                      <a:pt x="44" y="2"/>
                    </a:lnTo>
                    <a:lnTo>
                      <a:pt x="56" y="0"/>
                    </a:lnTo>
                    <a:lnTo>
                      <a:pt x="66" y="1"/>
                    </a:lnTo>
                    <a:lnTo>
                      <a:pt x="75" y="5"/>
                    </a:lnTo>
                    <a:lnTo>
                      <a:pt x="85" y="9"/>
                    </a:lnTo>
                    <a:lnTo>
                      <a:pt x="93" y="16"/>
                    </a:lnTo>
                    <a:lnTo>
                      <a:pt x="99" y="24"/>
                    </a:lnTo>
                    <a:lnTo>
                      <a:pt x="104" y="34"/>
                    </a:lnTo>
                    <a:lnTo>
                      <a:pt x="108" y="44"/>
                    </a:lnTo>
                    <a:lnTo>
                      <a:pt x="109" y="54"/>
                    </a:lnTo>
                    <a:lnTo>
                      <a:pt x="109" y="65"/>
                    </a:lnTo>
                    <a:lnTo>
                      <a:pt x="105" y="74"/>
                    </a:lnTo>
                    <a:lnTo>
                      <a:pt x="101" y="83"/>
                    </a:lnTo>
                    <a:lnTo>
                      <a:pt x="95" y="91"/>
                    </a:lnTo>
                    <a:lnTo>
                      <a:pt x="86" y="98"/>
                    </a:lnTo>
                    <a:lnTo>
                      <a:pt x="75" y="104"/>
                    </a:lnTo>
                    <a:lnTo>
                      <a:pt x="64" y="107"/>
                    </a:lnTo>
                    <a:lnTo>
                      <a:pt x="53" y="110"/>
                    </a:lnTo>
                    <a:lnTo>
                      <a:pt x="43" y="108"/>
                    </a:lnTo>
                    <a:lnTo>
                      <a:pt x="34" y="105"/>
                    </a:lnTo>
                    <a:lnTo>
                      <a:pt x="25" y="100"/>
                    </a:lnTo>
                    <a:lnTo>
                      <a:pt x="18" y="95"/>
                    </a:lnTo>
                    <a:lnTo>
                      <a:pt x="11" y="85"/>
                    </a:lnTo>
                    <a:lnTo>
                      <a:pt x="6" y="76"/>
                    </a:lnTo>
                    <a:lnTo>
                      <a:pt x="3" y="66"/>
                    </a:lnTo>
                    <a:lnTo>
                      <a:pt x="0" y="55"/>
                    </a:lnTo>
                    <a:lnTo>
                      <a:pt x="2" y="46"/>
                    </a:lnTo>
                    <a:lnTo>
                      <a:pt x="4" y="36"/>
                    </a:lnTo>
                    <a:lnTo>
                      <a:pt x="7" y="28"/>
                    </a:lnTo>
                    <a:lnTo>
                      <a:pt x="14" y="19"/>
                    </a:lnTo>
                    <a:lnTo>
                      <a:pt x="22" y="12"/>
                    </a:lnTo>
                    <a:lnTo>
                      <a:pt x="33"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81" name="Freeform 289">
                <a:extLst>
                  <a:ext uri="{FF2B5EF4-FFF2-40B4-BE49-F238E27FC236}">
                    <a16:creationId xmlns:a16="http://schemas.microsoft.com/office/drawing/2014/main" id="{B5F9C74F-4935-4C83-B933-88E0FDB4758F}"/>
                  </a:ext>
                </a:extLst>
              </p:cNvPr>
              <p:cNvSpPr>
                <a:spLocks/>
              </p:cNvSpPr>
              <p:nvPr/>
            </p:nvSpPr>
            <p:spPr bwMode="auto">
              <a:xfrm>
                <a:off x="7466013" y="4603750"/>
                <a:ext cx="120650" cy="230187"/>
              </a:xfrm>
              <a:custGeom>
                <a:avLst/>
                <a:gdLst>
                  <a:gd name="T0" fmla="*/ 2147483646 w 151"/>
                  <a:gd name="T1" fmla="*/ 2147483646 h 290"/>
                  <a:gd name="T2" fmla="*/ 2147483646 w 151"/>
                  <a:gd name="T3" fmla="*/ 2147483646 h 290"/>
                  <a:gd name="T4" fmla="*/ 2147483646 w 151"/>
                  <a:gd name="T5" fmla="*/ 2147483646 h 290"/>
                  <a:gd name="T6" fmla="*/ 2147483646 w 151"/>
                  <a:gd name="T7" fmla="*/ 2147483646 h 290"/>
                  <a:gd name="T8" fmla="*/ 2147483646 w 151"/>
                  <a:gd name="T9" fmla="*/ 2147483646 h 290"/>
                  <a:gd name="T10" fmla="*/ 2147483646 w 151"/>
                  <a:gd name="T11" fmla="*/ 2147483646 h 290"/>
                  <a:gd name="T12" fmla="*/ 2147483646 w 151"/>
                  <a:gd name="T13" fmla="*/ 2147483646 h 290"/>
                  <a:gd name="T14" fmla="*/ 2147483646 w 151"/>
                  <a:gd name="T15" fmla="*/ 2147483646 h 290"/>
                  <a:gd name="T16" fmla="*/ 2147483646 w 151"/>
                  <a:gd name="T17" fmla="*/ 2147483646 h 290"/>
                  <a:gd name="T18" fmla="*/ 2147483646 w 151"/>
                  <a:gd name="T19" fmla="*/ 2147483646 h 290"/>
                  <a:gd name="T20" fmla="*/ 2147483646 w 151"/>
                  <a:gd name="T21" fmla="*/ 2147483646 h 290"/>
                  <a:gd name="T22" fmla="*/ 2147483646 w 151"/>
                  <a:gd name="T23" fmla="*/ 2147483646 h 290"/>
                  <a:gd name="T24" fmla="*/ 2147483646 w 151"/>
                  <a:gd name="T25" fmla="*/ 2147483646 h 290"/>
                  <a:gd name="T26" fmla="*/ 2147483646 w 151"/>
                  <a:gd name="T27" fmla="*/ 2147483646 h 290"/>
                  <a:gd name="T28" fmla="*/ 2147483646 w 151"/>
                  <a:gd name="T29" fmla="*/ 2147483646 h 290"/>
                  <a:gd name="T30" fmla="*/ 2147483646 w 151"/>
                  <a:gd name="T31" fmla="*/ 2147483646 h 290"/>
                  <a:gd name="T32" fmla="*/ 2147483646 w 151"/>
                  <a:gd name="T33" fmla="*/ 2147483646 h 290"/>
                  <a:gd name="T34" fmla="*/ 2147483646 w 151"/>
                  <a:gd name="T35" fmla="*/ 0 h 290"/>
                  <a:gd name="T36" fmla="*/ 0 w 151"/>
                  <a:gd name="T37" fmla="*/ 2147483646 h 290"/>
                  <a:gd name="T38" fmla="*/ 2147483646 w 151"/>
                  <a:gd name="T39" fmla="*/ 2147483646 h 2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1"/>
                  <a:gd name="T61" fmla="*/ 0 h 290"/>
                  <a:gd name="T62" fmla="*/ 151 w 151"/>
                  <a:gd name="T63" fmla="*/ 290 h 29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1" h="290">
                    <a:moveTo>
                      <a:pt x="29" y="72"/>
                    </a:moveTo>
                    <a:lnTo>
                      <a:pt x="4" y="82"/>
                    </a:lnTo>
                    <a:lnTo>
                      <a:pt x="31" y="146"/>
                    </a:lnTo>
                    <a:lnTo>
                      <a:pt x="57" y="135"/>
                    </a:lnTo>
                    <a:lnTo>
                      <a:pt x="122" y="290"/>
                    </a:lnTo>
                    <a:lnTo>
                      <a:pt x="151" y="277"/>
                    </a:lnTo>
                    <a:lnTo>
                      <a:pt x="143" y="244"/>
                    </a:lnTo>
                    <a:lnTo>
                      <a:pt x="134" y="209"/>
                    </a:lnTo>
                    <a:lnTo>
                      <a:pt x="122" y="177"/>
                    </a:lnTo>
                    <a:lnTo>
                      <a:pt x="109" y="144"/>
                    </a:lnTo>
                    <a:lnTo>
                      <a:pt x="94" y="112"/>
                    </a:lnTo>
                    <a:lnTo>
                      <a:pt x="76" y="81"/>
                    </a:lnTo>
                    <a:lnTo>
                      <a:pt x="57" y="51"/>
                    </a:lnTo>
                    <a:lnTo>
                      <a:pt x="35" y="21"/>
                    </a:lnTo>
                    <a:lnTo>
                      <a:pt x="30" y="16"/>
                    </a:lnTo>
                    <a:lnTo>
                      <a:pt x="26" y="10"/>
                    </a:lnTo>
                    <a:lnTo>
                      <a:pt x="21" y="5"/>
                    </a:lnTo>
                    <a:lnTo>
                      <a:pt x="16" y="0"/>
                    </a:lnTo>
                    <a:lnTo>
                      <a:pt x="0" y="6"/>
                    </a:lnTo>
                    <a:lnTo>
                      <a:pt x="29"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82" name="Freeform 290">
                <a:extLst>
                  <a:ext uri="{FF2B5EF4-FFF2-40B4-BE49-F238E27FC236}">
                    <a16:creationId xmlns:a16="http://schemas.microsoft.com/office/drawing/2014/main" id="{35AEFEF0-7E6B-4C1C-9ED2-FE4161A4FB6D}"/>
                  </a:ext>
                </a:extLst>
              </p:cNvPr>
              <p:cNvSpPr>
                <a:spLocks/>
              </p:cNvSpPr>
              <p:nvPr/>
            </p:nvSpPr>
            <p:spPr bwMode="auto">
              <a:xfrm>
                <a:off x="6253163" y="5384800"/>
                <a:ext cx="206375" cy="247650"/>
              </a:xfrm>
              <a:custGeom>
                <a:avLst/>
                <a:gdLst>
                  <a:gd name="T0" fmla="*/ 0 w 259"/>
                  <a:gd name="T1" fmla="*/ 2147483646 h 314"/>
                  <a:gd name="T2" fmla="*/ 2147483646 w 259"/>
                  <a:gd name="T3" fmla="*/ 2147483646 h 314"/>
                  <a:gd name="T4" fmla="*/ 2147483646 w 259"/>
                  <a:gd name="T5" fmla="*/ 2147483646 h 314"/>
                  <a:gd name="T6" fmla="*/ 2147483646 w 259"/>
                  <a:gd name="T7" fmla="*/ 0 h 314"/>
                  <a:gd name="T8" fmla="*/ 0 w 259"/>
                  <a:gd name="T9" fmla="*/ 2147483646 h 314"/>
                  <a:gd name="T10" fmla="*/ 0 60000 65536"/>
                  <a:gd name="T11" fmla="*/ 0 60000 65536"/>
                  <a:gd name="T12" fmla="*/ 0 60000 65536"/>
                  <a:gd name="T13" fmla="*/ 0 60000 65536"/>
                  <a:gd name="T14" fmla="*/ 0 60000 65536"/>
                  <a:gd name="T15" fmla="*/ 0 w 259"/>
                  <a:gd name="T16" fmla="*/ 0 h 314"/>
                  <a:gd name="T17" fmla="*/ 259 w 259"/>
                  <a:gd name="T18" fmla="*/ 314 h 314"/>
                </a:gdLst>
                <a:ahLst/>
                <a:cxnLst>
                  <a:cxn ang="T10">
                    <a:pos x="T0" y="T1"/>
                  </a:cxn>
                  <a:cxn ang="T11">
                    <a:pos x="T2" y="T3"/>
                  </a:cxn>
                  <a:cxn ang="T12">
                    <a:pos x="T4" y="T5"/>
                  </a:cxn>
                  <a:cxn ang="T13">
                    <a:pos x="T6" y="T7"/>
                  </a:cxn>
                  <a:cxn ang="T14">
                    <a:pos x="T8" y="T9"/>
                  </a:cxn>
                </a:cxnLst>
                <a:rect l="T15" t="T16" r="T17" b="T18"/>
                <a:pathLst>
                  <a:path w="259" h="314">
                    <a:moveTo>
                      <a:pt x="0" y="20"/>
                    </a:moveTo>
                    <a:lnTo>
                      <a:pt x="234" y="314"/>
                    </a:lnTo>
                    <a:lnTo>
                      <a:pt x="259" y="294"/>
                    </a:lnTo>
                    <a:lnTo>
                      <a:pt x="25" y="0"/>
                    </a:lnTo>
                    <a:lnTo>
                      <a:pt x="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pic>
          <p:nvPicPr>
            <p:cNvPr id="87128" name="Picture 4" descr="MCj04339410000[1]">
              <a:extLst>
                <a:ext uri="{FF2B5EF4-FFF2-40B4-BE49-F238E27FC236}">
                  <a16:creationId xmlns:a16="http://schemas.microsoft.com/office/drawing/2014/main" id="{8C1E86C3-0720-490D-9252-B3420BC5DD2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19113" y="2635236"/>
              <a:ext cx="5556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129" name="Picture 4" descr="MCj04339410000[1]">
              <a:extLst>
                <a:ext uri="{FF2B5EF4-FFF2-40B4-BE49-F238E27FC236}">
                  <a16:creationId xmlns:a16="http://schemas.microsoft.com/office/drawing/2014/main" id="{4E3CF30D-1718-4F04-BFD9-BC543F4105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55613" y="3509949"/>
              <a:ext cx="555625"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130" name="Picture 153" descr="MCj04290030000[1]">
              <a:extLst>
                <a:ext uri="{FF2B5EF4-FFF2-40B4-BE49-F238E27FC236}">
                  <a16:creationId xmlns:a16="http://schemas.microsoft.com/office/drawing/2014/main" id="{3BEB067B-CA0B-41B1-AB6F-538DB3932A3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481138" y="4825986"/>
              <a:ext cx="190500"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7131" name="그룹 711">
              <a:extLst>
                <a:ext uri="{FF2B5EF4-FFF2-40B4-BE49-F238E27FC236}">
                  <a16:creationId xmlns:a16="http://schemas.microsoft.com/office/drawing/2014/main" id="{C940A034-7480-493E-B717-8C7CED25C8D2}"/>
                </a:ext>
              </a:extLst>
            </p:cNvPr>
            <p:cNvGrpSpPr>
              <a:grpSpLocks noChangeAspect="1"/>
            </p:cNvGrpSpPr>
            <p:nvPr/>
          </p:nvGrpSpPr>
          <p:grpSpPr bwMode="auto">
            <a:xfrm>
              <a:off x="1481138" y="5045061"/>
              <a:ext cx="193675" cy="153988"/>
              <a:chOff x="8708503" y="2446338"/>
              <a:chExt cx="175412" cy="158948"/>
            </a:xfrm>
          </p:grpSpPr>
          <p:grpSp>
            <p:nvGrpSpPr>
              <p:cNvPr id="87203" name="그룹 794">
                <a:extLst>
                  <a:ext uri="{FF2B5EF4-FFF2-40B4-BE49-F238E27FC236}">
                    <a16:creationId xmlns:a16="http://schemas.microsoft.com/office/drawing/2014/main" id="{53E2231C-31F1-4C15-9EA8-C59940A18B30}"/>
                  </a:ext>
                </a:extLst>
              </p:cNvPr>
              <p:cNvGrpSpPr>
                <a:grpSpLocks/>
              </p:cNvGrpSpPr>
              <p:nvPr/>
            </p:nvGrpSpPr>
            <p:grpSpPr bwMode="auto">
              <a:xfrm>
                <a:off x="8708503" y="2446338"/>
                <a:ext cx="175412" cy="158948"/>
                <a:chOff x="4500563" y="4143375"/>
                <a:chExt cx="1635125" cy="1577975"/>
              </a:xfrm>
            </p:grpSpPr>
            <p:sp>
              <p:nvSpPr>
                <p:cNvPr id="87207" name="AutoShape 800">
                  <a:extLst>
                    <a:ext uri="{FF2B5EF4-FFF2-40B4-BE49-F238E27FC236}">
                      <a16:creationId xmlns:a16="http://schemas.microsoft.com/office/drawing/2014/main" id="{3CD55441-3B39-456E-8029-361B24A0C9A9}"/>
                    </a:ext>
                  </a:extLst>
                </p:cNvPr>
                <p:cNvSpPr>
                  <a:spLocks noChangeAspect="1" noChangeArrowheads="1" noTextEdit="1"/>
                </p:cNvSpPr>
                <p:nvPr/>
              </p:nvSpPr>
              <p:spPr bwMode="auto">
                <a:xfrm>
                  <a:off x="4500563" y="4143375"/>
                  <a:ext cx="1635125" cy="157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p>
              </p:txBody>
            </p:sp>
            <p:sp>
              <p:nvSpPr>
                <p:cNvPr id="87208" name="Freeform 802">
                  <a:extLst>
                    <a:ext uri="{FF2B5EF4-FFF2-40B4-BE49-F238E27FC236}">
                      <a16:creationId xmlns:a16="http://schemas.microsoft.com/office/drawing/2014/main" id="{D48BB235-524D-41C3-9391-3CDF0993B48C}"/>
                    </a:ext>
                  </a:extLst>
                </p:cNvPr>
                <p:cNvSpPr>
                  <a:spLocks/>
                </p:cNvSpPr>
                <p:nvPr/>
              </p:nvSpPr>
              <p:spPr bwMode="auto">
                <a:xfrm>
                  <a:off x="4506913" y="4149725"/>
                  <a:ext cx="1622425" cy="1565275"/>
                </a:xfrm>
                <a:custGeom>
                  <a:avLst/>
                  <a:gdLst>
                    <a:gd name="T0" fmla="*/ 2147483646 w 1022"/>
                    <a:gd name="T1" fmla="*/ 0 h 986"/>
                    <a:gd name="T2" fmla="*/ 2147483646 w 1022"/>
                    <a:gd name="T3" fmla="*/ 0 h 986"/>
                    <a:gd name="T4" fmla="*/ 2147483646 w 1022"/>
                    <a:gd name="T5" fmla="*/ 0 h 986"/>
                    <a:gd name="T6" fmla="*/ 2147483646 w 1022"/>
                    <a:gd name="T7" fmla="*/ 2147483646 h 986"/>
                    <a:gd name="T8" fmla="*/ 2147483646 w 1022"/>
                    <a:gd name="T9" fmla="*/ 2147483646 h 986"/>
                    <a:gd name="T10" fmla="*/ 2147483646 w 1022"/>
                    <a:gd name="T11" fmla="*/ 2147483646 h 986"/>
                    <a:gd name="T12" fmla="*/ 2147483646 w 1022"/>
                    <a:gd name="T13" fmla="*/ 2147483646 h 986"/>
                    <a:gd name="T14" fmla="*/ 2147483646 w 1022"/>
                    <a:gd name="T15" fmla="*/ 2147483646 h 986"/>
                    <a:gd name="T16" fmla="*/ 2147483646 w 1022"/>
                    <a:gd name="T17" fmla="*/ 2147483646 h 986"/>
                    <a:gd name="T18" fmla="*/ 0 w 1022"/>
                    <a:gd name="T19" fmla="*/ 2147483646 h 986"/>
                    <a:gd name="T20" fmla="*/ 0 w 1022"/>
                    <a:gd name="T21" fmla="*/ 2147483646 h 986"/>
                    <a:gd name="T22" fmla="*/ 0 w 1022"/>
                    <a:gd name="T23" fmla="*/ 2147483646 h 986"/>
                    <a:gd name="T24" fmla="*/ 0 w 1022"/>
                    <a:gd name="T25" fmla="*/ 2147483646 h 986"/>
                    <a:gd name="T26" fmla="*/ 0 w 1022"/>
                    <a:gd name="T27" fmla="*/ 2147483646 h 986"/>
                    <a:gd name="T28" fmla="*/ 2147483646 w 1022"/>
                    <a:gd name="T29" fmla="*/ 2147483646 h 986"/>
                    <a:gd name="T30" fmla="*/ 2147483646 w 1022"/>
                    <a:gd name="T31" fmla="*/ 2147483646 h 986"/>
                    <a:gd name="T32" fmla="*/ 2147483646 w 1022"/>
                    <a:gd name="T33" fmla="*/ 2147483646 h 986"/>
                    <a:gd name="T34" fmla="*/ 2147483646 w 1022"/>
                    <a:gd name="T35" fmla="*/ 2147483646 h 986"/>
                    <a:gd name="T36" fmla="*/ 2147483646 w 1022"/>
                    <a:gd name="T37" fmla="*/ 2147483646 h 986"/>
                    <a:gd name="T38" fmla="*/ 2147483646 w 1022"/>
                    <a:gd name="T39" fmla="*/ 2147483646 h 986"/>
                    <a:gd name="T40" fmla="*/ 2147483646 w 1022"/>
                    <a:gd name="T41" fmla="*/ 2147483646 h 986"/>
                    <a:gd name="T42" fmla="*/ 2147483646 w 1022"/>
                    <a:gd name="T43" fmla="*/ 2147483646 h 986"/>
                    <a:gd name="T44" fmla="*/ 2147483646 w 1022"/>
                    <a:gd name="T45" fmla="*/ 2147483646 h 986"/>
                    <a:gd name="T46" fmla="*/ 2147483646 w 1022"/>
                    <a:gd name="T47" fmla="*/ 2147483646 h 986"/>
                    <a:gd name="T48" fmla="*/ 2147483646 w 1022"/>
                    <a:gd name="T49" fmla="*/ 2147483646 h 986"/>
                    <a:gd name="T50" fmla="*/ 2147483646 w 1022"/>
                    <a:gd name="T51" fmla="*/ 2147483646 h 986"/>
                    <a:gd name="T52" fmla="*/ 2147483646 w 1022"/>
                    <a:gd name="T53" fmla="*/ 2147483646 h 986"/>
                    <a:gd name="T54" fmla="*/ 2147483646 w 1022"/>
                    <a:gd name="T55" fmla="*/ 2147483646 h 986"/>
                    <a:gd name="T56" fmla="*/ 2147483646 w 1022"/>
                    <a:gd name="T57" fmla="*/ 2147483646 h 986"/>
                    <a:gd name="T58" fmla="*/ 2147483646 w 1022"/>
                    <a:gd name="T59" fmla="*/ 2147483646 h 986"/>
                    <a:gd name="T60" fmla="*/ 2147483646 w 1022"/>
                    <a:gd name="T61" fmla="*/ 2147483646 h 986"/>
                    <a:gd name="T62" fmla="*/ 2147483646 w 1022"/>
                    <a:gd name="T63" fmla="*/ 2147483646 h 986"/>
                    <a:gd name="T64" fmla="*/ 2147483646 w 1022"/>
                    <a:gd name="T65" fmla="*/ 2147483646 h 986"/>
                    <a:gd name="T66" fmla="*/ 2147483646 w 1022"/>
                    <a:gd name="T67" fmla="*/ 2147483646 h 986"/>
                    <a:gd name="T68" fmla="*/ 2147483646 w 1022"/>
                    <a:gd name="T69" fmla="*/ 2147483646 h 986"/>
                    <a:gd name="T70" fmla="*/ 2147483646 w 1022"/>
                    <a:gd name="T71" fmla="*/ 2147483646 h 986"/>
                    <a:gd name="T72" fmla="*/ 2147483646 w 1022"/>
                    <a:gd name="T73" fmla="*/ 2147483646 h 986"/>
                    <a:gd name="T74" fmla="*/ 2147483646 w 1022"/>
                    <a:gd name="T75" fmla="*/ 2147483646 h 986"/>
                    <a:gd name="T76" fmla="*/ 2147483646 w 1022"/>
                    <a:gd name="T77" fmla="*/ 2147483646 h 986"/>
                    <a:gd name="T78" fmla="*/ 2147483646 w 1022"/>
                    <a:gd name="T79" fmla="*/ 2147483646 h 986"/>
                    <a:gd name="T80" fmla="*/ 2147483646 w 1022"/>
                    <a:gd name="T81" fmla="*/ 2147483646 h 986"/>
                    <a:gd name="T82" fmla="*/ 2147483646 w 1022"/>
                    <a:gd name="T83" fmla="*/ 2147483646 h 986"/>
                    <a:gd name="T84" fmla="*/ 2147483646 w 1022"/>
                    <a:gd name="T85" fmla="*/ 2147483646 h 986"/>
                    <a:gd name="T86" fmla="*/ 2147483646 w 1022"/>
                    <a:gd name="T87" fmla="*/ 2147483646 h 986"/>
                    <a:gd name="T88" fmla="*/ 2147483646 w 1022"/>
                    <a:gd name="T89" fmla="*/ 2147483646 h 986"/>
                    <a:gd name="T90" fmla="*/ 2147483646 w 1022"/>
                    <a:gd name="T91" fmla="*/ 2147483646 h 986"/>
                    <a:gd name="T92" fmla="*/ 2147483646 w 1022"/>
                    <a:gd name="T93" fmla="*/ 2147483646 h 986"/>
                    <a:gd name="T94" fmla="*/ 2147483646 w 1022"/>
                    <a:gd name="T95" fmla="*/ 2147483646 h 986"/>
                    <a:gd name="T96" fmla="*/ 2147483646 w 1022"/>
                    <a:gd name="T97" fmla="*/ 2147483646 h 986"/>
                    <a:gd name="T98" fmla="*/ 2147483646 w 1022"/>
                    <a:gd name="T99" fmla="*/ 2147483646 h 986"/>
                    <a:gd name="T100" fmla="*/ 2147483646 w 1022"/>
                    <a:gd name="T101" fmla="*/ 2147483646 h 986"/>
                    <a:gd name="T102" fmla="*/ 2147483646 w 1022"/>
                    <a:gd name="T103" fmla="*/ 0 h 986"/>
                    <a:gd name="T104" fmla="*/ 2147483646 w 1022"/>
                    <a:gd name="T105" fmla="*/ 0 h 98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22"/>
                    <a:gd name="T160" fmla="*/ 0 h 986"/>
                    <a:gd name="T161" fmla="*/ 1022 w 1022"/>
                    <a:gd name="T162" fmla="*/ 986 h 98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22" h="986">
                      <a:moveTo>
                        <a:pt x="692" y="0"/>
                      </a:moveTo>
                      <a:lnTo>
                        <a:pt x="108" y="0"/>
                      </a:lnTo>
                      <a:lnTo>
                        <a:pt x="108" y="290"/>
                      </a:lnTo>
                      <a:lnTo>
                        <a:pt x="14" y="372"/>
                      </a:lnTo>
                      <a:lnTo>
                        <a:pt x="8" y="378"/>
                      </a:lnTo>
                      <a:lnTo>
                        <a:pt x="2" y="386"/>
                      </a:lnTo>
                      <a:lnTo>
                        <a:pt x="0" y="394"/>
                      </a:lnTo>
                      <a:lnTo>
                        <a:pt x="0" y="404"/>
                      </a:lnTo>
                      <a:lnTo>
                        <a:pt x="0" y="930"/>
                      </a:lnTo>
                      <a:lnTo>
                        <a:pt x="0" y="942"/>
                      </a:lnTo>
                      <a:lnTo>
                        <a:pt x="4" y="954"/>
                      </a:lnTo>
                      <a:lnTo>
                        <a:pt x="6" y="956"/>
                      </a:lnTo>
                      <a:lnTo>
                        <a:pt x="10" y="964"/>
                      </a:lnTo>
                      <a:lnTo>
                        <a:pt x="16" y="970"/>
                      </a:lnTo>
                      <a:lnTo>
                        <a:pt x="22" y="976"/>
                      </a:lnTo>
                      <a:lnTo>
                        <a:pt x="30" y="980"/>
                      </a:lnTo>
                      <a:lnTo>
                        <a:pt x="32" y="982"/>
                      </a:lnTo>
                      <a:lnTo>
                        <a:pt x="44" y="986"/>
                      </a:lnTo>
                      <a:lnTo>
                        <a:pt x="56" y="986"/>
                      </a:lnTo>
                      <a:lnTo>
                        <a:pt x="964" y="986"/>
                      </a:lnTo>
                      <a:lnTo>
                        <a:pt x="976" y="986"/>
                      </a:lnTo>
                      <a:lnTo>
                        <a:pt x="988" y="982"/>
                      </a:lnTo>
                      <a:lnTo>
                        <a:pt x="990" y="980"/>
                      </a:lnTo>
                      <a:lnTo>
                        <a:pt x="998" y="976"/>
                      </a:lnTo>
                      <a:lnTo>
                        <a:pt x="1004" y="970"/>
                      </a:lnTo>
                      <a:lnTo>
                        <a:pt x="1010" y="964"/>
                      </a:lnTo>
                      <a:lnTo>
                        <a:pt x="1014" y="956"/>
                      </a:lnTo>
                      <a:lnTo>
                        <a:pt x="1016" y="954"/>
                      </a:lnTo>
                      <a:lnTo>
                        <a:pt x="1020" y="942"/>
                      </a:lnTo>
                      <a:lnTo>
                        <a:pt x="1022" y="930"/>
                      </a:lnTo>
                      <a:lnTo>
                        <a:pt x="1022" y="404"/>
                      </a:lnTo>
                      <a:lnTo>
                        <a:pt x="1020" y="394"/>
                      </a:lnTo>
                      <a:lnTo>
                        <a:pt x="1018" y="386"/>
                      </a:lnTo>
                      <a:lnTo>
                        <a:pt x="1012" y="378"/>
                      </a:lnTo>
                      <a:lnTo>
                        <a:pt x="1006" y="372"/>
                      </a:lnTo>
                      <a:lnTo>
                        <a:pt x="914" y="290"/>
                      </a:lnTo>
                      <a:lnTo>
                        <a:pt x="914" y="206"/>
                      </a:lnTo>
                      <a:lnTo>
                        <a:pt x="708" y="0"/>
                      </a:lnTo>
                      <a:lnTo>
                        <a:pt x="692" y="0"/>
                      </a:lnTo>
                      <a:close/>
                    </a:path>
                  </a:pathLst>
                </a:custGeom>
                <a:solidFill>
                  <a:srgbClr val="99D9E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09" name="Freeform 803">
                  <a:extLst>
                    <a:ext uri="{FF2B5EF4-FFF2-40B4-BE49-F238E27FC236}">
                      <a16:creationId xmlns:a16="http://schemas.microsoft.com/office/drawing/2014/main" id="{9AE52947-CD84-46BB-AC25-A8CC9769182D}"/>
                    </a:ext>
                  </a:extLst>
                </p:cNvPr>
                <p:cNvSpPr>
                  <a:spLocks/>
                </p:cNvSpPr>
                <p:nvPr/>
              </p:nvSpPr>
              <p:spPr bwMode="auto">
                <a:xfrm>
                  <a:off x="4545013" y="4187825"/>
                  <a:ext cx="1546225" cy="1489075"/>
                </a:xfrm>
                <a:custGeom>
                  <a:avLst/>
                  <a:gdLst>
                    <a:gd name="T0" fmla="*/ 2147483646 w 974"/>
                    <a:gd name="T1" fmla="*/ 0 h 938"/>
                    <a:gd name="T2" fmla="*/ 2147483646 w 974"/>
                    <a:gd name="T3" fmla="*/ 0 h 938"/>
                    <a:gd name="T4" fmla="*/ 2147483646 w 974"/>
                    <a:gd name="T5" fmla="*/ 0 h 938"/>
                    <a:gd name="T6" fmla="*/ 2147483646 w 974"/>
                    <a:gd name="T7" fmla="*/ 2147483646 h 938"/>
                    <a:gd name="T8" fmla="*/ 2147483646 w 974"/>
                    <a:gd name="T9" fmla="*/ 2147483646 h 938"/>
                    <a:gd name="T10" fmla="*/ 2147483646 w 974"/>
                    <a:gd name="T11" fmla="*/ 2147483646 h 938"/>
                    <a:gd name="T12" fmla="*/ 2147483646 w 974"/>
                    <a:gd name="T13" fmla="*/ 2147483646 h 938"/>
                    <a:gd name="T14" fmla="*/ 0 w 974"/>
                    <a:gd name="T15" fmla="*/ 2147483646 h 938"/>
                    <a:gd name="T16" fmla="*/ 0 w 974"/>
                    <a:gd name="T17" fmla="*/ 2147483646 h 938"/>
                    <a:gd name="T18" fmla="*/ 0 w 974"/>
                    <a:gd name="T19" fmla="*/ 2147483646 h 938"/>
                    <a:gd name="T20" fmla="*/ 0 w 974"/>
                    <a:gd name="T21" fmla="*/ 2147483646 h 938"/>
                    <a:gd name="T22" fmla="*/ 0 w 974"/>
                    <a:gd name="T23" fmla="*/ 2147483646 h 938"/>
                    <a:gd name="T24" fmla="*/ 2147483646 w 974"/>
                    <a:gd name="T25" fmla="*/ 2147483646 h 938"/>
                    <a:gd name="T26" fmla="*/ 2147483646 w 974"/>
                    <a:gd name="T27" fmla="*/ 2147483646 h 938"/>
                    <a:gd name="T28" fmla="*/ 2147483646 w 974"/>
                    <a:gd name="T29" fmla="*/ 2147483646 h 938"/>
                    <a:gd name="T30" fmla="*/ 2147483646 w 974"/>
                    <a:gd name="T31" fmla="*/ 2147483646 h 938"/>
                    <a:gd name="T32" fmla="*/ 2147483646 w 974"/>
                    <a:gd name="T33" fmla="*/ 2147483646 h 938"/>
                    <a:gd name="T34" fmla="*/ 2147483646 w 974"/>
                    <a:gd name="T35" fmla="*/ 2147483646 h 938"/>
                    <a:gd name="T36" fmla="*/ 2147483646 w 974"/>
                    <a:gd name="T37" fmla="*/ 2147483646 h 938"/>
                    <a:gd name="T38" fmla="*/ 2147483646 w 974"/>
                    <a:gd name="T39" fmla="*/ 2147483646 h 938"/>
                    <a:gd name="T40" fmla="*/ 2147483646 w 974"/>
                    <a:gd name="T41" fmla="*/ 2147483646 h 938"/>
                    <a:gd name="T42" fmla="*/ 2147483646 w 974"/>
                    <a:gd name="T43" fmla="*/ 2147483646 h 938"/>
                    <a:gd name="T44" fmla="*/ 2147483646 w 974"/>
                    <a:gd name="T45" fmla="*/ 2147483646 h 938"/>
                    <a:gd name="T46" fmla="*/ 2147483646 w 974"/>
                    <a:gd name="T47" fmla="*/ 2147483646 h 938"/>
                    <a:gd name="T48" fmla="*/ 2147483646 w 974"/>
                    <a:gd name="T49" fmla="*/ 2147483646 h 938"/>
                    <a:gd name="T50" fmla="*/ 2147483646 w 974"/>
                    <a:gd name="T51" fmla="*/ 2147483646 h 938"/>
                    <a:gd name="T52" fmla="*/ 2147483646 w 974"/>
                    <a:gd name="T53" fmla="*/ 2147483646 h 938"/>
                    <a:gd name="T54" fmla="*/ 2147483646 w 974"/>
                    <a:gd name="T55" fmla="*/ 2147483646 h 938"/>
                    <a:gd name="T56" fmla="*/ 2147483646 w 974"/>
                    <a:gd name="T57" fmla="*/ 2147483646 h 938"/>
                    <a:gd name="T58" fmla="*/ 2147483646 w 974"/>
                    <a:gd name="T59" fmla="*/ 2147483646 h 938"/>
                    <a:gd name="T60" fmla="*/ 2147483646 w 974"/>
                    <a:gd name="T61" fmla="*/ 2147483646 h 938"/>
                    <a:gd name="T62" fmla="*/ 2147483646 w 974"/>
                    <a:gd name="T63" fmla="*/ 2147483646 h 938"/>
                    <a:gd name="T64" fmla="*/ 2147483646 w 974"/>
                    <a:gd name="T65" fmla="*/ 2147483646 h 938"/>
                    <a:gd name="T66" fmla="*/ 2147483646 w 974"/>
                    <a:gd name="T67" fmla="*/ 2147483646 h 938"/>
                    <a:gd name="T68" fmla="*/ 2147483646 w 974"/>
                    <a:gd name="T69" fmla="*/ 2147483646 h 938"/>
                    <a:gd name="T70" fmla="*/ 2147483646 w 974"/>
                    <a:gd name="T71" fmla="*/ 2147483646 h 938"/>
                    <a:gd name="T72" fmla="*/ 2147483646 w 974"/>
                    <a:gd name="T73" fmla="*/ 2147483646 h 938"/>
                    <a:gd name="T74" fmla="*/ 2147483646 w 974"/>
                    <a:gd name="T75" fmla="*/ 2147483646 h 938"/>
                    <a:gd name="T76" fmla="*/ 2147483646 w 974"/>
                    <a:gd name="T77" fmla="*/ 2147483646 h 938"/>
                    <a:gd name="T78" fmla="*/ 2147483646 w 974"/>
                    <a:gd name="T79" fmla="*/ 2147483646 h 938"/>
                    <a:gd name="T80" fmla="*/ 2147483646 w 974"/>
                    <a:gd name="T81" fmla="*/ 2147483646 h 938"/>
                    <a:gd name="T82" fmla="*/ 2147483646 w 974"/>
                    <a:gd name="T83" fmla="*/ 0 h 938"/>
                    <a:gd name="T84" fmla="*/ 2147483646 w 974"/>
                    <a:gd name="T85" fmla="*/ 0 h 93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74"/>
                    <a:gd name="T130" fmla="*/ 0 h 938"/>
                    <a:gd name="T131" fmla="*/ 974 w 974"/>
                    <a:gd name="T132" fmla="*/ 938 h 93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74" h="938">
                      <a:moveTo>
                        <a:pt x="668" y="0"/>
                      </a:moveTo>
                      <a:lnTo>
                        <a:pt x="108" y="0"/>
                      </a:lnTo>
                      <a:lnTo>
                        <a:pt x="108" y="276"/>
                      </a:lnTo>
                      <a:lnTo>
                        <a:pt x="6" y="366"/>
                      </a:lnTo>
                      <a:lnTo>
                        <a:pt x="0" y="372"/>
                      </a:lnTo>
                      <a:lnTo>
                        <a:pt x="0" y="380"/>
                      </a:lnTo>
                      <a:lnTo>
                        <a:pt x="0" y="906"/>
                      </a:lnTo>
                      <a:lnTo>
                        <a:pt x="0" y="914"/>
                      </a:lnTo>
                      <a:lnTo>
                        <a:pt x="2" y="920"/>
                      </a:lnTo>
                      <a:lnTo>
                        <a:pt x="2" y="922"/>
                      </a:lnTo>
                      <a:lnTo>
                        <a:pt x="8" y="930"/>
                      </a:lnTo>
                      <a:lnTo>
                        <a:pt x="16" y="934"/>
                      </a:lnTo>
                      <a:lnTo>
                        <a:pt x="18" y="936"/>
                      </a:lnTo>
                      <a:lnTo>
                        <a:pt x="26" y="938"/>
                      </a:lnTo>
                      <a:lnTo>
                        <a:pt x="32" y="938"/>
                      </a:lnTo>
                      <a:lnTo>
                        <a:pt x="940" y="938"/>
                      </a:lnTo>
                      <a:lnTo>
                        <a:pt x="946" y="938"/>
                      </a:lnTo>
                      <a:lnTo>
                        <a:pt x="954" y="936"/>
                      </a:lnTo>
                      <a:lnTo>
                        <a:pt x="956" y="934"/>
                      </a:lnTo>
                      <a:lnTo>
                        <a:pt x="964" y="930"/>
                      </a:lnTo>
                      <a:lnTo>
                        <a:pt x="968" y="922"/>
                      </a:lnTo>
                      <a:lnTo>
                        <a:pt x="970" y="920"/>
                      </a:lnTo>
                      <a:lnTo>
                        <a:pt x="972" y="912"/>
                      </a:lnTo>
                      <a:lnTo>
                        <a:pt x="974" y="906"/>
                      </a:lnTo>
                      <a:lnTo>
                        <a:pt x="974" y="380"/>
                      </a:lnTo>
                      <a:lnTo>
                        <a:pt x="972" y="372"/>
                      </a:lnTo>
                      <a:lnTo>
                        <a:pt x="966" y="366"/>
                      </a:lnTo>
                      <a:lnTo>
                        <a:pt x="866" y="276"/>
                      </a:lnTo>
                      <a:lnTo>
                        <a:pt x="866" y="192"/>
                      </a:lnTo>
                      <a:lnTo>
                        <a:pt x="674" y="0"/>
                      </a:lnTo>
                      <a:lnTo>
                        <a:pt x="66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10" name="Freeform 804">
                  <a:extLst>
                    <a:ext uri="{FF2B5EF4-FFF2-40B4-BE49-F238E27FC236}">
                      <a16:creationId xmlns:a16="http://schemas.microsoft.com/office/drawing/2014/main" id="{9AE11FA9-25BC-44FA-838E-3EA153C35E88}"/>
                    </a:ext>
                  </a:extLst>
                </p:cNvPr>
                <p:cNvSpPr>
                  <a:spLocks/>
                </p:cNvSpPr>
                <p:nvPr/>
              </p:nvSpPr>
              <p:spPr bwMode="auto">
                <a:xfrm>
                  <a:off x="5614988" y="4244975"/>
                  <a:ext cx="247650" cy="247650"/>
                </a:xfrm>
                <a:custGeom>
                  <a:avLst/>
                  <a:gdLst>
                    <a:gd name="T0" fmla="*/ 0 w 156"/>
                    <a:gd name="T1" fmla="*/ 0 h 156"/>
                    <a:gd name="T2" fmla="*/ 0 w 156"/>
                    <a:gd name="T3" fmla="*/ 0 h 156"/>
                    <a:gd name="T4" fmla="*/ 0 w 156"/>
                    <a:gd name="T5" fmla="*/ 2147483646 h 156"/>
                    <a:gd name="T6" fmla="*/ 0 w 156"/>
                    <a:gd name="T7" fmla="*/ 2147483646 h 156"/>
                    <a:gd name="T8" fmla="*/ 2147483646 w 156"/>
                    <a:gd name="T9" fmla="*/ 2147483646 h 156"/>
                    <a:gd name="T10" fmla="*/ 2147483646 w 156"/>
                    <a:gd name="T11" fmla="*/ 2147483646 h 156"/>
                    <a:gd name="T12" fmla="*/ 0 w 156"/>
                    <a:gd name="T13" fmla="*/ 0 h 156"/>
                    <a:gd name="T14" fmla="*/ 0 w 156"/>
                    <a:gd name="T15" fmla="*/ 0 h 156"/>
                    <a:gd name="T16" fmla="*/ 0 60000 65536"/>
                    <a:gd name="T17" fmla="*/ 0 60000 65536"/>
                    <a:gd name="T18" fmla="*/ 0 60000 65536"/>
                    <a:gd name="T19" fmla="*/ 0 60000 65536"/>
                    <a:gd name="T20" fmla="*/ 0 60000 65536"/>
                    <a:gd name="T21" fmla="*/ 0 60000 65536"/>
                    <a:gd name="T22" fmla="*/ 0 60000 65536"/>
                    <a:gd name="T23" fmla="*/ 0 60000 65536"/>
                    <a:gd name="T24" fmla="*/ 0 w 156"/>
                    <a:gd name="T25" fmla="*/ 0 h 156"/>
                    <a:gd name="T26" fmla="*/ 156 w 156"/>
                    <a:gd name="T27" fmla="*/ 156 h 1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6" h="156">
                      <a:moveTo>
                        <a:pt x="0" y="0"/>
                      </a:moveTo>
                      <a:lnTo>
                        <a:pt x="0" y="0"/>
                      </a:lnTo>
                      <a:lnTo>
                        <a:pt x="0" y="156"/>
                      </a:lnTo>
                      <a:lnTo>
                        <a:pt x="156" y="156"/>
                      </a:ln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11" name="Freeform 805">
                  <a:extLst>
                    <a:ext uri="{FF2B5EF4-FFF2-40B4-BE49-F238E27FC236}">
                      <a16:creationId xmlns:a16="http://schemas.microsoft.com/office/drawing/2014/main" id="{E63F5EED-E384-44F6-8FF2-2298B919DFAC}"/>
                    </a:ext>
                  </a:extLst>
                </p:cNvPr>
                <p:cNvSpPr>
                  <a:spLocks/>
                </p:cNvSpPr>
                <p:nvPr/>
              </p:nvSpPr>
              <p:spPr bwMode="auto">
                <a:xfrm>
                  <a:off x="5602288" y="4257675"/>
                  <a:ext cx="247650" cy="247650"/>
                </a:xfrm>
                <a:custGeom>
                  <a:avLst/>
                  <a:gdLst>
                    <a:gd name="T0" fmla="*/ 0 w 156"/>
                    <a:gd name="T1" fmla="*/ 0 h 156"/>
                    <a:gd name="T2" fmla="*/ 0 w 156"/>
                    <a:gd name="T3" fmla="*/ 0 h 156"/>
                    <a:gd name="T4" fmla="*/ 0 w 156"/>
                    <a:gd name="T5" fmla="*/ 2147483646 h 156"/>
                    <a:gd name="T6" fmla="*/ 0 w 156"/>
                    <a:gd name="T7" fmla="*/ 2147483646 h 156"/>
                    <a:gd name="T8" fmla="*/ 2147483646 w 156"/>
                    <a:gd name="T9" fmla="*/ 2147483646 h 156"/>
                    <a:gd name="T10" fmla="*/ 2147483646 w 156"/>
                    <a:gd name="T11" fmla="*/ 2147483646 h 156"/>
                    <a:gd name="T12" fmla="*/ 0 w 156"/>
                    <a:gd name="T13" fmla="*/ 0 h 156"/>
                    <a:gd name="T14" fmla="*/ 0 w 156"/>
                    <a:gd name="T15" fmla="*/ 0 h 156"/>
                    <a:gd name="T16" fmla="*/ 0 60000 65536"/>
                    <a:gd name="T17" fmla="*/ 0 60000 65536"/>
                    <a:gd name="T18" fmla="*/ 0 60000 65536"/>
                    <a:gd name="T19" fmla="*/ 0 60000 65536"/>
                    <a:gd name="T20" fmla="*/ 0 60000 65536"/>
                    <a:gd name="T21" fmla="*/ 0 60000 65536"/>
                    <a:gd name="T22" fmla="*/ 0 60000 65536"/>
                    <a:gd name="T23" fmla="*/ 0 60000 65536"/>
                    <a:gd name="T24" fmla="*/ 0 w 156"/>
                    <a:gd name="T25" fmla="*/ 0 h 156"/>
                    <a:gd name="T26" fmla="*/ 156 w 156"/>
                    <a:gd name="T27" fmla="*/ 156 h 1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6" h="156">
                      <a:moveTo>
                        <a:pt x="0" y="0"/>
                      </a:moveTo>
                      <a:lnTo>
                        <a:pt x="0" y="0"/>
                      </a:lnTo>
                      <a:lnTo>
                        <a:pt x="0" y="156"/>
                      </a:lnTo>
                      <a:lnTo>
                        <a:pt x="156" y="156"/>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12" name="Freeform 806">
                  <a:extLst>
                    <a:ext uri="{FF2B5EF4-FFF2-40B4-BE49-F238E27FC236}">
                      <a16:creationId xmlns:a16="http://schemas.microsoft.com/office/drawing/2014/main" id="{CC4609F2-36CA-4A9E-84E5-BFD76075A84B}"/>
                    </a:ext>
                  </a:extLst>
                </p:cNvPr>
                <p:cNvSpPr>
                  <a:spLocks/>
                </p:cNvSpPr>
                <p:nvPr/>
              </p:nvSpPr>
              <p:spPr bwMode="auto">
                <a:xfrm>
                  <a:off x="4757738" y="4229100"/>
                  <a:ext cx="1120775" cy="933450"/>
                </a:xfrm>
                <a:custGeom>
                  <a:avLst/>
                  <a:gdLst>
                    <a:gd name="T0" fmla="*/ 2147483646 w 706"/>
                    <a:gd name="T1" fmla="*/ 2147483646 h 588"/>
                    <a:gd name="T2" fmla="*/ 2147483646 w 706"/>
                    <a:gd name="T3" fmla="*/ 0 h 588"/>
                    <a:gd name="T4" fmla="*/ 2147483646 w 706"/>
                    <a:gd name="T5" fmla="*/ 0 h 588"/>
                    <a:gd name="T6" fmla="*/ 0 w 706"/>
                    <a:gd name="T7" fmla="*/ 0 h 588"/>
                    <a:gd name="T8" fmla="*/ 0 w 706"/>
                    <a:gd name="T9" fmla="*/ 0 h 588"/>
                    <a:gd name="T10" fmla="*/ 0 w 706"/>
                    <a:gd name="T11" fmla="*/ 2147483646 h 588"/>
                    <a:gd name="T12" fmla="*/ 2147483646 w 706"/>
                    <a:gd name="T13" fmla="*/ 2147483646 h 588"/>
                    <a:gd name="T14" fmla="*/ 2147483646 w 706"/>
                    <a:gd name="T15" fmla="*/ 2147483646 h 588"/>
                    <a:gd name="T16" fmla="*/ 2147483646 w 706"/>
                    <a:gd name="T17" fmla="*/ 2147483646 h 588"/>
                    <a:gd name="T18" fmla="*/ 2147483646 w 706"/>
                    <a:gd name="T19" fmla="*/ 2147483646 h 588"/>
                    <a:gd name="T20" fmla="*/ 2147483646 w 706"/>
                    <a:gd name="T21" fmla="*/ 2147483646 h 588"/>
                    <a:gd name="T22" fmla="*/ 2147483646 w 706"/>
                    <a:gd name="T23" fmla="*/ 2147483646 h 588"/>
                    <a:gd name="T24" fmla="*/ 2147483646 w 706"/>
                    <a:gd name="T25" fmla="*/ 2147483646 h 588"/>
                    <a:gd name="T26" fmla="*/ 2147483646 w 706"/>
                    <a:gd name="T27" fmla="*/ 2147483646 h 588"/>
                    <a:gd name="T28" fmla="*/ 2147483646 w 706"/>
                    <a:gd name="T29" fmla="*/ 2147483646 h 588"/>
                    <a:gd name="T30" fmla="*/ 2147483646 w 706"/>
                    <a:gd name="T31" fmla="*/ 2147483646 h 588"/>
                    <a:gd name="T32" fmla="*/ 2147483646 w 706"/>
                    <a:gd name="T33" fmla="*/ 2147483646 h 588"/>
                    <a:gd name="T34" fmla="*/ 2147483646 w 706"/>
                    <a:gd name="T35" fmla="*/ 2147483646 h 5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06"/>
                    <a:gd name="T55" fmla="*/ 0 h 588"/>
                    <a:gd name="T56" fmla="*/ 706 w 706"/>
                    <a:gd name="T57" fmla="*/ 588 h 58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06" h="588">
                      <a:moveTo>
                        <a:pt x="526" y="180"/>
                      </a:moveTo>
                      <a:lnTo>
                        <a:pt x="526" y="0"/>
                      </a:lnTo>
                      <a:lnTo>
                        <a:pt x="0" y="0"/>
                      </a:lnTo>
                      <a:lnTo>
                        <a:pt x="0" y="438"/>
                      </a:lnTo>
                      <a:lnTo>
                        <a:pt x="170" y="588"/>
                      </a:lnTo>
                      <a:lnTo>
                        <a:pt x="202" y="556"/>
                      </a:lnTo>
                      <a:lnTo>
                        <a:pt x="208" y="554"/>
                      </a:lnTo>
                      <a:lnTo>
                        <a:pt x="496" y="554"/>
                      </a:lnTo>
                      <a:lnTo>
                        <a:pt x="502" y="556"/>
                      </a:lnTo>
                      <a:lnTo>
                        <a:pt x="534" y="588"/>
                      </a:lnTo>
                      <a:lnTo>
                        <a:pt x="706" y="438"/>
                      </a:lnTo>
                      <a:lnTo>
                        <a:pt x="706" y="180"/>
                      </a:lnTo>
                      <a:lnTo>
                        <a:pt x="526" y="1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13" name="Freeform 807">
                  <a:extLst>
                    <a:ext uri="{FF2B5EF4-FFF2-40B4-BE49-F238E27FC236}">
                      <a16:creationId xmlns:a16="http://schemas.microsoft.com/office/drawing/2014/main" id="{562DFA56-890E-4564-B935-E42AB119360D}"/>
                    </a:ext>
                  </a:extLst>
                </p:cNvPr>
                <p:cNvSpPr>
                  <a:spLocks/>
                </p:cNvSpPr>
                <p:nvPr/>
              </p:nvSpPr>
              <p:spPr bwMode="auto">
                <a:xfrm>
                  <a:off x="5900738" y="4664075"/>
                  <a:ext cx="12700" cy="120650"/>
                </a:xfrm>
                <a:custGeom>
                  <a:avLst/>
                  <a:gdLst>
                    <a:gd name="T0" fmla="*/ 2147483646 w 8"/>
                    <a:gd name="T1" fmla="*/ 2147483646 h 76"/>
                    <a:gd name="T2" fmla="*/ 2147483646 w 8"/>
                    <a:gd name="T3" fmla="*/ 2147483646 h 76"/>
                    <a:gd name="T4" fmla="*/ 0 w 8"/>
                    <a:gd name="T5" fmla="*/ 0 h 76"/>
                    <a:gd name="T6" fmla="*/ 0 w 8"/>
                    <a:gd name="T7" fmla="*/ 2147483646 h 76"/>
                    <a:gd name="T8" fmla="*/ 2147483646 w 8"/>
                    <a:gd name="T9" fmla="*/ 2147483646 h 76"/>
                    <a:gd name="T10" fmla="*/ 2147483646 w 8"/>
                    <a:gd name="T11" fmla="*/ 2147483646 h 76"/>
                    <a:gd name="T12" fmla="*/ 0 60000 65536"/>
                    <a:gd name="T13" fmla="*/ 0 60000 65536"/>
                    <a:gd name="T14" fmla="*/ 0 60000 65536"/>
                    <a:gd name="T15" fmla="*/ 0 60000 65536"/>
                    <a:gd name="T16" fmla="*/ 0 60000 65536"/>
                    <a:gd name="T17" fmla="*/ 0 60000 65536"/>
                    <a:gd name="T18" fmla="*/ 0 w 8"/>
                    <a:gd name="T19" fmla="*/ 0 h 76"/>
                    <a:gd name="T20" fmla="*/ 8 w 8"/>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8" h="76">
                      <a:moveTo>
                        <a:pt x="8" y="8"/>
                      </a:moveTo>
                      <a:lnTo>
                        <a:pt x="8" y="8"/>
                      </a:lnTo>
                      <a:lnTo>
                        <a:pt x="0" y="0"/>
                      </a:lnTo>
                      <a:lnTo>
                        <a:pt x="0" y="76"/>
                      </a:lnTo>
                      <a:lnTo>
                        <a:pt x="8" y="76"/>
                      </a:lnTo>
                      <a:lnTo>
                        <a:pt x="8" y="8"/>
                      </a:lnTo>
                      <a:close/>
                    </a:path>
                  </a:pathLst>
                </a:custGeom>
                <a:solidFill>
                  <a:srgbClr val="FEBD2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14" name="Freeform 808">
                  <a:extLst>
                    <a:ext uri="{FF2B5EF4-FFF2-40B4-BE49-F238E27FC236}">
                      <a16:creationId xmlns:a16="http://schemas.microsoft.com/office/drawing/2014/main" id="{156A40AE-D8D6-4AD3-8E1C-021EA2531E29}"/>
                    </a:ext>
                  </a:extLst>
                </p:cNvPr>
                <p:cNvSpPr>
                  <a:spLocks/>
                </p:cNvSpPr>
                <p:nvPr/>
              </p:nvSpPr>
              <p:spPr bwMode="auto">
                <a:xfrm>
                  <a:off x="5913438" y="4676775"/>
                  <a:ext cx="120650" cy="107950"/>
                </a:xfrm>
                <a:custGeom>
                  <a:avLst/>
                  <a:gdLst>
                    <a:gd name="T0" fmla="*/ 2147483646 w 76"/>
                    <a:gd name="T1" fmla="*/ 2147483646 h 68"/>
                    <a:gd name="T2" fmla="*/ 2147483646 w 76"/>
                    <a:gd name="T3" fmla="*/ 2147483646 h 68"/>
                    <a:gd name="T4" fmla="*/ 0 w 76"/>
                    <a:gd name="T5" fmla="*/ 0 h 68"/>
                    <a:gd name="T6" fmla="*/ 0 w 76"/>
                    <a:gd name="T7" fmla="*/ 2147483646 h 68"/>
                    <a:gd name="T8" fmla="*/ 2147483646 w 76"/>
                    <a:gd name="T9" fmla="*/ 2147483646 h 68"/>
                    <a:gd name="T10" fmla="*/ 0 60000 65536"/>
                    <a:gd name="T11" fmla="*/ 0 60000 65536"/>
                    <a:gd name="T12" fmla="*/ 0 60000 65536"/>
                    <a:gd name="T13" fmla="*/ 0 60000 65536"/>
                    <a:gd name="T14" fmla="*/ 0 60000 65536"/>
                    <a:gd name="T15" fmla="*/ 0 w 76"/>
                    <a:gd name="T16" fmla="*/ 0 h 68"/>
                    <a:gd name="T17" fmla="*/ 76 w 76"/>
                    <a:gd name="T18" fmla="*/ 68 h 68"/>
                  </a:gdLst>
                  <a:ahLst/>
                  <a:cxnLst>
                    <a:cxn ang="T10">
                      <a:pos x="T0" y="T1"/>
                    </a:cxn>
                    <a:cxn ang="T11">
                      <a:pos x="T2" y="T3"/>
                    </a:cxn>
                    <a:cxn ang="T12">
                      <a:pos x="T4" y="T5"/>
                    </a:cxn>
                    <a:cxn ang="T13">
                      <a:pos x="T6" y="T7"/>
                    </a:cxn>
                    <a:cxn ang="T14">
                      <a:pos x="T8" y="T9"/>
                    </a:cxn>
                  </a:cxnLst>
                  <a:rect l="T15" t="T16" r="T17" b="T18"/>
                  <a:pathLst>
                    <a:path w="76" h="68">
                      <a:moveTo>
                        <a:pt x="76" y="68"/>
                      </a:moveTo>
                      <a:lnTo>
                        <a:pt x="76" y="68"/>
                      </a:lnTo>
                      <a:lnTo>
                        <a:pt x="0" y="0"/>
                      </a:lnTo>
                      <a:lnTo>
                        <a:pt x="0" y="68"/>
                      </a:lnTo>
                      <a:lnTo>
                        <a:pt x="76" y="68"/>
                      </a:lnTo>
                      <a:close/>
                    </a:path>
                  </a:pathLst>
                </a:custGeom>
                <a:solidFill>
                  <a:srgbClr val="FEE3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15" name="Freeform 809">
                  <a:extLst>
                    <a:ext uri="{FF2B5EF4-FFF2-40B4-BE49-F238E27FC236}">
                      <a16:creationId xmlns:a16="http://schemas.microsoft.com/office/drawing/2014/main" id="{F84BB737-67F8-4D78-81A5-414AFDB5B45C}"/>
                    </a:ext>
                  </a:extLst>
                </p:cNvPr>
                <p:cNvSpPr>
                  <a:spLocks/>
                </p:cNvSpPr>
                <p:nvPr/>
              </p:nvSpPr>
              <p:spPr bwMode="auto">
                <a:xfrm>
                  <a:off x="5900738" y="4797425"/>
                  <a:ext cx="133350" cy="120650"/>
                </a:xfrm>
                <a:custGeom>
                  <a:avLst/>
                  <a:gdLst>
                    <a:gd name="T0" fmla="*/ 2147483646 w 84"/>
                    <a:gd name="T1" fmla="*/ 0 h 76"/>
                    <a:gd name="T2" fmla="*/ 0 w 84"/>
                    <a:gd name="T3" fmla="*/ 0 h 76"/>
                    <a:gd name="T4" fmla="*/ 0 w 84"/>
                    <a:gd name="T5" fmla="*/ 2147483646 h 76"/>
                    <a:gd name="T6" fmla="*/ 2147483646 w 84"/>
                    <a:gd name="T7" fmla="*/ 2147483646 h 76"/>
                    <a:gd name="T8" fmla="*/ 2147483646 w 84"/>
                    <a:gd name="T9" fmla="*/ 0 h 76"/>
                    <a:gd name="T10" fmla="*/ 2147483646 w 84"/>
                    <a:gd name="T11" fmla="*/ 0 h 76"/>
                    <a:gd name="T12" fmla="*/ 0 60000 65536"/>
                    <a:gd name="T13" fmla="*/ 0 60000 65536"/>
                    <a:gd name="T14" fmla="*/ 0 60000 65536"/>
                    <a:gd name="T15" fmla="*/ 0 60000 65536"/>
                    <a:gd name="T16" fmla="*/ 0 60000 65536"/>
                    <a:gd name="T17" fmla="*/ 0 60000 65536"/>
                    <a:gd name="T18" fmla="*/ 0 w 84"/>
                    <a:gd name="T19" fmla="*/ 0 h 76"/>
                    <a:gd name="T20" fmla="*/ 84 w 84"/>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84" h="76">
                      <a:moveTo>
                        <a:pt x="8" y="0"/>
                      </a:moveTo>
                      <a:lnTo>
                        <a:pt x="0" y="0"/>
                      </a:lnTo>
                      <a:lnTo>
                        <a:pt x="0" y="76"/>
                      </a:lnTo>
                      <a:lnTo>
                        <a:pt x="8" y="68"/>
                      </a:lnTo>
                      <a:lnTo>
                        <a:pt x="84" y="0"/>
                      </a:lnTo>
                      <a:lnTo>
                        <a:pt x="8" y="0"/>
                      </a:lnTo>
                      <a:close/>
                    </a:path>
                  </a:pathLst>
                </a:custGeom>
                <a:solidFill>
                  <a:srgbClr val="FEBD2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16" name="Freeform 810">
                  <a:extLst>
                    <a:ext uri="{FF2B5EF4-FFF2-40B4-BE49-F238E27FC236}">
                      <a16:creationId xmlns:a16="http://schemas.microsoft.com/office/drawing/2014/main" id="{1BD283F5-1FB2-4869-9F7B-40B1D9BC4730}"/>
                    </a:ext>
                  </a:extLst>
                </p:cNvPr>
                <p:cNvSpPr>
                  <a:spLocks/>
                </p:cNvSpPr>
                <p:nvPr/>
              </p:nvSpPr>
              <p:spPr bwMode="auto">
                <a:xfrm>
                  <a:off x="5913438" y="4797425"/>
                  <a:ext cx="120650" cy="95250"/>
                </a:xfrm>
                <a:custGeom>
                  <a:avLst/>
                  <a:gdLst>
                    <a:gd name="T0" fmla="*/ 0 w 76"/>
                    <a:gd name="T1" fmla="*/ 0 h 60"/>
                    <a:gd name="T2" fmla="*/ 0 w 76"/>
                    <a:gd name="T3" fmla="*/ 2147483646 h 60"/>
                    <a:gd name="T4" fmla="*/ 2147483646 w 76"/>
                    <a:gd name="T5" fmla="*/ 0 h 60"/>
                    <a:gd name="T6" fmla="*/ 0 w 76"/>
                    <a:gd name="T7" fmla="*/ 0 h 60"/>
                    <a:gd name="T8" fmla="*/ 0 60000 65536"/>
                    <a:gd name="T9" fmla="*/ 0 60000 65536"/>
                    <a:gd name="T10" fmla="*/ 0 60000 65536"/>
                    <a:gd name="T11" fmla="*/ 0 60000 65536"/>
                    <a:gd name="T12" fmla="*/ 0 w 76"/>
                    <a:gd name="T13" fmla="*/ 0 h 60"/>
                    <a:gd name="T14" fmla="*/ 76 w 76"/>
                    <a:gd name="T15" fmla="*/ 60 h 60"/>
                  </a:gdLst>
                  <a:ahLst/>
                  <a:cxnLst>
                    <a:cxn ang="T8">
                      <a:pos x="T0" y="T1"/>
                    </a:cxn>
                    <a:cxn ang="T9">
                      <a:pos x="T2" y="T3"/>
                    </a:cxn>
                    <a:cxn ang="T10">
                      <a:pos x="T4" y="T5"/>
                    </a:cxn>
                    <a:cxn ang="T11">
                      <a:pos x="T6" y="T7"/>
                    </a:cxn>
                  </a:cxnLst>
                  <a:rect l="T12" t="T13" r="T14" b="T15"/>
                  <a:pathLst>
                    <a:path w="76" h="60">
                      <a:moveTo>
                        <a:pt x="0" y="0"/>
                      </a:moveTo>
                      <a:lnTo>
                        <a:pt x="0" y="60"/>
                      </a:lnTo>
                      <a:lnTo>
                        <a:pt x="76" y="0"/>
                      </a:lnTo>
                      <a:lnTo>
                        <a:pt x="0" y="0"/>
                      </a:lnTo>
                      <a:close/>
                    </a:path>
                  </a:pathLst>
                </a:custGeom>
                <a:solidFill>
                  <a:srgbClr val="FEBD2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17" name="Freeform 811">
                  <a:extLst>
                    <a:ext uri="{FF2B5EF4-FFF2-40B4-BE49-F238E27FC236}">
                      <a16:creationId xmlns:a16="http://schemas.microsoft.com/office/drawing/2014/main" id="{65873571-3060-4B79-89F1-71180799898E}"/>
                    </a:ext>
                  </a:extLst>
                </p:cNvPr>
                <p:cNvSpPr>
                  <a:spLocks/>
                </p:cNvSpPr>
                <p:nvPr/>
              </p:nvSpPr>
              <p:spPr bwMode="auto">
                <a:xfrm>
                  <a:off x="4598988" y="5597525"/>
                  <a:ext cx="1435100" cy="38100"/>
                </a:xfrm>
                <a:custGeom>
                  <a:avLst/>
                  <a:gdLst>
                    <a:gd name="T0" fmla="*/ 2147483646 w 904"/>
                    <a:gd name="T1" fmla="*/ 0 h 24"/>
                    <a:gd name="T2" fmla="*/ 2147483646 w 904"/>
                    <a:gd name="T3" fmla="*/ 0 h 24"/>
                    <a:gd name="T4" fmla="*/ 0 w 904"/>
                    <a:gd name="T5" fmla="*/ 2147483646 h 24"/>
                    <a:gd name="T6" fmla="*/ 2147483646 w 904"/>
                    <a:gd name="T7" fmla="*/ 2147483646 h 24"/>
                    <a:gd name="T8" fmla="*/ 2147483646 w 904"/>
                    <a:gd name="T9" fmla="*/ 2147483646 h 24"/>
                    <a:gd name="T10" fmla="*/ 2147483646 w 904"/>
                    <a:gd name="T11" fmla="*/ 0 h 24"/>
                    <a:gd name="T12" fmla="*/ 2147483646 w 904"/>
                    <a:gd name="T13" fmla="*/ 0 h 24"/>
                    <a:gd name="T14" fmla="*/ 0 60000 65536"/>
                    <a:gd name="T15" fmla="*/ 0 60000 65536"/>
                    <a:gd name="T16" fmla="*/ 0 60000 65536"/>
                    <a:gd name="T17" fmla="*/ 0 60000 65536"/>
                    <a:gd name="T18" fmla="*/ 0 60000 65536"/>
                    <a:gd name="T19" fmla="*/ 0 60000 65536"/>
                    <a:gd name="T20" fmla="*/ 0 60000 65536"/>
                    <a:gd name="T21" fmla="*/ 0 w 904"/>
                    <a:gd name="T22" fmla="*/ 0 h 24"/>
                    <a:gd name="T23" fmla="*/ 904 w 90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04" h="24">
                      <a:moveTo>
                        <a:pt x="24" y="0"/>
                      </a:moveTo>
                      <a:lnTo>
                        <a:pt x="24" y="0"/>
                      </a:lnTo>
                      <a:lnTo>
                        <a:pt x="0" y="24"/>
                      </a:lnTo>
                      <a:lnTo>
                        <a:pt x="904" y="24"/>
                      </a:lnTo>
                      <a:lnTo>
                        <a:pt x="880" y="0"/>
                      </a:lnTo>
                      <a:lnTo>
                        <a:pt x="24"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18" name="Freeform 812">
                  <a:extLst>
                    <a:ext uri="{FF2B5EF4-FFF2-40B4-BE49-F238E27FC236}">
                      <a16:creationId xmlns:a16="http://schemas.microsoft.com/office/drawing/2014/main" id="{A7044C41-2916-46B3-9F94-221FCA206A7D}"/>
                    </a:ext>
                  </a:extLst>
                </p:cNvPr>
                <p:cNvSpPr>
                  <a:spLocks/>
                </p:cNvSpPr>
                <p:nvPr/>
              </p:nvSpPr>
              <p:spPr bwMode="auto">
                <a:xfrm>
                  <a:off x="4637088" y="5143500"/>
                  <a:ext cx="1358900" cy="454025"/>
                </a:xfrm>
                <a:custGeom>
                  <a:avLst/>
                  <a:gdLst>
                    <a:gd name="T0" fmla="*/ 2147483646 w 856"/>
                    <a:gd name="T1" fmla="*/ 0 h 286"/>
                    <a:gd name="T2" fmla="*/ 2147483646 w 856"/>
                    <a:gd name="T3" fmla="*/ 0 h 286"/>
                    <a:gd name="T4" fmla="*/ 2147483646 w 856"/>
                    <a:gd name="T5" fmla="*/ 0 h 286"/>
                    <a:gd name="T6" fmla="*/ 2147483646 w 856"/>
                    <a:gd name="T7" fmla="*/ 0 h 286"/>
                    <a:gd name="T8" fmla="*/ 0 w 856"/>
                    <a:gd name="T9" fmla="*/ 2147483646 h 286"/>
                    <a:gd name="T10" fmla="*/ 2147483646 w 856"/>
                    <a:gd name="T11" fmla="*/ 2147483646 h 286"/>
                    <a:gd name="T12" fmla="*/ 2147483646 w 856"/>
                    <a:gd name="T13" fmla="*/ 2147483646 h 286"/>
                    <a:gd name="T14" fmla="*/ 2147483646 w 856"/>
                    <a:gd name="T15" fmla="*/ 0 h 286"/>
                    <a:gd name="T16" fmla="*/ 2147483646 w 856"/>
                    <a:gd name="T17" fmla="*/ 0 h 2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56"/>
                    <a:gd name="T28" fmla="*/ 0 h 286"/>
                    <a:gd name="T29" fmla="*/ 856 w 856"/>
                    <a:gd name="T30" fmla="*/ 286 h 2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56" h="286">
                      <a:moveTo>
                        <a:pt x="570" y="0"/>
                      </a:moveTo>
                      <a:lnTo>
                        <a:pt x="570" y="0"/>
                      </a:lnTo>
                      <a:lnTo>
                        <a:pt x="286" y="0"/>
                      </a:lnTo>
                      <a:lnTo>
                        <a:pt x="0" y="286"/>
                      </a:lnTo>
                      <a:lnTo>
                        <a:pt x="856" y="286"/>
                      </a:lnTo>
                      <a:lnTo>
                        <a:pt x="570" y="0"/>
                      </a:ln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19" name="Freeform 813">
                  <a:extLst>
                    <a:ext uri="{FF2B5EF4-FFF2-40B4-BE49-F238E27FC236}">
                      <a16:creationId xmlns:a16="http://schemas.microsoft.com/office/drawing/2014/main" id="{AA9FF77E-5228-4FCD-AF1C-F27CEB3E0FB8}"/>
                    </a:ext>
                  </a:extLst>
                </p:cNvPr>
                <p:cNvSpPr>
                  <a:spLocks/>
                </p:cNvSpPr>
                <p:nvPr/>
              </p:nvSpPr>
              <p:spPr bwMode="auto">
                <a:xfrm>
                  <a:off x="5618163" y="5184775"/>
                  <a:ext cx="431800" cy="438150"/>
                </a:xfrm>
                <a:custGeom>
                  <a:avLst/>
                  <a:gdLst>
                    <a:gd name="T0" fmla="*/ 0 w 272"/>
                    <a:gd name="T1" fmla="*/ 2147483646 h 276"/>
                    <a:gd name="T2" fmla="*/ 2147483646 w 272"/>
                    <a:gd name="T3" fmla="*/ 2147483646 h 276"/>
                    <a:gd name="T4" fmla="*/ 2147483646 w 272"/>
                    <a:gd name="T5" fmla="*/ 2147483646 h 276"/>
                    <a:gd name="T6" fmla="*/ 2147483646 w 272"/>
                    <a:gd name="T7" fmla="*/ 2147483646 h 276"/>
                    <a:gd name="T8" fmla="*/ 2147483646 w 272"/>
                    <a:gd name="T9" fmla="*/ 0 h 276"/>
                    <a:gd name="T10" fmla="*/ 0 w 272"/>
                    <a:gd name="T11" fmla="*/ 2147483646 h 276"/>
                    <a:gd name="T12" fmla="*/ 0 60000 65536"/>
                    <a:gd name="T13" fmla="*/ 0 60000 65536"/>
                    <a:gd name="T14" fmla="*/ 0 60000 65536"/>
                    <a:gd name="T15" fmla="*/ 0 60000 65536"/>
                    <a:gd name="T16" fmla="*/ 0 60000 65536"/>
                    <a:gd name="T17" fmla="*/ 0 60000 65536"/>
                    <a:gd name="T18" fmla="*/ 0 w 272"/>
                    <a:gd name="T19" fmla="*/ 0 h 276"/>
                    <a:gd name="T20" fmla="*/ 272 w 272"/>
                    <a:gd name="T21" fmla="*/ 276 h 276"/>
                  </a:gdLst>
                  <a:ahLst/>
                  <a:cxnLst>
                    <a:cxn ang="T12">
                      <a:pos x="T0" y="T1"/>
                    </a:cxn>
                    <a:cxn ang="T13">
                      <a:pos x="T2" y="T3"/>
                    </a:cxn>
                    <a:cxn ang="T14">
                      <a:pos x="T4" y="T5"/>
                    </a:cxn>
                    <a:cxn ang="T15">
                      <a:pos x="T6" y="T7"/>
                    </a:cxn>
                    <a:cxn ang="T16">
                      <a:pos x="T8" y="T9"/>
                    </a:cxn>
                    <a:cxn ang="T17">
                      <a:pos x="T10" y="T11"/>
                    </a:cxn>
                  </a:cxnLst>
                  <a:rect l="T18" t="T19" r="T20" b="T21"/>
                  <a:pathLst>
                    <a:path w="272" h="276">
                      <a:moveTo>
                        <a:pt x="0" y="4"/>
                      </a:moveTo>
                      <a:lnTo>
                        <a:pt x="272" y="276"/>
                      </a:lnTo>
                      <a:lnTo>
                        <a:pt x="272" y="266"/>
                      </a:lnTo>
                      <a:lnTo>
                        <a:pt x="6" y="0"/>
                      </a:lnTo>
                      <a:lnTo>
                        <a:pt x="0" y="4"/>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20" name="Freeform 814">
                  <a:extLst>
                    <a:ext uri="{FF2B5EF4-FFF2-40B4-BE49-F238E27FC236}">
                      <a16:creationId xmlns:a16="http://schemas.microsoft.com/office/drawing/2014/main" id="{E2E5E69C-AD7C-46BD-8014-C674CA51C326}"/>
                    </a:ext>
                  </a:extLst>
                </p:cNvPr>
                <p:cNvSpPr>
                  <a:spLocks/>
                </p:cNvSpPr>
                <p:nvPr/>
              </p:nvSpPr>
              <p:spPr bwMode="auto">
                <a:xfrm>
                  <a:off x="6024563" y="4816475"/>
                  <a:ext cx="25400" cy="790575"/>
                </a:xfrm>
                <a:custGeom>
                  <a:avLst/>
                  <a:gdLst>
                    <a:gd name="T0" fmla="*/ 2147483646 w 16"/>
                    <a:gd name="T1" fmla="*/ 0 h 498"/>
                    <a:gd name="T2" fmla="*/ 0 w 16"/>
                    <a:gd name="T3" fmla="*/ 2147483646 h 498"/>
                    <a:gd name="T4" fmla="*/ 0 w 16"/>
                    <a:gd name="T5" fmla="*/ 2147483646 h 498"/>
                    <a:gd name="T6" fmla="*/ 0 w 16"/>
                    <a:gd name="T7" fmla="*/ 2147483646 h 498"/>
                    <a:gd name="T8" fmla="*/ 2147483646 w 16"/>
                    <a:gd name="T9" fmla="*/ 2147483646 h 498"/>
                    <a:gd name="T10" fmla="*/ 2147483646 w 16"/>
                    <a:gd name="T11" fmla="*/ 2147483646 h 498"/>
                    <a:gd name="T12" fmla="*/ 2147483646 w 16"/>
                    <a:gd name="T13" fmla="*/ 0 h 498"/>
                    <a:gd name="T14" fmla="*/ 2147483646 w 16"/>
                    <a:gd name="T15" fmla="*/ 0 h 498"/>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498"/>
                    <a:gd name="T26" fmla="*/ 16 w 16"/>
                    <a:gd name="T27" fmla="*/ 498 h 4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498">
                      <a:moveTo>
                        <a:pt x="16" y="0"/>
                      </a:moveTo>
                      <a:lnTo>
                        <a:pt x="0" y="14"/>
                      </a:lnTo>
                      <a:lnTo>
                        <a:pt x="0" y="482"/>
                      </a:lnTo>
                      <a:lnTo>
                        <a:pt x="16" y="498"/>
                      </a:lnTo>
                      <a:lnTo>
                        <a:pt x="1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21" name="Freeform 815">
                  <a:extLst>
                    <a:ext uri="{FF2B5EF4-FFF2-40B4-BE49-F238E27FC236}">
                      <a16:creationId xmlns:a16="http://schemas.microsoft.com/office/drawing/2014/main" id="{F8CF73D0-768D-4A22-8264-41B465320FD1}"/>
                    </a:ext>
                  </a:extLst>
                </p:cNvPr>
                <p:cNvSpPr>
                  <a:spLocks/>
                </p:cNvSpPr>
                <p:nvPr/>
              </p:nvSpPr>
              <p:spPr bwMode="auto">
                <a:xfrm>
                  <a:off x="5627688" y="4838700"/>
                  <a:ext cx="396875" cy="742950"/>
                </a:xfrm>
                <a:custGeom>
                  <a:avLst/>
                  <a:gdLst>
                    <a:gd name="T0" fmla="*/ 0 w 250"/>
                    <a:gd name="T1" fmla="*/ 2147483646 h 468"/>
                    <a:gd name="T2" fmla="*/ 2147483646 w 250"/>
                    <a:gd name="T3" fmla="*/ 2147483646 h 468"/>
                    <a:gd name="T4" fmla="*/ 2147483646 w 250"/>
                    <a:gd name="T5" fmla="*/ 2147483646 h 468"/>
                    <a:gd name="T6" fmla="*/ 2147483646 w 250"/>
                    <a:gd name="T7" fmla="*/ 0 h 468"/>
                    <a:gd name="T8" fmla="*/ 0 w 250"/>
                    <a:gd name="T9" fmla="*/ 2147483646 h 468"/>
                    <a:gd name="T10" fmla="*/ 0 60000 65536"/>
                    <a:gd name="T11" fmla="*/ 0 60000 65536"/>
                    <a:gd name="T12" fmla="*/ 0 60000 65536"/>
                    <a:gd name="T13" fmla="*/ 0 60000 65536"/>
                    <a:gd name="T14" fmla="*/ 0 60000 65536"/>
                    <a:gd name="T15" fmla="*/ 0 w 250"/>
                    <a:gd name="T16" fmla="*/ 0 h 468"/>
                    <a:gd name="T17" fmla="*/ 250 w 250"/>
                    <a:gd name="T18" fmla="*/ 468 h 468"/>
                  </a:gdLst>
                  <a:ahLst/>
                  <a:cxnLst>
                    <a:cxn ang="T10">
                      <a:pos x="T0" y="T1"/>
                    </a:cxn>
                    <a:cxn ang="T11">
                      <a:pos x="T2" y="T3"/>
                    </a:cxn>
                    <a:cxn ang="T12">
                      <a:pos x="T4" y="T5"/>
                    </a:cxn>
                    <a:cxn ang="T13">
                      <a:pos x="T6" y="T7"/>
                    </a:cxn>
                    <a:cxn ang="T14">
                      <a:pos x="T8" y="T9"/>
                    </a:cxn>
                  </a:cxnLst>
                  <a:rect l="T15" t="T16" r="T17" b="T18"/>
                  <a:pathLst>
                    <a:path w="250" h="468">
                      <a:moveTo>
                        <a:pt x="0" y="218"/>
                      </a:moveTo>
                      <a:lnTo>
                        <a:pt x="250" y="468"/>
                      </a:lnTo>
                      <a:lnTo>
                        <a:pt x="250" y="0"/>
                      </a:lnTo>
                      <a:lnTo>
                        <a:pt x="0" y="218"/>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22" name="Freeform 816">
                  <a:extLst>
                    <a:ext uri="{FF2B5EF4-FFF2-40B4-BE49-F238E27FC236}">
                      <a16:creationId xmlns:a16="http://schemas.microsoft.com/office/drawing/2014/main" id="{79C26A97-3042-467B-97C9-09DD5500A178}"/>
                    </a:ext>
                  </a:extLst>
                </p:cNvPr>
                <p:cNvSpPr>
                  <a:spLocks/>
                </p:cNvSpPr>
                <p:nvPr/>
              </p:nvSpPr>
              <p:spPr bwMode="auto">
                <a:xfrm>
                  <a:off x="4586288" y="5184775"/>
                  <a:ext cx="428625" cy="438150"/>
                </a:xfrm>
                <a:custGeom>
                  <a:avLst/>
                  <a:gdLst>
                    <a:gd name="T0" fmla="*/ 2147483646 w 270"/>
                    <a:gd name="T1" fmla="*/ 2147483646 h 276"/>
                    <a:gd name="T2" fmla="*/ 2147483646 w 270"/>
                    <a:gd name="T3" fmla="*/ 0 h 276"/>
                    <a:gd name="T4" fmla="*/ 0 w 270"/>
                    <a:gd name="T5" fmla="*/ 2147483646 h 276"/>
                    <a:gd name="T6" fmla="*/ 0 w 270"/>
                    <a:gd name="T7" fmla="*/ 2147483646 h 276"/>
                    <a:gd name="T8" fmla="*/ 0 w 270"/>
                    <a:gd name="T9" fmla="*/ 2147483646 h 276"/>
                    <a:gd name="T10" fmla="*/ 2147483646 w 270"/>
                    <a:gd name="T11" fmla="*/ 2147483646 h 276"/>
                    <a:gd name="T12" fmla="*/ 0 60000 65536"/>
                    <a:gd name="T13" fmla="*/ 0 60000 65536"/>
                    <a:gd name="T14" fmla="*/ 0 60000 65536"/>
                    <a:gd name="T15" fmla="*/ 0 60000 65536"/>
                    <a:gd name="T16" fmla="*/ 0 60000 65536"/>
                    <a:gd name="T17" fmla="*/ 0 60000 65536"/>
                    <a:gd name="T18" fmla="*/ 0 w 270"/>
                    <a:gd name="T19" fmla="*/ 0 h 276"/>
                    <a:gd name="T20" fmla="*/ 270 w 270"/>
                    <a:gd name="T21" fmla="*/ 276 h 276"/>
                  </a:gdLst>
                  <a:ahLst/>
                  <a:cxnLst>
                    <a:cxn ang="T12">
                      <a:pos x="T0" y="T1"/>
                    </a:cxn>
                    <a:cxn ang="T13">
                      <a:pos x="T2" y="T3"/>
                    </a:cxn>
                    <a:cxn ang="T14">
                      <a:pos x="T4" y="T5"/>
                    </a:cxn>
                    <a:cxn ang="T15">
                      <a:pos x="T6" y="T7"/>
                    </a:cxn>
                    <a:cxn ang="T16">
                      <a:pos x="T8" y="T9"/>
                    </a:cxn>
                    <a:cxn ang="T17">
                      <a:pos x="T10" y="T11"/>
                    </a:cxn>
                  </a:cxnLst>
                  <a:rect l="T18" t="T19" r="T20" b="T21"/>
                  <a:pathLst>
                    <a:path w="270" h="276">
                      <a:moveTo>
                        <a:pt x="270" y="4"/>
                      </a:moveTo>
                      <a:lnTo>
                        <a:pt x="264" y="0"/>
                      </a:lnTo>
                      <a:lnTo>
                        <a:pt x="0" y="264"/>
                      </a:lnTo>
                      <a:lnTo>
                        <a:pt x="0" y="276"/>
                      </a:lnTo>
                      <a:lnTo>
                        <a:pt x="270" y="4"/>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23" name="Freeform 817">
                  <a:extLst>
                    <a:ext uri="{FF2B5EF4-FFF2-40B4-BE49-F238E27FC236}">
                      <a16:creationId xmlns:a16="http://schemas.microsoft.com/office/drawing/2014/main" id="{D43C47AC-E679-43FB-8775-96DB507A127D}"/>
                    </a:ext>
                  </a:extLst>
                </p:cNvPr>
                <p:cNvSpPr>
                  <a:spLocks/>
                </p:cNvSpPr>
                <p:nvPr/>
              </p:nvSpPr>
              <p:spPr bwMode="auto">
                <a:xfrm>
                  <a:off x="4586288" y="4816475"/>
                  <a:ext cx="25400" cy="787400"/>
                </a:xfrm>
                <a:custGeom>
                  <a:avLst/>
                  <a:gdLst>
                    <a:gd name="T0" fmla="*/ 0 w 16"/>
                    <a:gd name="T1" fmla="*/ 0 h 496"/>
                    <a:gd name="T2" fmla="*/ 0 w 16"/>
                    <a:gd name="T3" fmla="*/ 0 h 496"/>
                    <a:gd name="T4" fmla="*/ 0 w 16"/>
                    <a:gd name="T5" fmla="*/ 2147483646 h 496"/>
                    <a:gd name="T6" fmla="*/ 2147483646 w 16"/>
                    <a:gd name="T7" fmla="*/ 2147483646 h 496"/>
                    <a:gd name="T8" fmla="*/ 2147483646 w 16"/>
                    <a:gd name="T9" fmla="*/ 2147483646 h 496"/>
                    <a:gd name="T10" fmla="*/ 2147483646 w 16"/>
                    <a:gd name="T11" fmla="*/ 2147483646 h 496"/>
                    <a:gd name="T12" fmla="*/ 0 w 16"/>
                    <a:gd name="T13" fmla="*/ 0 h 496"/>
                    <a:gd name="T14" fmla="*/ 0 60000 65536"/>
                    <a:gd name="T15" fmla="*/ 0 60000 65536"/>
                    <a:gd name="T16" fmla="*/ 0 60000 65536"/>
                    <a:gd name="T17" fmla="*/ 0 60000 65536"/>
                    <a:gd name="T18" fmla="*/ 0 60000 65536"/>
                    <a:gd name="T19" fmla="*/ 0 60000 65536"/>
                    <a:gd name="T20" fmla="*/ 0 60000 65536"/>
                    <a:gd name="T21" fmla="*/ 0 w 16"/>
                    <a:gd name="T22" fmla="*/ 0 h 496"/>
                    <a:gd name="T23" fmla="*/ 16 w 16"/>
                    <a:gd name="T24" fmla="*/ 496 h 4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496">
                      <a:moveTo>
                        <a:pt x="0" y="0"/>
                      </a:moveTo>
                      <a:lnTo>
                        <a:pt x="0" y="0"/>
                      </a:lnTo>
                      <a:lnTo>
                        <a:pt x="0" y="496"/>
                      </a:lnTo>
                      <a:lnTo>
                        <a:pt x="16" y="480"/>
                      </a:lnTo>
                      <a:lnTo>
                        <a:pt x="16" y="14"/>
                      </a:lnTo>
                      <a:lnTo>
                        <a:pt x="0"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24" name="Freeform 818">
                  <a:extLst>
                    <a:ext uri="{FF2B5EF4-FFF2-40B4-BE49-F238E27FC236}">
                      <a16:creationId xmlns:a16="http://schemas.microsoft.com/office/drawing/2014/main" id="{3A2FF391-452D-4A31-BA70-727855494801}"/>
                    </a:ext>
                  </a:extLst>
                </p:cNvPr>
                <p:cNvSpPr>
                  <a:spLocks/>
                </p:cNvSpPr>
                <p:nvPr/>
              </p:nvSpPr>
              <p:spPr bwMode="auto">
                <a:xfrm>
                  <a:off x="4611688" y="4838700"/>
                  <a:ext cx="393700" cy="739775"/>
                </a:xfrm>
                <a:custGeom>
                  <a:avLst/>
                  <a:gdLst>
                    <a:gd name="T0" fmla="*/ 0 w 248"/>
                    <a:gd name="T1" fmla="*/ 0 h 466"/>
                    <a:gd name="T2" fmla="*/ 0 w 248"/>
                    <a:gd name="T3" fmla="*/ 0 h 466"/>
                    <a:gd name="T4" fmla="*/ 0 w 248"/>
                    <a:gd name="T5" fmla="*/ 2147483646 h 466"/>
                    <a:gd name="T6" fmla="*/ 2147483646 w 248"/>
                    <a:gd name="T7" fmla="*/ 2147483646 h 466"/>
                    <a:gd name="T8" fmla="*/ 0 w 248"/>
                    <a:gd name="T9" fmla="*/ 0 h 466"/>
                    <a:gd name="T10" fmla="*/ 0 60000 65536"/>
                    <a:gd name="T11" fmla="*/ 0 60000 65536"/>
                    <a:gd name="T12" fmla="*/ 0 60000 65536"/>
                    <a:gd name="T13" fmla="*/ 0 60000 65536"/>
                    <a:gd name="T14" fmla="*/ 0 60000 65536"/>
                    <a:gd name="T15" fmla="*/ 0 w 248"/>
                    <a:gd name="T16" fmla="*/ 0 h 466"/>
                    <a:gd name="T17" fmla="*/ 248 w 248"/>
                    <a:gd name="T18" fmla="*/ 466 h 466"/>
                  </a:gdLst>
                  <a:ahLst/>
                  <a:cxnLst>
                    <a:cxn ang="T10">
                      <a:pos x="T0" y="T1"/>
                    </a:cxn>
                    <a:cxn ang="T11">
                      <a:pos x="T2" y="T3"/>
                    </a:cxn>
                    <a:cxn ang="T12">
                      <a:pos x="T4" y="T5"/>
                    </a:cxn>
                    <a:cxn ang="T13">
                      <a:pos x="T6" y="T7"/>
                    </a:cxn>
                    <a:cxn ang="T14">
                      <a:pos x="T8" y="T9"/>
                    </a:cxn>
                  </a:cxnLst>
                  <a:rect l="T15" t="T16" r="T17" b="T18"/>
                  <a:pathLst>
                    <a:path w="248" h="466">
                      <a:moveTo>
                        <a:pt x="0" y="0"/>
                      </a:moveTo>
                      <a:lnTo>
                        <a:pt x="0" y="0"/>
                      </a:lnTo>
                      <a:lnTo>
                        <a:pt x="0" y="466"/>
                      </a:lnTo>
                      <a:lnTo>
                        <a:pt x="248" y="218"/>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25" name="Freeform 819">
                  <a:extLst>
                    <a:ext uri="{FF2B5EF4-FFF2-40B4-BE49-F238E27FC236}">
                      <a16:creationId xmlns:a16="http://schemas.microsoft.com/office/drawing/2014/main" id="{2092402F-8508-494B-A8BA-8664E2AA000E}"/>
                    </a:ext>
                  </a:extLst>
                </p:cNvPr>
                <p:cNvSpPr>
                  <a:spLocks/>
                </p:cNvSpPr>
                <p:nvPr/>
              </p:nvSpPr>
              <p:spPr bwMode="auto">
                <a:xfrm>
                  <a:off x="4722813" y="4664075"/>
                  <a:ext cx="12700" cy="120650"/>
                </a:xfrm>
                <a:custGeom>
                  <a:avLst/>
                  <a:gdLst>
                    <a:gd name="T0" fmla="*/ 0 w 8"/>
                    <a:gd name="T1" fmla="*/ 2147483646 h 76"/>
                    <a:gd name="T2" fmla="*/ 0 w 8"/>
                    <a:gd name="T3" fmla="*/ 2147483646 h 76"/>
                    <a:gd name="T4" fmla="*/ 2147483646 w 8"/>
                    <a:gd name="T5" fmla="*/ 2147483646 h 76"/>
                    <a:gd name="T6" fmla="*/ 2147483646 w 8"/>
                    <a:gd name="T7" fmla="*/ 0 h 76"/>
                    <a:gd name="T8" fmla="*/ 2147483646 w 8"/>
                    <a:gd name="T9" fmla="*/ 0 h 76"/>
                    <a:gd name="T10" fmla="*/ 0 w 8"/>
                    <a:gd name="T11" fmla="*/ 2147483646 h 76"/>
                    <a:gd name="T12" fmla="*/ 0 w 8"/>
                    <a:gd name="T13" fmla="*/ 2147483646 h 76"/>
                    <a:gd name="T14" fmla="*/ 0 60000 65536"/>
                    <a:gd name="T15" fmla="*/ 0 60000 65536"/>
                    <a:gd name="T16" fmla="*/ 0 60000 65536"/>
                    <a:gd name="T17" fmla="*/ 0 60000 65536"/>
                    <a:gd name="T18" fmla="*/ 0 60000 65536"/>
                    <a:gd name="T19" fmla="*/ 0 60000 65536"/>
                    <a:gd name="T20" fmla="*/ 0 60000 65536"/>
                    <a:gd name="T21" fmla="*/ 0 w 8"/>
                    <a:gd name="T22" fmla="*/ 0 h 76"/>
                    <a:gd name="T23" fmla="*/ 8 w 8"/>
                    <a:gd name="T24" fmla="*/ 76 h 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76">
                      <a:moveTo>
                        <a:pt x="0" y="8"/>
                      </a:moveTo>
                      <a:lnTo>
                        <a:pt x="0" y="76"/>
                      </a:lnTo>
                      <a:lnTo>
                        <a:pt x="8" y="76"/>
                      </a:lnTo>
                      <a:lnTo>
                        <a:pt x="8" y="0"/>
                      </a:lnTo>
                      <a:lnTo>
                        <a:pt x="0" y="8"/>
                      </a:lnTo>
                      <a:close/>
                    </a:path>
                  </a:pathLst>
                </a:custGeom>
                <a:solidFill>
                  <a:srgbClr val="FEBD2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26" name="Freeform 820">
                  <a:extLst>
                    <a:ext uri="{FF2B5EF4-FFF2-40B4-BE49-F238E27FC236}">
                      <a16:creationId xmlns:a16="http://schemas.microsoft.com/office/drawing/2014/main" id="{B2ED4E63-B5C1-4201-9F7B-FA771F5A9274}"/>
                    </a:ext>
                  </a:extLst>
                </p:cNvPr>
                <p:cNvSpPr>
                  <a:spLocks/>
                </p:cNvSpPr>
                <p:nvPr/>
              </p:nvSpPr>
              <p:spPr bwMode="auto">
                <a:xfrm>
                  <a:off x="4598988" y="4676775"/>
                  <a:ext cx="123825" cy="107950"/>
                </a:xfrm>
                <a:custGeom>
                  <a:avLst/>
                  <a:gdLst>
                    <a:gd name="T0" fmla="*/ 0 w 78"/>
                    <a:gd name="T1" fmla="*/ 2147483646 h 68"/>
                    <a:gd name="T2" fmla="*/ 2147483646 w 78"/>
                    <a:gd name="T3" fmla="*/ 2147483646 h 68"/>
                    <a:gd name="T4" fmla="*/ 2147483646 w 78"/>
                    <a:gd name="T5" fmla="*/ 0 h 68"/>
                    <a:gd name="T6" fmla="*/ 2147483646 w 78"/>
                    <a:gd name="T7" fmla="*/ 0 h 68"/>
                    <a:gd name="T8" fmla="*/ 0 w 78"/>
                    <a:gd name="T9" fmla="*/ 2147483646 h 68"/>
                    <a:gd name="T10" fmla="*/ 0 w 78"/>
                    <a:gd name="T11" fmla="*/ 2147483646 h 68"/>
                    <a:gd name="T12" fmla="*/ 0 60000 65536"/>
                    <a:gd name="T13" fmla="*/ 0 60000 65536"/>
                    <a:gd name="T14" fmla="*/ 0 60000 65536"/>
                    <a:gd name="T15" fmla="*/ 0 60000 65536"/>
                    <a:gd name="T16" fmla="*/ 0 60000 65536"/>
                    <a:gd name="T17" fmla="*/ 0 60000 65536"/>
                    <a:gd name="T18" fmla="*/ 0 w 78"/>
                    <a:gd name="T19" fmla="*/ 0 h 68"/>
                    <a:gd name="T20" fmla="*/ 78 w 78"/>
                    <a:gd name="T21" fmla="*/ 68 h 68"/>
                  </a:gdLst>
                  <a:ahLst/>
                  <a:cxnLst>
                    <a:cxn ang="T12">
                      <a:pos x="T0" y="T1"/>
                    </a:cxn>
                    <a:cxn ang="T13">
                      <a:pos x="T2" y="T3"/>
                    </a:cxn>
                    <a:cxn ang="T14">
                      <a:pos x="T4" y="T5"/>
                    </a:cxn>
                    <a:cxn ang="T15">
                      <a:pos x="T6" y="T7"/>
                    </a:cxn>
                    <a:cxn ang="T16">
                      <a:pos x="T8" y="T9"/>
                    </a:cxn>
                    <a:cxn ang="T17">
                      <a:pos x="T10" y="T11"/>
                    </a:cxn>
                  </a:cxnLst>
                  <a:rect l="T18" t="T19" r="T20" b="T21"/>
                  <a:pathLst>
                    <a:path w="78" h="68">
                      <a:moveTo>
                        <a:pt x="0" y="68"/>
                      </a:moveTo>
                      <a:lnTo>
                        <a:pt x="78" y="68"/>
                      </a:lnTo>
                      <a:lnTo>
                        <a:pt x="78" y="0"/>
                      </a:lnTo>
                      <a:lnTo>
                        <a:pt x="0" y="68"/>
                      </a:lnTo>
                      <a:close/>
                    </a:path>
                  </a:pathLst>
                </a:custGeom>
                <a:solidFill>
                  <a:srgbClr val="FEE3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27" name="Freeform 821">
                  <a:extLst>
                    <a:ext uri="{FF2B5EF4-FFF2-40B4-BE49-F238E27FC236}">
                      <a16:creationId xmlns:a16="http://schemas.microsoft.com/office/drawing/2014/main" id="{F2F4B55A-5748-47C4-9D74-FA176AE4BA6A}"/>
                    </a:ext>
                  </a:extLst>
                </p:cNvPr>
                <p:cNvSpPr>
                  <a:spLocks/>
                </p:cNvSpPr>
                <p:nvPr/>
              </p:nvSpPr>
              <p:spPr bwMode="auto">
                <a:xfrm>
                  <a:off x="4598988" y="4797425"/>
                  <a:ext cx="136525" cy="120650"/>
                </a:xfrm>
                <a:custGeom>
                  <a:avLst/>
                  <a:gdLst>
                    <a:gd name="T0" fmla="*/ 2147483646 w 86"/>
                    <a:gd name="T1" fmla="*/ 0 h 76"/>
                    <a:gd name="T2" fmla="*/ 0 w 86"/>
                    <a:gd name="T3" fmla="*/ 0 h 76"/>
                    <a:gd name="T4" fmla="*/ 2147483646 w 86"/>
                    <a:gd name="T5" fmla="*/ 2147483646 h 76"/>
                    <a:gd name="T6" fmla="*/ 2147483646 w 86"/>
                    <a:gd name="T7" fmla="*/ 2147483646 h 76"/>
                    <a:gd name="T8" fmla="*/ 2147483646 w 86"/>
                    <a:gd name="T9" fmla="*/ 0 h 76"/>
                    <a:gd name="T10" fmla="*/ 2147483646 w 86"/>
                    <a:gd name="T11" fmla="*/ 0 h 76"/>
                    <a:gd name="T12" fmla="*/ 0 60000 65536"/>
                    <a:gd name="T13" fmla="*/ 0 60000 65536"/>
                    <a:gd name="T14" fmla="*/ 0 60000 65536"/>
                    <a:gd name="T15" fmla="*/ 0 60000 65536"/>
                    <a:gd name="T16" fmla="*/ 0 60000 65536"/>
                    <a:gd name="T17" fmla="*/ 0 60000 65536"/>
                    <a:gd name="T18" fmla="*/ 0 w 86"/>
                    <a:gd name="T19" fmla="*/ 0 h 76"/>
                    <a:gd name="T20" fmla="*/ 86 w 86"/>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86" h="76">
                      <a:moveTo>
                        <a:pt x="78" y="0"/>
                      </a:moveTo>
                      <a:lnTo>
                        <a:pt x="0" y="0"/>
                      </a:lnTo>
                      <a:lnTo>
                        <a:pt x="78" y="68"/>
                      </a:lnTo>
                      <a:lnTo>
                        <a:pt x="86" y="76"/>
                      </a:lnTo>
                      <a:lnTo>
                        <a:pt x="86" y="0"/>
                      </a:lnTo>
                      <a:lnTo>
                        <a:pt x="78" y="0"/>
                      </a:lnTo>
                      <a:close/>
                    </a:path>
                  </a:pathLst>
                </a:custGeom>
                <a:solidFill>
                  <a:srgbClr val="FEBD2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28" name="Freeform 822">
                  <a:extLst>
                    <a:ext uri="{FF2B5EF4-FFF2-40B4-BE49-F238E27FC236}">
                      <a16:creationId xmlns:a16="http://schemas.microsoft.com/office/drawing/2014/main" id="{B2CE358F-839E-449A-87B7-4079B4F203B6}"/>
                    </a:ext>
                  </a:extLst>
                </p:cNvPr>
                <p:cNvSpPr>
                  <a:spLocks/>
                </p:cNvSpPr>
                <p:nvPr/>
              </p:nvSpPr>
              <p:spPr bwMode="auto">
                <a:xfrm>
                  <a:off x="4598988" y="4797425"/>
                  <a:ext cx="123825" cy="95250"/>
                </a:xfrm>
                <a:custGeom>
                  <a:avLst/>
                  <a:gdLst>
                    <a:gd name="T0" fmla="*/ 0 w 78"/>
                    <a:gd name="T1" fmla="*/ 0 h 60"/>
                    <a:gd name="T2" fmla="*/ 2147483646 w 78"/>
                    <a:gd name="T3" fmla="*/ 2147483646 h 60"/>
                    <a:gd name="T4" fmla="*/ 2147483646 w 78"/>
                    <a:gd name="T5" fmla="*/ 0 h 60"/>
                    <a:gd name="T6" fmla="*/ 0 w 78"/>
                    <a:gd name="T7" fmla="*/ 0 h 60"/>
                    <a:gd name="T8" fmla="*/ 0 60000 65536"/>
                    <a:gd name="T9" fmla="*/ 0 60000 65536"/>
                    <a:gd name="T10" fmla="*/ 0 60000 65536"/>
                    <a:gd name="T11" fmla="*/ 0 60000 65536"/>
                    <a:gd name="T12" fmla="*/ 0 w 78"/>
                    <a:gd name="T13" fmla="*/ 0 h 60"/>
                    <a:gd name="T14" fmla="*/ 78 w 78"/>
                    <a:gd name="T15" fmla="*/ 60 h 60"/>
                  </a:gdLst>
                  <a:ahLst/>
                  <a:cxnLst>
                    <a:cxn ang="T8">
                      <a:pos x="T0" y="T1"/>
                    </a:cxn>
                    <a:cxn ang="T9">
                      <a:pos x="T2" y="T3"/>
                    </a:cxn>
                    <a:cxn ang="T10">
                      <a:pos x="T4" y="T5"/>
                    </a:cxn>
                    <a:cxn ang="T11">
                      <a:pos x="T6" y="T7"/>
                    </a:cxn>
                  </a:cxnLst>
                  <a:rect l="T12" t="T13" r="T14" b="T15"/>
                  <a:pathLst>
                    <a:path w="78" h="60">
                      <a:moveTo>
                        <a:pt x="0" y="0"/>
                      </a:moveTo>
                      <a:lnTo>
                        <a:pt x="78" y="60"/>
                      </a:lnTo>
                      <a:lnTo>
                        <a:pt x="78" y="0"/>
                      </a:lnTo>
                      <a:lnTo>
                        <a:pt x="0" y="0"/>
                      </a:lnTo>
                      <a:close/>
                    </a:path>
                  </a:pathLst>
                </a:custGeom>
                <a:solidFill>
                  <a:srgbClr val="FEBD2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29" name="Rectangle 823">
                  <a:extLst>
                    <a:ext uri="{FF2B5EF4-FFF2-40B4-BE49-F238E27FC236}">
                      <a16:creationId xmlns:a16="http://schemas.microsoft.com/office/drawing/2014/main" id="{74AC7F6E-C850-4BF0-8942-214CEA625230}"/>
                    </a:ext>
                  </a:extLst>
                </p:cNvPr>
                <p:cNvSpPr>
                  <a:spLocks noChangeArrowheads="1"/>
                </p:cNvSpPr>
                <p:nvPr/>
              </p:nvSpPr>
              <p:spPr bwMode="auto">
                <a:xfrm>
                  <a:off x="5611813" y="4514850"/>
                  <a:ext cx="266700" cy="12700"/>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spcBef>
                      <a:spcPct val="0"/>
                    </a:spcBef>
                    <a:buClrTx/>
                    <a:buSzTx/>
                    <a:buFontTx/>
                    <a:buNone/>
                  </a:pPr>
                  <a:endParaRPr kumimoji="1" lang="ko-KR" altLang="en-US" sz="2000">
                    <a:ea typeface="Gulim" panose="020B0600000101010101" pitchFamily="34" charset="-127"/>
                  </a:endParaRPr>
                </a:p>
              </p:txBody>
            </p:sp>
            <p:sp>
              <p:nvSpPr>
                <p:cNvPr id="87230" name="Freeform 824">
                  <a:extLst>
                    <a:ext uri="{FF2B5EF4-FFF2-40B4-BE49-F238E27FC236}">
                      <a16:creationId xmlns:a16="http://schemas.microsoft.com/office/drawing/2014/main" id="{39078451-F6F9-4B89-A407-058CDEBD48F1}"/>
                    </a:ext>
                  </a:extLst>
                </p:cNvPr>
                <p:cNvSpPr>
                  <a:spLocks/>
                </p:cNvSpPr>
                <p:nvPr/>
              </p:nvSpPr>
              <p:spPr bwMode="auto">
                <a:xfrm>
                  <a:off x="4878388" y="4670425"/>
                  <a:ext cx="876300" cy="12700"/>
                </a:xfrm>
                <a:custGeom>
                  <a:avLst/>
                  <a:gdLst>
                    <a:gd name="T0" fmla="*/ 2147483646 w 552"/>
                    <a:gd name="T1" fmla="*/ 0 h 8"/>
                    <a:gd name="T2" fmla="*/ 2147483646 w 552"/>
                    <a:gd name="T3" fmla="*/ 0 h 8"/>
                    <a:gd name="T4" fmla="*/ 2147483646 w 552"/>
                    <a:gd name="T5" fmla="*/ 2147483646 h 8"/>
                    <a:gd name="T6" fmla="*/ 0 w 552"/>
                    <a:gd name="T7" fmla="*/ 2147483646 h 8"/>
                    <a:gd name="T8" fmla="*/ 0 w 552"/>
                    <a:gd name="T9" fmla="*/ 2147483646 h 8"/>
                    <a:gd name="T10" fmla="*/ 2147483646 w 552"/>
                    <a:gd name="T11" fmla="*/ 2147483646 h 8"/>
                    <a:gd name="T12" fmla="*/ 2147483646 w 552"/>
                    <a:gd name="T13" fmla="*/ 2147483646 h 8"/>
                    <a:gd name="T14" fmla="*/ 2147483646 w 552"/>
                    <a:gd name="T15" fmla="*/ 2147483646 h 8"/>
                    <a:gd name="T16" fmla="*/ 2147483646 w 552"/>
                    <a:gd name="T17" fmla="*/ 2147483646 h 8"/>
                    <a:gd name="T18" fmla="*/ 2147483646 w 552"/>
                    <a:gd name="T19" fmla="*/ 2147483646 h 8"/>
                    <a:gd name="T20" fmla="*/ 2147483646 w 552"/>
                    <a:gd name="T21" fmla="*/ 2147483646 h 8"/>
                    <a:gd name="T22" fmla="*/ 2147483646 w 552"/>
                    <a:gd name="T23" fmla="*/ 2147483646 h 8"/>
                    <a:gd name="T24" fmla="*/ 2147483646 w 552"/>
                    <a:gd name="T25" fmla="*/ 2147483646 h 8"/>
                    <a:gd name="T26" fmla="*/ 2147483646 w 552"/>
                    <a:gd name="T27" fmla="*/ 0 h 8"/>
                    <a:gd name="T28" fmla="*/ 2147483646 w 552"/>
                    <a:gd name="T29" fmla="*/ 0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52"/>
                    <a:gd name="T46" fmla="*/ 0 h 8"/>
                    <a:gd name="T47" fmla="*/ 552 w 552"/>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52" h="8">
                      <a:moveTo>
                        <a:pt x="4" y="0"/>
                      </a:moveTo>
                      <a:lnTo>
                        <a:pt x="4" y="0"/>
                      </a:lnTo>
                      <a:lnTo>
                        <a:pt x="2" y="2"/>
                      </a:lnTo>
                      <a:lnTo>
                        <a:pt x="0" y="4"/>
                      </a:lnTo>
                      <a:lnTo>
                        <a:pt x="2" y="6"/>
                      </a:lnTo>
                      <a:lnTo>
                        <a:pt x="4" y="8"/>
                      </a:lnTo>
                      <a:lnTo>
                        <a:pt x="548" y="8"/>
                      </a:lnTo>
                      <a:lnTo>
                        <a:pt x="550" y="6"/>
                      </a:lnTo>
                      <a:lnTo>
                        <a:pt x="552" y="4"/>
                      </a:lnTo>
                      <a:lnTo>
                        <a:pt x="550" y="2"/>
                      </a:lnTo>
                      <a:lnTo>
                        <a:pt x="548" y="0"/>
                      </a:lnTo>
                      <a:lnTo>
                        <a:pt x="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31" name="Freeform 825">
                  <a:extLst>
                    <a:ext uri="{FF2B5EF4-FFF2-40B4-BE49-F238E27FC236}">
                      <a16:creationId xmlns:a16="http://schemas.microsoft.com/office/drawing/2014/main" id="{48CE8510-B279-451C-8BDC-CAA839E5D796}"/>
                    </a:ext>
                  </a:extLst>
                </p:cNvPr>
                <p:cNvSpPr>
                  <a:spLocks/>
                </p:cNvSpPr>
                <p:nvPr/>
              </p:nvSpPr>
              <p:spPr bwMode="auto">
                <a:xfrm>
                  <a:off x="4878388" y="4740275"/>
                  <a:ext cx="876300" cy="12700"/>
                </a:xfrm>
                <a:custGeom>
                  <a:avLst/>
                  <a:gdLst>
                    <a:gd name="T0" fmla="*/ 2147483646 w 552"/>
                    <a:gd name="T1" fmla="*/ 0 h 8"/>
                    <a:gd name="T2" fmla="*/ 2147483646 w 552"/>
                    <a:gd name="T3" fmla="*/ 0 h 8"/>
                    <a:gd name="T4" fmla="*/ 2147483646 w 552"/>
                    <a:gd name="T5" fmla="*/ 2147483646 h 8"/>
                    <a:gd name="T6" fmla="*/ 0 w 552"/>
                    <a:gd name="T7" fmla="*/ 2147483646 h 8"/>
                    <a:gd name="T8" fmla="*/ 0 w 552"/>
                    <a:gd name="T9" fmla="*/ 2147483646 h 8"/>
                    <a:gd name="T10" fmla="*/ 2147483646 w 552"/>
                    <a:gd name="T11" fmla="*/ 2147483646 h 8"/>
                    <a:gd name="T12" fmla="*/ 2147483646 w 552"/>
                    <a:gd name="T13" fmla="*/ 2147483646 h 8"/>
                    <a:gd name="T14" fmla="*/ 2147483646 w 552"/>
                    <a:gd name="T15" fmla="*/ 2147483646 h 8"/>
                    <a:gd name="T16" fmla="*/ 2147483646 w 552"/>
                    <a:gd name="T17" fmla="*/ 2147483646 h 8"/>
                    <a:gd name="T18" fmla="*/ 2147483646 w 552"/>
                    <a:gd name="T19" fmla="*/ 2147483646 h 8"/>
                    <a:gd name="T20" fmla="*/ 2147483646 w 552"/>
                    <a:gd name="T21" fmla="*/ 2147483646 h 8"/>
                    <a:gd name="T22" fmla="*/ 2147483646 w 552"/>
                    <a:gd name="T23" fmla="*/ 2147483646 h 8"/>
                    <a:gd name="T24" fmla="*/ 2147483646 w 552"/>
                    <a:gd name="T25" fmla="*/ 2147483646 h 8"/>
                    <a:gd name="T26" fmla="*/ 2147483646 w 552"/>
                    <a:gd name="T27" fmla="*/ 0 h 8"/>
                    <a:gd name="T28" fmla="*/ 2147483646 w 552"/>
                    <a:gd name="T29" fmla="*/ 0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52"/>
                    <a:gd name="T46" fmla="*/ 0 h 8"/>
                    <a:gd name="T47" fmla="*/ 552 w 552"/>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52" h="8">
                      <a:moveTo>
                        <a:pt x="4" y="0"/>
                      </a:moveTo>
                      <a:lnTo>
                        <a:pt x="4" y="0"/>
                      </a:lnTo>
                      <a:lnTo>
                        <a:pt x="2" y="2"/>
                      </a:lnTo>
                      <a:lnTo>
                        <a:pt x="0" y="4"/>
                      </a:lnTo>
                      <a:lnTo>
                        <a:pt x="2" y="6"/>
                      </a:lnTo>
                      <a:lnTo>
                        <a:pt x="4" y="8"/>
                      </a:lnTo>
                      <a:lnTo>
                        <a:pt x="548" y="8"/>
                      </a:lnTo>
                      <a:lnTo>
                        <a:pt x="550" y="6"/>
                      </a:lnTo>
                      <a:lnTo>
                        <a:pt x="552" y="4"/>
                      </a:lnTo>
                      <a:lnTo>
                        <a:pt x="550" y="2"/>
                      </a:lnTo>
                      <a:lnTo>
                        <a:pt x="548" y="0"/>
                      </a:lnTo>
                      <a:lnTo>
                        <a:pt x="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32" name="Freeform 826">
                  <a:extLst>
                    <a:ext uri="{FF2B5EF4-FFF2-40B4-BE49-F238E27FC236}">
                      <a16:creationId xmlns:a16="http://schemas.microsoft.com/office/drawing/2014/main" id="{E2458300-2A7E-41A0-BBF6-4757B3D69803}"/>
                    </a:ext>
                  </a:extLst>
                </p:cNvPr>
                <p:cNvSpPr>
                  <a:spLocks/>
                </p:cNvSpPr>
                <p:nvPr/>
              </p:nvSpPr>
              <p:spPr bwMode="auto">
                <a:xfrm>
                  <a:off x="4878388" y="4810125"/>
                  <a:ext cx="876300" cy="12700"/>
                </a:xfrm>
                <a:custGeom>
                  <a:avLst/>
                  <a:gdLst>
                    <a:gd name="T0" fmla="*/ 2147483646 w 552"/>
                    <a:gd name="T1" fmla="*/ 0 h 8"/>
                    <a:gd name="T2" fmla="*/ 2147483646 w 552"/>
                    <a:gd name="T3" fmla="*/ 0 h 8"/>
                    <a:gd name="T4" fmla="*/ 2147483646 w 552"/>
                    <a:gd name="T5" fmla="*/ 2147483646 h 8"/>
                    <a:gd name="T6" fmla="*/ 0 w 552"/>
                    <a:gd name="T7" fmla="*/ 2147483646 h 8"/>
                    <a:gd name="T8" fmla="*/ 0 w 552"/>
                    <a:gd name="T9" fmla="*/ 2147483646 h 8"/>
                    <a:gd name="T10" fmla="*/ 2147483646 w 552"/>
                    <a:gd name="T11" fmla="*/ 2147483646 h 8"/>
                    <a:gd name="T12" fmla="*/ 2147483646 w 552"/>
                    <a:gd name="T13" fmla="*/ 2147483646 h 8"/>
                    <a:gd name="T14" fmla="*/ 2147483646 w 552"/>
                    <a:gd name="T15" fmla="*/ 2147483646 h 8"/>
                    <a:gd name="T16" fmla="*/ 2147483646 w 552"/>
                    <a:gd name="T17" fmla="*/ 2147483646 h 8"/>
                    <a:gd name="T18" fmla="*/ 2147483646 w 552"/>
                    <a:gd name="T19" fmla="*/ 2147483646 h 8"/>
                    <a:gd name="T20" fmla="*/ 2147483646 w 552"/>
                    <a:gd name="T21" fmla="*/ 2147483646 h 8"/>
                    <a:gd name="T22" fmla="*/ 2147483646 w 552"/>
                    <a:gd name="T23" fmla="*/ 2147483646 h 8"/>
                    <a:gd name="T24" fmla="*/ 2147483646 w 552"/>
                    <a:gd name="T25" fmla="*/ 2147483646 h 8"/>
                    <a:gd name="T26" fmla="*/ 2147483646 w 552"/>
                    <a:gd name="T27" fmla="*/ 0 h 8"/>
                    <a:gd name="T28" fmla="*/ 2147483646 w 552"/>
                    <a:gd name="T29" fmla="*/ 0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52"/>
                    <a:gd name="T46" fmla="*/ 0 h 8"/>
                    <a:gd name="T47" fmla="*/ 552 w 552"/>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52" h="8">
                      <a:moveTo>
                        <a:pt x="4" y="0"/>
                      </a:moveTo>
                      <a:lnTo>
                        <a:pt x="4" y="0"/>
                      </a:lnTo>
                      <a:lnTo>
                        <a:pt x="2" y="2"/>
                      </a:lnTo>
                      <a:lnTo>
                        <a:pt x="0" y="4"/>
                      </a:lnTo>
                      <a:lnTo>
                        <a:pt x="2" y="6"/>
                      </a:lnTo>
                      <a:lnTo>
                        <a:pt x="4" y="8"/>
                      </a:lnTo>
                      <a:lnTo>
                        <a:pt x="548" y="8"/>
                      </a:lnTo>
                      <a:lnTo>
                        <a:pt x="550" y="6"/>
                      </a:lnTo>
                      <a:lnTo>
                        <a:pt x="552" y="4"/>
                      </a:lnTo>
                      <a:lnTo>
                        <a:pt x="550" y="2"/>
                      </a:lnTo>
                      <a:lnTo>
                        <a:pt x="548" y="0"/>
                      </a:lnTo>
                      <a:lnTo>
                        <a:pt x="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33" name="Freeform 827">
                  <a:extLst>
                    <a:ext uri="{FF2B5EF4-FFF2-40B4-BE49-F238E27FC236}">
                      <a16:creationId xmlns:a16="http://schemas.microsoft.com/office/drawing/2014/main" id="{83427ADA-E7BA-4751-BB3C-7840DE19577E}"/>
                    </a:ext>
                  </a:extLst>
                </p:cNvPr>
                <p:cNvSpPr>
                  <a:spLocks/>
                </p:cNvSpPr>
                <p:nvPr/>
              </p:nvSpPr>
              <p:spPr bwMode="auto">
                <a:xfrm>
                  <a:off x="4878388" y="4879975"/>
                  <a:ext cx="876300" cy="12700"/>
                </a:xfrm>
                <a:custGeom>
                  <a:avLst/>
                  <a:gdLst>
                    <a:gd name="T0" fmla="*/ 2147483646 w 552"/>
                    <a:gd name="T1" fmla="*/ 0 h 8"/>
                    <a:gd name="T2" fmla="*/ 2147483646 w 552"/>
                    <a:gd name="T3" fmla="*/ 0 h 8"/>
                    <a:gd name="T4" fmla="*/ 2147483646 w 552"/>
                    <a:gd name="T5" fmla="*/ 2147483646 h 8"/>
                    <a:gd name="T6" fmla="*/ 0 w 552"/>
                    <a:gd name="T7" fmla="*/ 2147483646 h 8"/>
                    <a:gd name="T8" fmla="*/ 0 w 552"/>
                    <a:gd name="T9" fmla="*/ 2147483646 h 8"/>
                    <a:gd name="T10" fmla="*/ 2147483646 w 552"/>
                    <a:gd name="T11" fmla="*/ 2147483646 h 8"/>
                    <a:gd name="T12" fmla="*/ 2147483646 w 552"/>
                    <a:gd name="T13" fmla="*/ 2147483646 h 8"/>
                    <a:gd name="T14" fmla="*/ 2147483646 w 552"/>
                    <a:gd name="T15" fmla="*/ 2147483646 h 8"/>
                    <a:gd name="T16" fmla="*/ 2147483646 w 552"/>
                    <a:gd name="T17" fmla="*/ 2147483646 h 8"/>
                    <a:gd name="T18" fmla="*/ 2147483646 w 552"/>
                    <a:gd name="T19" fmla="*/ 2147483646 h 8"/>
                    <a:gd name="T20" fmla="*/ 2147483646 w 552"/>
                    <a:gd name="T21" fmla="*/ 2147483646 h 8"/>
                    <a:gd name="T22" fmla="*/ 2147483646 w 552"/>
                    <a:gd name="T23" fmla="*/ 2147483646 h 8"/>
                    <a:gd name="T24" fmla="*/ 2147483646 w 552"/>
                    <a:gd name="T25" fmla="*/ 2147483646 h 8"/>
                    <a:gd name="T26" fmla="*/ 2147483646 w 552"/>
                    <a:gd name="T27" fmla="*/ 0 h 8"/>
                    <a:gd name="T28" fmla="*/ 2147483646 w 552"/>
                    <a:gd name="T29" fmla="*/ 0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52"/>
                    <a:gd name="T46" fmla="*/ 0 h 8"/>
                    <a:gd name="T47" fmla="*/ 552 w 552"/>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52" h="8">
                      <a:moveTo>
                        <a:pt x="4" y="0"/>
                      </a:moveTo>
                      <a:lnTo>
                        <a:pt x="4" y="0"/>
                      </a:lnTo>
                      <a:lnTo>
                        <a:pt x="2" y="2"/>
                      </a:lnTo>
                      <a:lnTo>
                        <a:pt x="0" y="4"/>
                      </a:lnTo>
                      <a:lnTo>
                        <a:pt x="2" y="6"/>
                      </a:lnTo>
                      <a:lnTo>
                        <a:pt x="4" y="8"/>
                      </a:lnTo>
                      <a:lnTo>
                        <a:pt x="548" y="8"/>
                      </a:lnTo>
                      <a:lnTo>
                        <a:pt x="550" y="6"/>
                      </a:lnTo>
                      <a:lnTo>
                        <a:pt x="552" y="4"/>
                      </a:lnTo>
                      <a:lnTo>
                        <a:pt x="550" y="2"/>
                      </a:lnTo>
                      <a:lnTo>
                        <a:pt x="548" y="0"/>
                      </a:lnTo>
                      <a:lnTo>
                        <a:pt x="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34" name="Freeform 828">
                  <a:extLst>
                    <a:ext uri="{FF2B5EF4-FFF2-40B4-BE49-F238E27FC236}">
                      <a16:creationId xmlns:a16="http://schemas.microsoft.com/office/drawing/2014/main" id="{58C86BD8-7C03-4631-A3A3-D97C8574C032}"/>
                    </a:ext>
                  </a:extLst>
                </p:cNvPr>
                <p:cNvSpPr>
                  <a:spLocks/>
                </p:cNvSpPr>
                <p:nvPr/>
              </p:nvSpPr>
              <p:spPr bwMode="auto">
                <a:xfrm>
                  <a:off x="4878388" y="4949825"/>
                  <a:ext cx="600075" cy="12700"/>
                </a:xfrm>
                <a:custGeom>
                  <a:avLst/>
                  <a:gdLst>
                    <a:gd name="T0" fmla="*/ 2147483646 w 378"/>
                    <a:gd name="T1" fmla="*/ 0 h 8"/>
                    <a:gd name="T2" fmla="*/ 2147483646 w 378"/>
                    <a:gd name="T3" fmla="*/ 0 h 8"/>
                    <a:gd name="T4" fmla="*/ 2147483646 w 378"/>
                    <a:gd name="T5" fmla="*/ 2147483646 h 8"/>
                    <a:gd name="T6" fmla="*/ 0 w 378"/>
                    <a:gd name="T7" fmla="*/ 2147483646 h 8"/>
                    <a:gd name="T8" fmla="*/ 0 w 378"/>
                    <a:gd name="T9" fmla="*/ 2147483646 h 8"/>
                    <a:gd name="T10" fmla="*/ 2147483646 w 378"/>
                    <a:gd name="T11" fmla="*/ 2147483646 h 8"/>
                    <a:gd name="T12" fmla="*/ 2147483646 w 378"/>
                    <a:gd name="T13" fmla="*/ 2147483646 h 8"/>
                    <a:gd name="T14" fmla="*/ 2147483646 w 378"/>
                    <a:gd name="T15" fmla="*/ 2147483646 h 8"/>
                    <a:gd name="T16" fmla="*/ 2147483646 w 378"/>
                    <a:gd name="T17" fmla="*/ 2147483646 h 8"/>
                    <a:gd name="T18" fmla="*/ 2147483646 w 378"/>
                    <a:gd name="T19" fmla="*/ 2147483646 h 8"/>
                    <a:gd name="T20" fmla="*/ 2147483646 w 378"/>
                    <a:gd name="T21" fmla="*/ 2147483646 h 8"/>
                    <a:gd name="T22" fmla="*/ 2147483646 w 378"/>
                    <a:gd name="T23" fmla="*/ 2147483646 h 8"/>
                    <a:gd name="T24" fmla="*/ 2147483646 w 378"/>
                    <a:gd name="T25" fmla="*/ 2147483646 h 8"/>
                    <a:gd name="T26" fmla="*/ 2147483646 w 378"/>
                    <a:gd name="T27" fmla="*/ 0 h 8"/>
                    <a:gd name="T28" fmla="*/ 2147483646 w 378"/>
                    <a:gd name="T29" fmla="*/ 0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78"/>
                    <a:gd name="T46" fmla="*/ 0 h 8"/>
                    <a:gd name="T47" fmla="*/ 378 w 378"/>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78" h="8">
                      <a:moveTo>
                        <a:pt x="4" y="0"/>
                      </a:moveTo>
                      <a:lnTo>
                        <a:pt x="4" y="0"/>
                      </a:lnTo>
                      <a:lnTo>
                        <a:pt x="2" y="2"/>
                      </a:lnTo>
                      <a:lnTo>
                        <a:pt x="0" y="4"/>
                      </a:lnTo>
                      <a:lnTo>
                        <a:pt x="2" y="6"/>
                      </a:lnTo>
                      <a:lnTo>
                        <a:pt x="4" y="8"/>
                      </a:lnTo>
                      <a:lnTo>
                        <a:pt x="374" y="8"/>
                      </a:lnTo>
                      <a:lnTo>
                        <a:pt x="376" y="6"/>
                      </a:lnTo>
                      <a:lnTo>
                        <a:pt x="378" y="4"/>
                      </a:lnTo>
                      <a:lnTo>
                        <a:pt x="376" y="2"/>
                      </a:lnTo>
                      <a:lnTo>
                        <a:pt x="374" y="0"/>
                      </a:lnTo>
                      <a:lnTo>
                        <a:pt x="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35" name="Freeform 829">
                  <a:extLst>
                    <a:ext uri="{FF2B5EF4-FFF2-40B4-BE49-F238E27FC236}">
                      <a16:creationId xmlns:a16="http://schemas.microsoft.com/office/drawing/2014/main" id="{42ADABE3-3AC7-4131-A7F9-56C735BA3567}"/>
                    </a:ext>
                  </a:extLst>
                </p:cNvPr>
                <p:cNvSpPr>
                  <a:spLocks/>
                </p:cNvSpPr>
                <p:nvPr/>
              </p:nvSpPr>
              <p:spPr bwMode="auto">
                <a:xfrm>
                  <a:off x="4878388" y="4359275"/>
                  <a:ext cx="330200" cy="12700"/>
                </a:xfrm>
                <a:custGeom>
                  <a:avLst/>
                  <a:gdLst>
                    <a:gd name="T0" fmla="*/ 2147483646 w 208"/>
                    <a:gd name="T1" fmla="*/ 0 h 8"/>
                    <a:gd name="T2" fmla="*/ 2147483646 w 208"/>
                    <a:gd name="T3" fmla="*/ 0 h 8"/>
                    <a:gd name="T4" fmla="*/ 2147483646 w 208"/>
                    <a:gd name="T5" fmla="*/ 2147483646 h 8"/>
                    <a:gd name="T6" fmla="*/ 0 w 208"/>
                    <a:gd name="T7" fmla="*/ 2147483646 h 8"/>
                    <a:gd name="T8" fmla="*/ 0 w 208"/>
                    <a:gd name="T9" fmla="*/ 2147483646 h 8"/>
                    <a:gd name="T10" fmla="*/ 2147483646 w 208"/>
                    <a:gd name="T11" fmla="*/ 2147483646 h 8"/>
                    <a:gd name="T12" fmla="*/ 2147483646 w 208"/>
                    <a:gd name="T13" fmla="*/ 2147483646 h 8"/>
                    <a:gd name="T14" fmla="*/ 2147483646 w 208"/>
                    <a:gd name="T15" fmla="*/ 2147483646 h 8"/>
                    <a:gd name="T16" fmla="*/ 2147483646 w 208"/>
                    <a:gd name="T17" fmla="*/ 2147483646 h 8"/>
                    <a:gd name="T18" fmla="*/ 2147483646 w 208"/>
                    <a:gd name="T19" fmla="*/ 2147483646 h 8"/>
                    <a:gd name="T20" fmla="*/ 2147483646 w 208"/>
                    <a:gd name="T21" fmla="*/ 2147483646 h 8"/>
                    <a:gd name="T22" fmla="*/ 2147483646 w 208"/>
                    <a:gd name="T23" fmla="*/ 2147483646 h 8"/>
                    <a:gd name="T24" fmla="*/ 2147483646 w 208"/>
                    <a:gd name="T25" fmla="*/ 2147483646 h 8"/>
                    <a:gd name="T26" fmla="*/ 2147483646 w 208"/>
                    <a:gd name="T27" fmla="*/ 0 h 8"/>
                    <a:gd name="T28" fmla="*/ 2147483646 w 208"/>
                    <a:gd name="T29" fmla="*/ 0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8"/>
                    <a:gd name="T46" fmla="*/ 0 h 8"/>
                    <a:gd name="T47" fmla="*/ 208 w 208"/>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8" h="8">
                      <a:moveTo>
                        <a:pt x="4" y="0"/>
                      </a:moveTo>
                      <a:lnTo>
                        <a:pt x="4" y="0"/>
                      </a:lnTo>
                      <a:lnTo>
                        <a:pt x="2" y="2"/>
                      </a:lnTo>
                      <a:lnTo>
                        <a:pt x="0" y="4"/>
                      </a:lnTo>
                      <a:lnTo>
                        <a:pt x="2" y="6"/>
                      </a:lnTo>
                      <a:lnTo>
                        <a:pt x="4" y="8"/>
                      </a:lnTo>
                      <a:lnTo>
                        <a:pt x="204" y="8"/>
                      </a:lnTo>
                      <a:lnTo>
                        <a:pt x="206" y="6"/>
                      </a:lnTo>
                      <a:lnTo>
                        <a:pt x="208" y="4"/>
                      </a:lnTo>
                      <a:lnTo>
                        <a:pt x="206" y="2"/>
                      </a:lnTo>
                      <a:lnTo>
                        <a:pt x="204" y="0"/>
                      </a:lnTo>
                      <a:lnTo>
                        <a:pt x="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36" name="Freeform 830">
                  <a:extLst>
                    <a:ext uri="{FF2B5EF4-FFF2-40B4-BE49-F238E27FC236}">
                      <a16:creationId xmlns:a16="http://schemas.microsoft.com/office/drawing/2014/main" id="{4F1FB468-4FE1-485C-A37C-B526970B93EC}"/>
                    </a:ext>
                  </a:extLst>
                </p:cNvPr>
                <p:cNvSpPr>
                  <a:spLocks/>
                </p:cNvSpPr>
                <p:nvPr/>
              </p:nvSpPr>
              <p:spPr bwMode="auto">
                <a:xfrm>
                  <a:off x="4878388" y="4429125"/>
                  <a:ext cx="330200" cy="12700"/>
                </a:xfrm>
                <a:custGeom>
                  <a:avLst/>
                  <a:gdLst>
                    <a:gd name="T0" fmla="*/ 2147483646 w 208"/>
                    <a:gd name="T1" fmla="*/ 0 h 8"/>
                    <a:gd name="T2" fmla="*/ 2147483646 w 208"/>
                    <a:gd name="T3" fmla="*/ 0 h 8"/>
                    <a:gd name="T4" fmla="*/ 2147483646 w 208"/>
                    <a:gd name="T5" fmla="*/ 2147483646 h 8"/>
                    <a:gd name="T6" fmla="*/ 0 w 208"/>
                    <a:gd name="T7" fmla="*/ 2147483646 h 8"/>
                    <a:gd name="T8" fmla="*/ 0 w 208"/>
                    <a:gd name="T9" fmla="*/ 2147483646 h 8"/>
                    <a:gd name="T10" fmla="*/ 2147483646 w 208"/>
                    <a:gd name="T11" fmla="*/ 2147483646 h 8"/>
                    <a:gd name="T12" fmla="*/ 2147483646 w 208"/>
                    <a:gd name="T13" fmla="*/ 2147483646 h 8"/>
                    <a:gd name="T14" fmla="*/ 2147483646 w 208"/>
                    <a:gd name="T15" fmla="*/ 2147483646 h 8"/>
                    <a:gd name="T16" fmla="*/ 2147483646 w 208"/>
                    <a:gd name="T17" fmla="*/ 2147483646 h 8"/>
                    <a:gd name="T18" fmla="*/ 2147483646 w 208"/>
                    <a:gd name="T19" fmla="*/ 2147483646 h 8"/>
                    <a:gd name="T20" fmla="*/ 2147483646 w 208"/>
                    <a:gd name="T21" fmla="*/ 2147483646 h 8"/>
                    <a:gd name="T22" fmla="*/ 2147483646 w 208"/>
                    <a:gd name="T23" fmla="*/ 2147483646 h 8"/>
                    <a:gd name="T24" fmla="*/ 2147483646 w 208"/>
                    <a:gd name="T25" fmla="*/ 2147483646 h 8"/>
                    <a:gd name="T26" fmla="*/ 2147483646 w 208"/>
                    <a:gd name="T27" fmla="*/ 0 h 8"/>
                    <a:gd name="T28" fmla="*/ 2147483646 w 208"/>
                    <a:gd name="T29" fmla="*/ 0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8"/>
                    <a:gd name="T46" fmla="*/ 0 h 8"/>
                    <a:gd name="T47" fmla="*/ 208 w 208"/>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8" h="8">
                      <a:moveTo>
                        <a:pt x="4" y="0"/>
                      </a:moveTo>
                      <a:lnTo>
                        <a:pt x="4" y="0"/>
                      </a:lnTo>
                      <a:lnTo>
                        <a:pt x="2" y="2"/>
                      </a:lnTo>
                      <a:lnTo>
                        <a:pt x="0" y="4"/>
                      </a:lnTo>
                      <a:lnTo>
                        <a:pt x="2" y="6"/>
                      </a:lnTo>
                      <a:lnTo>
                        <a:pt x="4" y="8"/>
                      </a:lnTo>
                      <a:lnTo>
                        <a:pt x="204" y="8"/>
                      </a:lnTo>
                      <a:lnTo>
                        <a:pt x="206" y="6"/>
                      </a:lnTo>
                      <a:lnTo>
                        <a:pt x="208" y="4"/>
                      </a:lnTo>
                      <a:lnTo>
                        <a:pt x="206" y="2"/>
                      </a:lnTo>
                      <a:lnTo>
                        <a:pt x="204" y="0"/>
                      </a:lnTo>
                      <a:lnTo>
                        <a:pt x="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37" name="Freeform 831">
                  <a:extLst>
                    <a:ext uri="{FF2B5EF4-FFF2-40B4-BE49-F238E27FC236}">
                      <a16:creationId xmlns:a16="http://schemas.microsoft.com/office/drawing/2014/main" id="{04E447F6-03C1-457D-BC60-95C73C4FA537}"/>
                    </a:ext>
                  </a:extLst>
                </p:cNvPr>
                <p:cNvSpPr>
                  <a:spLocks/>
                </p:cNvSpPr>
                <p:nvPr/>
              </p:nvSpPr>
              <p:spPr bwMode="auto">
                <a:xfrm>
                  <a:off x="4878388" y="4498975"/>
                  <a:ext cx="330200" cy="12700"/>
                </a:xfrm>
                <a:custGeom>
                  <a:avLst/>
                  <a:gdLst>
                    <a:gd name="T0" fmla="*/ 2147483646 w 208"/>
                    <a:gd name="T1" fmla="*/ 0 h 8"/>
                    <a:gd name="T2" fmla="*/ 2147483646 w 208"/>
                    <a:gd name="T3" fmla="*/ 0 h 8"/>
                    <a:gd name="T4" fmla="*/ 2147483646 w 208"/>
                    <a:gd name="T5" fmla="*/ 2147483646 h 8"/>
                    <a:gd name="T6" fmla="*/ 0 w 208"/>
                    <a:gd name="T7" fmla="*/ 2147483646 h 8"/>
                    <a:gd name="T8" fmla="*/ 0 w 208"/>
                    <a:gd name="T9" fmla="*/ 2147483646 h 8"/>
                    <a:gd name="T10" fmla="*/ 2147483646 w 208"/>
                    <a:gd name="T11" fmla="*/ 2147483646 h 8"/>
                    <a:gd name="T12" fmla="*/ 2147483646 w 208"/>
                    <a:gd name="T13" fmla="*/ 2147483646 h 8"/>
                    <a:gd name="T14" fmla="*/ 2147483646 w 208"/>
                    <a:gd name="T15" fmla="*/ 2147483646 h 8"/>
                    <a:gd name="T16" fmla="*/ 2147483646 w 208"/>
                    <a:gd name="T17" fmla="*/ 2147483646 h 8"/>
                    <a:gd name="T18" fmla="*/ 2147483646 w 208"/>
                    <a:gd name="T19" fmla="*/ 2147483646 h 8"/>
                    <a:gd name="T20" fmla="*/ 2147483646 w 208"/>
                    <a:gd name="T21" fmla="*/ 2147483646 h 8"/>
                    <a:gd name="T22" fmla="*/ 2147483646 w 208"/>
                    <a:gd name="T23" fmla="*/ 2147483646 h 8"/>
                    <a:gd name="T24" fmla="*/ 2147483646 w 208"/>
                    <a:gd name="T25" fmla="*/ 2147483646 h 8"/>
                    <a:gd name="T26" fmla="*/ 2147483646 w 208"/>
                    <a:gd name="T27" fmla="*/ 0 h 8"/>
                    <a:gd name="T28" fmla="*/ 2147483646 w 208"/>
                    <a:gd name="T29" fmla="*/ 0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8"/>
                    <a:gd name="T46" fmla="*/ 0 h 8"/>
                    <a:gd name="T47" fmla="*/ 208 w 208"/>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8" h="8">
                      <a:moveTo>
                        <a:pt x="4" y="0"/>
                      </a:moveTo>
                      <a:lnTo>
                        <a:pt x="4" y="0"/>
                      </a:lnTo>
                      <a:lnTo>
                        <a:pt x="2" y="2"/>
                      </a:lnTo>
                      <a:lnTo>
                        <a:pt x="0" y="4"/>
                      </a:lnTo>
                      <a:lnTo>
                        <a:pt x="2" y="6"/>
                      </a:lnTo>
                      <a:lnTo>
                        <a:pt x="4" y="8"/>
                      </a:lnTo>
                      <a:lnTo>
                        <a:pt x="204" y="8"/>
                      </a:lnTo>
                      <a:lnTo>
                        <a:pt x="206" y="6"/>
                      </a:lnTo>
                      <a:lnTo>
                        <a:pt x="208" y="4"/>
                      </a:lnTo>
                      <a:lnTo>
                        <a:pt x="206" y="2"/>
                      </a:lnTo>
                      <a:lnTo>
                        <a:pt x="204" y="0"/>
                      </a:lnTo>
                      <a:lnTo>
                        <a:pt x="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38" name="Freeform 832">
                  <a:extLst>
                    <a:ext uri="{FF2B5EF4-FFF2-40B4-BE49-F238E27FC236}">
                      <a16:creationId xmlns:a16="http://schemas.microsoft.com/office/drawing/2014/main" id="{AF12CA32-C573-4032-A928-326A11F99B2B}"/>
                    </a:ext>
                  </a:extLst>
                </p:cNvPr>
                <p:cNvSpPr>
                  <a:spLocks/>
                </p:cNvSpPr>
                <p:nvPr/>
              </p:nvSpPr>
              <p:spPr bwMode="auto">
                <a:xfrm>
                  <a:off x="4757738" y="4924425"/>
                  <a:ext cx="1120775" cy="250825"/>
                </a:xfrm>
                <a:custGeom>
                  <a:avLst/>
                  <a:gdLst>
                    <a:gd name="T0" fmla="*/ 2147483646 w 706"/>
                    <a:gd name="T1" fmla="*/ 2147483646 h 158"/>
                    <a:gd name="T2" fmla="*/ 2147483646 w 706"/>
                    <a:gd name="T3" fmla="*/ 2147483646 h 158"/>
                    <a:gd name="T4" fmla="*/ 2147483646 w 706"/>
                    <a:gd name="T5" fmla="*/ 2147483646 h 158"/>
                    <a:gd name="T6" fmla="*/ 2147483646 w 706"/>
                    <a:gd name="T7" fmla="*/ 2147483646 h 158"/>
                    <a:gd name="T8" fmla="*/ 2147483646 w 706"/>
                    <a:gd name="T9" fmla="*/ 2147483646 h 158"/>
                    <a:gd name="T10" fmla="*/ 2147483646 w 706"/>
                    <a:gd name="T11" fmla="*/ 2147483646 h 158"/>
                    <a:gd name="T12" fmla="*/ 2147483646 w 706"/>
                    <a:gd name="T13" fmla="*/ 2147483646 h 158"/>
                    <a:gd name="T14" fmla="*/ 0 w 706"/>
                    <a:gd name="T15" fmla="*/ 0 h 158"/>
                    <a:gd name="T16" fmla="*/ 0 w 706"/>
                    <a:gd name="T17" fmla="*/ 0 h 158"/>
                    <a:gd name="T18" fmla="*/ 0 w 706"/>
                    <a:gd name="T19" fmla="*/ 2147483646 h 158"/>
                    <a:gd name="T20" fmla="*/ 2147483646 w 706"/>
                    <a:gd name="T21" fmla="*/ 2147483646 h 158"/>
                    <a:gd name="T22" fmla="*/ 2147483646 w 706"/>
                    <a:gd name="T23" fmla="*/ 2147483646 h 158"/>
                    <a:gd name="T24" fmla="*/ 2147483646 w 706"/>
                    <a:gd name="T25" fmla="*/ 2147483646 h 158"/>
                    <a:gd name="T26" fmla="*/ 2147483646 w 706"/>
                    <a:gd name="T27" fmla="*/ 2147483646 h 158"/>
                    <a:gd name="T28" fmla="*/ 2147483646 w 706"/>
                    <a:gd name="T29" fmla="*/ 2147483646 h 158"/>
                    <a:gd name="T30" fmla="*/ 2147483646 w 706"/>
                    <a:gd name="T31" fmla="*/ 2147483646 h 158"/>
                    <a:gd name="T32" fmla="*/ 2147483646 w 706"/>
                    <a:gd name="T33" fmla="*/ 2147483646 h 158"/>
                    <a:gd name="T34" fmla="*/ 2147483646 w 706"/>
                    <a:gd name="T35" fmla="*/ 2147483646 h 158"/>
                    <a:gd name="T36" fmla="*/ 2147483646 w 706"/>
                    <a:gd name="T37" fmla="*/ 2147483646 h 158"/>
                    <a:gd name="T38" fmla="*/ 2147483646 w 706"/>
                    <a:gd name="T39" fmla="*/ 2147483646 h 158"/>
                    <a:gd name="T40" fmla="*/ 2147483646 w 706"/>
                    <a:gd name="T41" fmla="*/ 0 h 158"/>
                    <a:gd name="T42" fmla="*/ 2147483646 w 706"/>
                    <a:gd name="T43" fmla="*/ 2147483646 h 158"/>
                    <a:gd name="T44" fmla="*/ 2147483646 w 706"/>
                    <a:gd name="T45" fmla="*/ 2147483646 h 15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06"/>
                    <a:gd name="T70" fmla="*/ 0 h 158"/>
                    <a:gd name="T71" fmla="*/ 706 w 706"/>
                    <a:gd name="T72" fmla="*/ 158 h 15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06" h="158">
                      <a:moveTo>
                        <a:pt x="502" y="118"/>
                      </a:moveTo>
                      <a:lnTo>
                        <a:pt x="502" y="118"/>
                      </a:lnTo>
                      <a:lnTo>
                        <a:pt x="496" y="116"/>
                      </a:lnTo>
                      <a:lnTo>
                        <a:pt x="208" y="116"/>
                      </a:lnTo>
                      <a:lnTo>
                        <a:pt x="202" y="118"/>
                      </a:lnTo>
                      <a:lnTo>
                        <a:pt x="170" y="150"/>
                      </a:lnTo>
                      <a:lnTo>
                        <a:pt x="0" y="0"/>
                      </a:lnTo>
                      <a:lnTo>
                        <a:pt x="0" y="8"/>
                      </a:lnTo>
                      <a:lnTo>
                        <a:pt x="172" y="158"/>
                      </a:lnTo>
                      <a:lnTo>
                        <a:pt x="204" y="128"/>
                      </a:lnTo>
                      <a:lnTo>
                        <a:pt x="208" y="124"/>
                      </a:lnTo>
                      <a:lnTo>
                        <a:pt x="496" y="124"/>
                      </a:lnTo>
                      <a:lnTo>
                        <a:pt x="500" y="128"/>
                      </a:lnTo>
                      <a:lnTo>
                        <a:pt x="532" y="158"/>
                      </a:lnTo>
                      <a:lnTo>
                        <a:pt x="706" y="8"/>
                      </a:lnTo>
                      <a:lnTo>
                        <a:pt x="706" y="0"/>
                      </a:lnTo>
                      <a:lnTo>
                        <a:pt x="534" y="150"/>
                      </a:lnTo>
                      <a:lnTo>
                        <a:pt x="502" y="118"/>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39" name="Freeform 833">
                  <a:extLst>
                    <a:ext uri="{FF2B5EF4-FFF2-40B4-BE49-F238E27FC236}">
                      <a16:creationId xmlns:a16="http://schemas.microsoft.com/office/drawing/2014/main" id="{9E9B9D79-E65E-41BE-871C-1764CF54BEDF}"/>
                    </a:ext>
                  </a:extLst>
                </p:cNvPr>
                <p:cNvSpPr>
                  <a:spLocks noEditPoints="1"/>
                </p:cNvSpPr>
                <p:nvPr/>
              </p:nvSpPr>
              <p:spPr bwMode="auto">
                <a:xfrm>
                  <a:off x="4564063" y="4206875"/>
                  <a:ext cx="1508125" cy="1450975"/>
                </a:xfrm>
                <a:custGeom>
                  <a:avLst/>
                  <a:gdLst>
                    <a:gd name="T0" fmla="*/ 2147483646 w 950"/>
                    <a:gd name="T1" fmla="*/ 2147483646 h 914"/>
                    <a:gd name="T2" fmla="*/ 2147483646 w 950"/>
                    <a:gd name="T3" fmla="*/ 2147483646 h 914"/>
                    <a:gd name="T4" fmla="*/ 2147483646 w 950"/>
                    <a:gd name="T5" fmla="*/ 2147483646 h 914"/>
                    <a:gd name="T6" fmla="*/ 2147483646 w 950"/>
                    <a:gd name="T7" fmla="*/ 2147483646 h 914"/>
                    <a:gd name="T8" fmla="*/ 2147483646 w 950"/>
                    <a:gd name="T9" fmla="*/ 2147483646 h 914"/>
                    <a:gd name="T10" fmla="*/ 2147483646 w 950"/>
                    <a:gd name="T11" fmla="*/ 2147483646 h 914"/>
                    <a:gd name="T12" fmla="*/ 2147483646 w 950"/>
                    <a:gd name="T13" fmla="*/ 2147483646 h 914"/>
                    <a:gd name="T14" fmla="*/ 2147483646 w 950"/>
                    <a:gd name="T15" fmla="*/ 2147483646 h 914"/>
                    <a:gd name="T16" fmla="*/ 2147483646 w 950"/>
                    <a:gd name="T17" fmla="*/ 2147483646 h 914"/>
                    <a:gd name="T18" fmla="*/ 2147483646 w 950"/>
                    <a:gd name="T19" fmla="*/ 2147483646 h 914"/>
                    <a:gd name="T20" fmla="*/ 2147483646 w 950"/>
                    <a:gd name="T21" fmla="*/ 2147483646 h 914"/>
                    <a:gd name="T22" fmla="*/ 2147483646 w 950"/>
                    <a:gd name="T23" fmla="*/ 2147483646 h 914"/>
                    <a:gd name="T24" fmla="*/ 2147483646 w 950"/>
                    <a:gd name="T25" fmla="*/ 2147483646 h 914"/>
                    <a:gd name="T26" fmla="*/ 2147483646 w 950"/>
                    <a:gd name="T27" fmla="*/ 2147483646 h 914"/>
                    <a:gd name="T28" fmla="*/ 2147483646 w 950"/>
                    <a:gd name="T29" fmla="*/ 2147483646 h 914"/>
                    <a:gd name="T30" fmla="*/ 2147483646 w 950"/>
                    <a:gd name="T31" fmla="*/ 2147483646 h 914"/>
                    <a:gd name="T32" fmla="*/ 2147483646 w 950"/>
                    <a:gd name="T33" fmla="*/ 2147483646 h 914"/>
                    <a:gd name="T34" fmla="*/ 2147483646 w 950"/>
                    <a:gd name="T35" fmla="*/ 2147483646 h 914"/>
                    <a:gd name="T36" fmla="*/ 2147483646 w 950"/>
                    <a:gd name="T37" fmla="*/ 2147483646 h 914"/>
                    <a:gd name="T38" fmla="*/ 2147483646 w 950"/>
                    <a:gd name="T39" fmla="*/ 2147483646 h 914"/>
                    <a:gd name="T40" fmla="*/ 2147483646 w 950"/>
                    <a:gd name="T41" fmla="*/ 2147483646 h 914"/>
                    <a:gd name="T42" fmla="*/ 2147483646 w 950"/>
                    <a:gd name="T43" fmla="*/ 2147483646 h 914"/>
                    <a:gd name="T44" fmla="*/ 2147483646 w 950"/>
                    <a:gd name="T45" fmla="*/ 2147483646 h 914"/>
                    <a:gd name="T46" fmla="*/ 2147483646 w 950"/>
                    <a:gd name="T47" fmla="*/ 2147483646 h 914"/>
                    <a:gd name="T48" fmla="*/ 2147483646 w 950"/>
                    <a:gd name="T49" fmla="*/ 2147483646 h 914"/>
                    <a:gd name="T50" fmla="*/ 2147483646 w 950"/>
                    <a:gd name="T51" fmla="*/ 2147483646 h 914"/>
                    <a:gd name="T52" fmla="*/ 2147483646 w 950"/>
                    <a:gd name="T53" fmla="*/ 2147483646 h 914"/>
                    <a:gd name="T54" fmla="*/ 2147483646 w 950"/>
                    <a:gd name="T55" fmla="*/ 2147483646 h 914"/>
                    <a:gd name="T56" fmla="*/ 2147483646 w 950"/>
                    <a:gd name="T57" fmla="*/ 2147483646 h 914"/>
                    <a:gd name="T58" fmla="*/ 2147483646 w 950"/>
                    <a:gd name="T59" fmla="*/ 2147483646 h 914"/>
                    <a:gd name="T60" fmla="*/ 2147483646 w 950"/>
                    <a:gd name="T61" fmla="*/ 2147483646 h 914"/>
                    <a:gd name="T62" fmla="*/ 2147483646 w 950"/>
                    <a:gd name="T63" fmla="*/ 2147483646 h 914"/>
                    <a:gd name="T64" fmla="*/ 2147483646 w 950"/>
                    <a:gd name="T65" fmla="*/ 2147483646 h 914"/>
                    <a:gd name="T66" fmla="*/ 2147483646 w 950"/>
                    <a:gd name="T67" fmla="*/ 2147483646 h 914"/>
                    <a:gd name="T68" fmla="*/ 2147483646 w 950"/>
                    <a:gd name="T69" fmla="*/ 2147483646 h 914"/>
                    <a:gd name="T70" fmla="*/ 2147483646 w 950"/>
                    <a:gd name="T71" fmla="*/ 2147483646 h 914"/>
                    <a:gd name="T72" fmla="*/ 2147483646 w 950"/>
                    <a:gd name="T73" fmla="*/ 0 h 914"/>
                    <a:gd name="T74" fmla="*/ 2147483646 w 950"/>
                    <a:gd name="T75" fmla="*/ 2147483646 h 914"/>
                    <a:gd name="T76" fmla="*/ 2147483646 w 950"/>
                    <a:gd name="T77" fmla="*/ 2147483646 h 914"/>
                    <a:gd name="T78" fmla="*/ 0 w 950"/>
                    <a:gd name="T79" fmla="*/ 2147483646 h 914"/>
                    <a:gd name="T80" fmla="*/ 0 w 950"/>
                    <a:gd name="T81" fmla="*/ 2147483646 h 914"/>
                    <a:gd name="T82" fmla="*/ 2147483646 w 950"/>
                    <a:gd name="T83" fmla="*/ 2147483646 h 914"/>
                    <a:gd name="T84" fmla="*/ 2147483646 w 950"/>
                    <a:gd name="T85" fmla="*/ 2147483646 h 914"/>
                    <a:gd name="T86" fmla="*/ 2147483646 w 950"/>
                    <a:gd name="T87" fmla="*/ 2147483646 h 914"/>
                    <a:gd name="T88" fmla="*/ 2147483646 w 950"/>
                    <a:gd name="T89" fmla="*/ 2147483646 h 914"/>
                    <a:gd name="T90" fmla="*/ 2147483646 w 950"/>
                    <a:gd name="T91" fmla="*/ 2147483646 h 914"/>
                    <a:gd name="T92" fmla="*/ 2147483646 w 950"/>
                    <a:gd name="T93" fmla="*/ 2147483646 h 914"/>
                    <a:gd name="T94" fmla="*/ 2147483646 w 950"/>
                    <a:gd name="T95" fmla="*/ 2147483646 h 914"/>
                    <a:gd name="T96" fmla="*/ 2147483646 w 950"/>
                    <a:gd name="T97" fmla="*/ 2147483646 h 914"/>
                    <a:gd name="T98" fmla="*/ 2147483646 w 950"/>
                    <a:gd name="T99" fmla="*/ 2147483646 h 914"/>
                    <a:gd name="T100" fmla="*/ 2147483646 w 950"/>
                    <a:gd name="T101" fmla="*/ 2147483646 h 914"/>
                    <a:gd name="T102" fmla="*/ 2147483646 w 950"/>
                    <a:gd name="T103" fmla="*/ 2147483646 h 914"/>
                    <a:gd name="T104" fmla="*/ 2147483646 w 950"/>
                    <a:gd name="T105" fmla="*/ 2147483646 h 9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50"/>
                    <a:gd name="T160" fmla="*/ 0 h 914"/>
                    <a:gd name="T161" fmla="*/ 950 w 950"/>
                    <a:gd name="T162" fmla="*/ 914 h 9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50" h="914">
                      <a:moveTo>
                        <a:pt x="664" y="620"/>
                      </a:moveTo>
                      <a:lnTo>
                        <a:pt x="936" y="384"/>
                      </a:lnTo>
                      <a:lnTo>
                        <a:pt x="936" y="892"/>
                      </a:lnTo>
                      <a:lnTo>
                        <a:pt x="664" y="620"/>
                      </a:lnTo>
                      <a:close/>
                      <a:moveTo>
                        <a:pt x="14" y="384"/>
                      </a:moveTo>
                      <a:lnTo>
                        <a:pt x="284" y="620"/>
                      </a:lnTo>
                      <a:lnTo>
                        <a:pt x="14" y="892"/>
                      </a:lnTo>
                      <a:lnTo>
                        <a:pt x="14" y="384"/>
                      </a:lnTo>
                      <a:close/>
                      <a:moveTo>
                        <a:pt x="108" y="364"/>
                      </a:moveTo>
                      <a:lnTo>
                        <a:pt x="22" y="364"/>
                      </a:lnTo>
                      <a:lnTo>
                        <a:pt x="108" y="288"/>
                      </a:lnTo>
                      <a:lnTo>
                        <a:pt x="108" y="364"/>
                      </a:lnTo>
                      <a:close/>
                      <a:moveTo>
                        <a:pt x="108" y="448"/>
                      </a:moveTo>
                      <a:lnTo>
                        <a:pt x="22" y="372"/>
                      </a:lnTo>
                      <a:lnTo>
                        <a:pt x="108" y="372"/>
                      </a:lnTo>
                      <a:lnTo>
                        <a:pt x="108" y="448"/>
                      </a:lnTo>
                      <a:close/>
                      <a:moveTo>
                        <a:pt x="332" y="590"/>
                      </a:moveTo>
                      <a:lnTo>
                        <a:pt x="332" y="590"/>
                      </a:lnTo>
                      <a:lnTo>
                        <a:pt x="616" y="590"/>
                      </a:lnTo>
                      <a:lnTo>
                        <a:pt x="926" y="900"/>
                      </a:lnTo>
                      <a:lnTo>
                        <a:pt x="22" y="900"/>
                      </a:lnTo>
                      <a:lnTo>
                        <a:pt x="332" y="590"/>
                      </a:lnTo>
                      <a:close/>
                      <a:moveTo>
                        <a:pt x="648" y="14"/>
                      </a:moveTo>
                      <a:lnTo>
                        <a:pt x="648" y="194"/>
                      </a:lnTo>
                      <a:lnTo>
                        <a:pt x="828" y="194"/>
                      </a:lnTo>
                      <a:lnTo>
                        <a:pt x="828" y="460"/>
                      </a:lnTo>
                      <a:lnTo>
                        <a:pt x="654" y="610"/>
                      </a:lnTo>
                      <a:lnTo>
                        <a:pt x="622" y="580"/>
                      </a:lnTo>
                      <a:lnTo>
                        <a:pt x="618" y="576"/>
                      </a:lnTo>
                      <a:lnTo>
                        <a:pt x="330" y="576"/>
                      </a:lnTo>
                      <a:lnTo>
                        <a:pt x="326" y="580"/>
                      </a:lnTo>
                      <a:lnTo>
                        <a:pt x="294" y="610"/>
                      </a:lnTo>
                      <a:lnTo>
                        <a:pt x="122" y="460"/>
                      </a:lnTo>
                      <a:lnTo>
                        <a:pt x="122" y="14"/>
                      </a:lnTo>
                      <a:lnTo>
                        <a:pt x="648" y="14"/>
                      </a:lnTo>
                      <a:close/>
                      <a:moveTo>
                        <a:pt x="926" y="364"/>
                      </a:moveTo>
                      <a:lnTo>
                        <a:pt x="842" y="364"/>
                      </a:lnTo>
                      <a:lnTo>
                        <a:pt x="842" y="288"/>
                      </a:lnTo>
                      <a:lnTo>
                        <a:pt x="926" y="364"/>
                      </a:lnTo>
                      <a:close/>
                      <a:moveTo>
                        <a:pt x="842" y="372"/>
                      </a:moveTo>
                      <a:lnTo>
                        <a:pt x="926" y="372"/>
                      </a:lnTo>
                      <a:lnTo>
                        <a:pt x="842" y="448"/>
                      </a:lnTo>
                      <a:lnTo>
                        <a:pt x="842" y="372"/>
                      </a:lnTo>
                      <a:close/>
                      <a:moveTo>
                        <a:pt x="662" y="24"/>
                      </a:moveTo>
                      <a:lnTo>
                        <a:pt x="662" y="24"/>
                      </a:lnTo>
                      <a:lnTo>
                        <a:pt x="818" y="180"/>
                      </a:lnTo>
                      <a:lnTo>
                        <a:pt x="662" y="180"/>
                      </a:lnTo>
                      <a:lnTo>
                        <a:pt x="662" y="24"/>
                      </a:lnTo>
                      <a:close/>
                      <a:moveTo>
                        <a:pt x="950" y="368"/>
                      </a:moveTo>
                      <a:lnTo>
                        <a:pt x="950" y="368"/>
                      </a:lnTo>
                      <a:lnTo>
                        <a:pt x="948" y="366"/>
                      </a:lnTo>
                      <a:lnTo>
                        <a:pt x="946" y="362"/>
                      </a:lnTo>
                      <a:lnTo>
                        <a:pt x="842" y="270"/>
                      </a:lnTo>
                      <a:lnTo>
                        <a:pt x="842" y="186"/>
                      </a:lnTo>
                      <a:lnTo>
                        <a:pt x="656" y="0"/>
                      </a:lnTo>
                      <a:lnTo>
                        <a:pt x="654" y="0"/>
                      </a:lnTo>
                      <a:lnTo>
                        <a:pt x="108" y="0"/>
                      </a:lnTo>
                      <a:lnTo>
                        <a:pt x="108" y="270"/>
                      </a:lnTo>
                      <a:lnTo>
                        <a:pt x="2" y="362"/>
                      </a:lnTo>
                      <a:lnTo>
                        <a:pt x="0" y="366"/>
                      </a:lnTo>
                      <a:lnTo>
                        <a:pt x="0" y="368"/>
                      </a:lnTo>
                      <a:lnTo>
                        <a:pt x="0" y="894"/>
                      </a:lnTo>
                      <a:lnTo>
                        <a:pt x="2" y="902"/>
                      </a:lnTo>
                      <a:lnTo>
                        <a:pt x="2" y="904"/>
                      </a:lnTo>
                      <a:lnTo>
                        <a:pt x="6" y="908"/>
                      </a:lnTo>
                      <a:lnTo>
                        <a:pt x="10" y="912"/>
                      </a:lnTo>
                      <a:lnTo>
                        <a:pt x="12" y="912"/>
                      </a:lnTo>
                      <a:lnTo>
                        <a:pt x="20" y="914"/>
                      </a:lnTo>
                      <a:lnTo>
                        <a:pt x="928" y="914"/>
                      </a:lnTo>
                      <a:lnTo>
                        <a:pt x="936" y="912"/>
                      </a:lnTo>
                      <a:lnTo>
                        <a:pt x="938" y="912"/>
                      </a:lnTo>
                      <a:lnTo>
                        <a:pt x="942" y="908"/>
                      </a:lnTo>
                      <a:lnTo>
                        <a:pt x="946" y="904"/>
                      </a:lnTo>
                      <a:lnTo>
                        <a:pt x="946" y="902"/>
                      </a:lnTo>
                      <a:lnTo>
                        <a:pt x="950" y="894"/>
                      </a:lnTo>
                      <a:lnTo>
                        <a:pt x="950" y="3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40" name="Freeform 834">
                  <a:extLst>
                    <a:ext uri="{FF2B5EF4-FFF2-40B4-BE49-F238E27FC236}">
                      <a16:creationId xmlns:a16="http://schemas.microsoft.com/office/drawing/2014/main" id="{50BC16E0-4113-4158-910B-373C8B8951D3}"/>
                    </a:ext>
                  </a:extLst>
                </p:cNvPr>
                <p:cNvSpPr>
                  <a:spLocks/>
                </p:cNvSpPr>
                <p:nvPr/>
              </p:nvSpPr>
              <p:spPr bwMode="auto">
                <a:xfrm>
                  <a:off x="4586288" y="5102225"/>
                  <a:ext cx="428625" cy="520700"/>
                </a:xfrm>
                <a:custGeom>
                  <a:avLst/>
                  <a:gdLst>
                    <a:gd name="T0" fmla="*/ 0 w 270"/>
                    <a:gd name="T1" fmla="*/ 2147483646 h 328"/>
                    <a:gd name="T2" fmla="*/ 2147483646 w 270"/>
                    <a:gd name="T3" fmla="*/ 2147483646 h 328"/>
                    <a:gd name="T4" fmla="*/ 2147483646 w 270"/>
                    <a:gd name="T5" fmla="*/ 0 h 328"/>
                    <a:gd name="T6" fmla="*/ 0 w 270"/>
                    <a:gd name="T7" fmla="*/ 2147483646 h 328"/>
                    <a:gd name="T8" fmla="*/ 0 w 270"/>
                    <a:gd name="T9" fmla="*/ 2147483646 h 328"/>
                    <a:gd name="T10" fmla="*/ 0 w 270"/>
                    <a:gd name="T11" fmla="*/ 2147483646 h 328"/>
                    <a:gd name="T12" fmla="*/ 0 w 270"/>
                    <a:gd name="T13" fmla="*/ 2147483646 h 328"/>
                    <a:gd name="T14" fmla="*/ 0 60000 65536"/>
                    <a:gd name="T15" fmla="*/ 0 60000 65536"/>
                    <a:gd name="T16" fmla="*/ 0 60000 65536"/>
                    <a:gd name="T17" fmla="*/ 0 60000 65536"/>
                    <a:gd name="T18" fmla="*/ 0 60000 65536"/>
                    <a:gd name="T19" fmla="*/ 0 60000 65536"/>
                    <a:gd name="T20" fmla="*/ 0 60000 65536"/>
                    <a:gd name="T21" fmla="*/ 0 w 270"/>
                    <a:gd name="T22" fmla="*/ 0 h 328"/>
                    <a:gd name="T23" fmla="*/ 270 w 270"/>
                    <a:gd name="T24" fmla="*/ 328 h 3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0" h="328">
                      <a:moveTo>
                        <a:pt x="0" y="328"/>
                      </a:moveTo>
                      <a:lnTo>
                        <a:pt x="270" y="56"/>
                      </a:lnTo>
                      <a:lnTo>
                        <a:pt x="206" y="0"/>
                      </a:lnTo>
                      <a:lnTo>
                        <a:pt x="0" y="316"/>
                      </a:lnTo>
                      <a:lnTo>
                        <a:pt x="0" y="328"/>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41" name="Freeform 835">
                  <a:extLst>
                    <a:ext uri="{FF2B5EF4-FFF2-40B4-BE49-F238E27FC236}">
                      <a16:creationId xmlns:a16="http://schemas.microsoft.com/office/drawing/2014/main" id="{D44CD7B9-B2B4-4059-A636-16AB8863806C}"/>
                    </a:ext>
                  </a:extLst>
                </p:cNvPr>
                <p:cNvSpPr>
                  <a:spLocks/>
                </p:cNvSpPr>
                <p:nvPr/>
              </p:nvSpPr>
              <p:spPr bwMode="auto">
                <a:xfrm>
                  <a:off x="5618163" y="5105400"/>
                  <a:ext cx="431800" cy="517525"/>
                </a:xfrm>
                <a:custGeom>
                  <a:avLst/>
                  <a:gdLst>
                    <a:gd name="T0" fmla="*/ 0 w 272"/>
                    <a:gd name="T1" fmla="*/ 2147483646 h 326"/>
                    <a:gd name="T2" fmla="*/ 2147483646 w 272"/>
                    <a:gd name="T3" fmla="*/ 2147483646 h 326"/>
                    <a:gd name="T4" fmla="*/ 2147483646 w 272"/>
                    <a:gd name="T5" fmla="*/ 2147483646 h 326"/>
                    <a:gd name="T6" fmla="*/ 2147483646 w 272"/>
                    <a:gd name="T7" fmla="*/ 2147483646 h 326"/>
                    <a:gd name="T8" fmla="*/ 2147483646 w 272"/>
                    <a:gd name="T9" fmla="*/ 0 h 326"/>
                    <a:gd name="T10" fmla="*/ 0 w 272"/>
                    <a:gd name="T11" fmla="*/ 2147483646 h 326"/>
                    <a:gd name="T12" fmla="*/ 0 60000 65536"/>
                    <a:gd name="T13" fmla="*/ 0 60000 65536"/>
                    <a:gd name="T14" fmla="*/ 0 60000 65536"/>
                    <a:gd name="T15" fmla="*/ 0 60000 65536"/>
                    <a:gd name="T16" fmla="*/ 0 60000 65536"/>
                    <a:gd name="T17" fmla="*/ 0 60000 65536"/>
                    <a:gd name="T18" fmla="*/ 0 w 272"/>
                    <a:gd name="T19" fmla="*/ 0 h 326"/>
                    <a:gd name="T20" fmla="*/ 272 w 272"/>
                    <a:gd name="T21" fmla="*/ 326 h 326"/>
                  </a:gdLst>
                  <a:ahLst/>
                  <a:cxnLst>
                    <a:cxn ang="T12">
                      <a:pos x="T0" y="T1"/>
                    </a:cxn>
                    <a:cxn ang="T13">
                      <a:pos x="T2" y="T3"/>
                    </a:cxn>
                    <a:cxn ang="T14">
                      <a:pos x="T4" y="T5"/>
                    </a:cxn>
                    <a:cxn ang="T15">
                      <a:pos x="T6" y="T7"/>
                    </a:cxn>
                    <a:cxn ang="T16">
                      <a:pos x="T8" y="T9"/>
                    </a:cxn>
                    <a:cxn ang="T17">
                      <a:pos x="T10" y="T11"/>
                    </a:cxn>
                  </a:cxnLst>
                  <a:rect l="T18" t="T19" r="T20" b="T21"/>
                  <a:pathLst>
                    <a:path w="272" h="326">
                      <a:moveTo>
                        <a:pt x="0" y="54"/>
                      </a:moveTo>
                      <a:lnTo>
                        <a:pt x="272" y="326"/>
                      </a:lnTo>
                      <a:lnTo>
                        <a:pt x="272" y="318"/>
                      </a:lnTo>
                      <a:lnTo>
                        <a:pt x="62" y="0"/>
                      </a:lnTo>
                      <a:lnTo>
                        <a:pt x="0" y="54"/>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42" name="Freeform 836">
                  <a:extLst>
                    <a:ext uri="{FF2B5EF4-FFF2-40B4-BE49-F238E27FC236}">
                      <a16:creationId xmlns:a16="http://schemas.microsoft.com/office/drawing/2014/main" id="{6021020B-3F3B-45E9-A16B-902B42C3916B}"/>
                    </a:ext>
                  </a:extLst>
                </p:cNvPr>
                <p:cNvSpPr>
                  <a:spLocks/>
                </p:cNvSpPr>
                <p:nvPr/>
              </p:nvSpPr>
              <p:spPr bwMode="auto">
                <a:xfrm>
                  <a:off x="5040313" y="5143500"/>
                  <a:ext cx="955675" cy="454025"/>
                </a:xfrm>
                <a:custGeom>
                  <a:avLst/>
                  <a:gdLst>
                    <a:gd name="T0" fmla="*/ 2147483646 w 602"/>
                    <a:gd name="T1" fmla="*/ 2147483646 h 286"/>
                    <a:gd name="T2" fmla="*/ 2147483646 w 602"/>
                    <a:gd name="T3" fmla="*/ 2147483646 h 286"/>
                    <a:gd name="T4" fmla="*/ 2147483646 w 602"/>
                    <a:gd name="T5" fmla="*/ 2147483646 h 286"/>
                    <a:gd name="T6" fmla="*/ 2147483646 w 602"/>
                    <a:gd name="T7" fmla="*/ 0 h 286"/>
                    <a:gd name="T8" fmla="*/ 2147483646 w 602"/>
                    <a:gd name="T9" fmla="*/ 0 h 286"/>
                    <a:gd name="T10" fmla="*/ 2147483646 w 602"/>
                    <a:gd name="T11" fmla="*/ 0 h 286"/>
                    <a:gd name="T12" fmla="*/ 2147483646 w 602"/>
                    <a:gd name="T13" fmla="*/ 0 h 286"/>
                    <a:gd name="T14" fmla="*/ 0 w 602"/>
                    <a:gd name="T15" fmla="*/ 2147483646 h 286"/>
                    <a:gd name="T16" fmla="*/ 2147483646 w 602"/>
                    <a:gd name="T17" fmla="*/ 2147483646 h 286"/>
                    <a:gd name="T18" fmla="*/ 2147483646 w 602"/>
                    <a:gd name="T19" fmla="*/ 2147483646 h 2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2"/>
                    <a:gd name="T31" fmla="*/ 0 h 286"/>
                    <a:gd name="T32" fmla="*/ 602 w 602"/>
                    <a:gd name="T33" fmla="*/ 286 h 28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2" h="286">
                      <a:moveTo>
                        <a:pt x="600" y="286"/>
                      </a:moveTo>
                      <a:lnTo>
                        <a:pt x="602" y="286"/>
                      </a:lnTo>
                      <a:lnTo>
                        <a:pt x="316" y="0"/>
                      </a:lnTo>
                      <a:lnTo>
                        <a:pt x="32" y="0"/>
                      </a:lnTo>
                      <a:lnTo>
                        <a:pt x="0" y="34"/>
                      </a:lnTo>
                      <a:lnTo>
                        <a:pt x="314" y="34"/>
                      </a:lnTo>
                      <a:lnTo>
                        <a:pt x="600" y="2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87204" name="그룹 795">
                <a:extLst>
                  <a:ext uri="{FF2B5EF4-FFF2-40B4-BE49-F238E27FC236}">
                    <a16:creationId xmlns:a16="http://schemas.microsoft.com/office/drawing/2014/main" id="{42E5C69D-5E47-4AD8-9FE0-6F68FB6B9452}"/>
                  </a:ext>
                </a:extLst>
              </p:cNvPr>
              <p:cNvGrpSpPr>
                <a:grpSpLocks/>
              </p:cNvGrpSpPr>
              <p:nvPr/>
            </p:nvGrpSpPr>
            <p:grpSpPr bwMode="auto">
              <a:xfrm>
                <a:off x="8757033" y="2507331"/>
                <a:ext cx="87706" cy="82068"/>
                <a:chOff x="6429388" y="3071810"/>
                <a:chExt cx="450850" cy="436562"/>
              </a:xfrm>
            </p:grpSpPr>
            <p:sp>
              <p:nvSpPr>
                <p:cNvPr id="87205" name="Freeform 874">
                  <a:extLst>
                    <a:ext uri="{FF2B5EF4-FFF2-40B4-BE49-F238E27FC236}">
                      <a16:creationId xmlns:a16="http://schemas.microsoft.com/office/drawing/2014/main" id="{019154DD-0524-45F9-B812-92B982CFB6C2}"/>
                    </a:ext>
                  </a:extLst>
                </p:cNvPr>
                <p:cNvSpPr>
                  <a:spLocks/>
                </p:cNvSpPr>
                <p:nvPr/>
              </p:nvSpPr>
              <p:spPr bwMode="auto">
                <a:xfrm>
                  <a:off x="6429388" y="3071810"/>
                  <a:ext cx="450850" cy="436562"/>
                </a:xfrm>
                <a:custGeom>
                  <a:avLst/>
                  <a:gdLst>
                    <a:gd name="T0" fmla="*/ 2147483646 w 568"/>
                    <a:gd name="T1" fmla="*/ 2147483646 h 550"/>
                    <a:gd name="T2" fmla="*/ 2147483646 w 568"/>
                    <a:gd name="T3" fmla="*/ 2147483646 h 550"/>
                    <a:gd name="T4" fmla="*/ 2147483646 w 568"/>
                    <a:gd name="T5" fmla="*/ 2147483646 h 550"/>
                    <a:gd name="T6" fmla="*/ 2147483646 w 568"/>
                    <a:gd name="T7" fmla="*/ 2147483646 h 550"/>
                    <a:gd name="T8" fmla="*/ 2147483646 w 568"/>
                    <a:gd name="T9" fmla="*/ 2147483646 h 550"/>
                    <a:gd name="T10" fmla="*/ 2147483646 w 568"/>
                    <a:gd name="T11" fmla="*/ 2147483646 h 550"/>
                    <a:gd name="T12" fmla="*/ 2147483646 w 568"/>
                    <a:gd name="T13" fmla="*/ 2147483646 h 550"/>
                    <a:gd name="T14" fmla="*/ 2147483646 w 568"/>
                    <a:gd name="T15" fmla="*/ 2147483646 h 550"/>
                    <a:gd name="T16" fmla="*/ 2147483646 w 568"/>
                    <a:gd name="T17" fmla="*/ 2147483646 h 550"/>
                    <a:gd name="T18" fmla="*/ 2147483646 w 568"/>
                    <a:gd name="T19" fmla="*/ 2147483646 h 550"/>
                    <a:gd name="T20" fmla="*/ 2147483646 w 568"/>
                    <a:gd name="T21" fmla="*/ 2147483646 h 550"/>
                    <a:gd name="T22" fmla="*/ 2147483646 w 568"/>
                    <a:gd name="T23" fmla="*/ 0 h 550"/>
                    <a:gd name="T24" fmla="*/ 2147483646 w 568"/>
                    <a:gd name="T25" fmla="*/ 2147483646 h 550"/>
                    <a:gd name="T26" fmla="*/ 2147483646 w 568"/>
                    <a:gd name="T27" fmla="*/ 2147483646 h 550"/>
                    <a:gd name="T28" fmla="*/ 2147483646 w 568"/>
                    <a:gd name="T29" fmla="*/ 2147483646 h 550"/>
                    <a:gd name="T30" fmla="*/ 2147483646 w 568"/>
                    <a:gd name="T31" fmla="*/ 2147483646 h 550"/>
                    <a:gd name="T32" fmla="*/ 0 w 568"/>
                    <a:gd name="T33" fmla="*/ 2147483646 h 550"/>
                    <a:gd name="T34" fmla="*/ 2147483646 w 568"/>
                    <a:gd name="T35" fmla="*/ 2147483646 h 550"/>
                    <a:gd name="T36" fmla="*/ 2147483646 w 568"/>
                    <a:gd name="T37" fmla="*/ 2147483646 h 550"/>
                    <a:gd name="T38" fmla="*/ 2147483646 w 568"/>
                    <a:gd name="T39" fmla="*/ 2147483646 h 550"/>
                    <a:gd name="T40" fmla="*/ 2147483646 w 568"/>
                    <a:gd name="T41" fmla="*/ 2147483646 h 550"/>
                    <a:gd name="T42" fmla="*/ 2147483646 w 568"/>
                    <a:gd name="T43" fmla="*/ 2147483646 h 550"/>
                    <a:gd name="T44" fmla="*/ 2147483646 w 568"/>
                    <a:gd name="T45" fmla="*/ 2147483646 h 550"/>
                    <a:gd name="T46" fmla="*/ 2147483646 w 568"/>
                    <a:gd name="T47" fmla="*/ 2147483646 h 550"/>
                    <a:gd name="T48" fmla="*/ 2147483646 w 568"/>
                    <a:gd name="T49" fmla="*/ 2147483646 h 550"/>
                    <a:gd name="T50" fmla="*/ 2147483646 w 568"/>
                    <a:gd name="T51" fmla="*/ 2147483646 h 550"/>
                    <a:gd name="T52" fmla="*/ 2147483646 w 568"/>
                    <a:gd name="T53" fmla="*/ 2147483646 h 550"/>
                    <a:gd name="T54" fmla="*/ 2147483646 w 568"/>
                    <a:gd name="T55" fmla="*/ 2147483646 h 550"/>
                    <a:gd name="T56" fmla="*/ 2147483646 w 568"/>
                    <a:gd name="T57" fmla="*/ 2147483646 h 550"/>
                    <a:gd name="T58" fmla="*/ 2147483646 w 568"/>
                    <a:gd name="T59" fmla="*/ 2147483646 h 550"/>
                    <a:gd name="T60" fmla="*/ 2147483646 w 568"/>
                    <a:gd name="T61" fmla="*/ 2147483646 h 550"/>
                    <a:gd name="T62" fmla="*/ 2147483646 w 568"/>
                    <a:gd name="T63" fmla="*/ 2147483646 h 550"/>
                    <a:gd name="T64" fmla="*/ 2147483646 w 568"/>
                    <a:gd name="T65" fmla="*/ 2147483646 h 550"/>
                    <a:gd name="T66" fmla="*/ 2147483646 w 568"/>
                    <a:gd name="T67" fmla="*/ 2147483646 h 550"/>
                    <a:gd name="T68" fmla="*/ 2147483646 w 568"/>
                    <a:gd name="T69" fmla="*/ 2147483646 h 550"/>
                    <a:gd name="T70" fmla="*/ 2147483646 w 568"/>
                    <a:gd name="T71" fmla="*/ 2147483646 h 550"/>
                    <a:gd name="T72" fmla="*/ 2147483646 w 568"/>
                    <a:gd name="T73" fmla="*/ 2147483646 h 550"/>
                    <a:gd name="T74" fmla="*/ 2147483646 w 568"/>
                    <a:gd name="T75" fmla="*/ 2147483646 h 550"/>
                    <a:gd name="T76" fmla="*/ 2147483646 w 568"/>
                    <a:gd name="T77" fmla="*/ 2147483646 h 550"/>
                    <a:gd name="T78" fmla="*/ 2147483646 w 568"/>
                    <a:gd name="T79" fmla="*/ 2147483646 h 550"/>
                    <a:gd name="T80" fmla="*/ 2147483646 w 568"/>
                    <a:gd name="T81" fmla="*/ 2147483646 h 550"/>
                    <a:gd name="T82" fmla="*/ 2147483646 w 568"/>
                    <a:gd name="T83" fmla="*/ 2147483646 h 550"/>
                    <a:gd name="T84" fmla="*/ 2147483646 w 568"/>
                    <a:gd name="T85" fmla="*/ 2147483646 h 550"/>
                    <a:gd name="T86" fmla="*/ 2147483646 w 568"/>
                    <a:gd name="T87" fmla="*/ 2147483646 h 550"/>
                    <a:gd name="T88" fmla="*/ 2147483646 w 568"/>
                    <a:gd name="T89" fmla="*/ 2147483646 h 550"/>
                    <a:gd name="T90" fmla="*/ 2147483646 w 568"/>
                    <a:gd name="T91" fmla="*/ 2147483646 h 550"/>
                    <a:gd name="T92" fmla="*/ 2147483646 w 568"/>
                    <a:gd name="T93" fmla="*/ 2147483646 h 550"/>
                    <a:gd name="T94" fmla="*/ 2147483646 w 568"/>
                    <a:gd name="T95" fmla="*/ 2147483646 h 550"/>
                    <a:gd name="T96" fmla="*/ 2147483646 w 568"/>
                    <a:gd name="T97" fmla="*/ 2147483646 h 550"/>
                    <a:gd name="T98" fmla="*/ 2147483646 w 568"/>
                    <a:gd name="T99" fmla="*/ 2147483646 h 550"/>
                    <a:gd name="T100" fmla="*/ 2147483646 w 568"/>
                    <a:gd name="T101" fmla="*/ 2147483646 h 550"/>
                    <a:gd name="T102" fmla="*/ 2147483646 w 568"/>
                    <a:gd name="T103" fmla="*/ 2147483646 h 550"/>
                    <a:gd name="T104" fmla="*/ 2147483646 w 568"/>
                    <a:gd name="T105" fmla="*/ 2147483646 h 550"/>
                    <a:gd name="T106" fmla="*/ 2147483646 w 568"/>
                    <a:gd name="T107" fmla="*/ 2147483646 h 550"/>
                    <a:gd name="T108" fmla="*/ 2147483646 w 568"/>
                    <a:gd name="T109" fmla="*/ 2147483646 h 5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68"/>
                    <a:gd name="T166" fmla="*/ 0 h 550"/>
                    <a:gd name="T167" fmla="*/ 568 w 568"/>
                    <a:gd name="T168" fmla="*/ 550 h 55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68" h="550">
                      <a:moveTo>
                        <a:pt x="311" y="388"/>
                      </a:moveTo>
                      <a:lnTo>
                        <a:pt x="319" y="380"/>
                      </a:lnTo>
                      <a:lnTo>
                        <a:pt x="327" y="370"/>
                      </a:lnTo>
                      <a:lnTo>
                        <a:pt x="334" y="360"/>
                      </a:lnTo>
                      <a:lnTo>
                        <a:pt x="341" y="347"/>
                      </a:lnTo>
                      <a:lnTo>
                        <a:pt x="341" y="351"/>
                      </a:lnTo>
                      <a:lnTo>
                        <a:pt x="341" y="353"/>
                      </a:lnTo>
                      <a:lnTo>
                        <a:pt x="341" y="357"/>
                      </a:lnTo>
                      <a:lnTo>
                        <a:pt x="341" y="359"/>
                      </a:lnTo>
                      <a:lnTo>
                        <a:pt x="342" y="368"/>
                      </a:lnTo>
                      <a:lnTo>
                        <a:pt x="345" y="377"/>
                      </a:lnTo>
                      <a:lnTo>
                        <a:pt x="350" y="388"/>
                      </a:lnTo>
                      <a:lnTo>
                        <a:pt x="358" y="397"/>
                      </a:lnTo>
                      <a:lnTo>
                        <a:pt x="363" y="402"/>
                      </a:lnTo>
                      <a:lnTo>
                        <a:pt x="367" y="405"/>
                      </a:lnTo>
                      <a:lnTo>
                        <a:pt x="373" y="408"/>
                      </a:lnTo>
                      <a:lnTo>
                        <a:pt x="379" y="411"/>
                      </a:lnTo>
                      <a:lnTo>
                        <a:pt x="386" y="413"/>
                      </a:lnTo>
                      <a:lnTo>
                        <a:pt x="393" y="414"/>
                      </a:lnTo>
                      <a:lnTo>
                        <a:pt x="400" y="415"/>
                      </a:lnTo>
                      <a:lnTo>
                        <a:pt x="408" y="415"/>
                      </a:lnTo>
                      <a:lnTo>
                        <a:pt x="423" y="414"/>
                      </a:lnTo>
                      <a:lnTo>
                        <a:pt x="438" y="412"/>
                      </a:lnTo>
                      <a:lnTo>
                        <a:pt x="453" y="407"/>
                      </a:lnTo>
                      <a:lnTo>
                        <a:pt x="466" y="400"/>
                      </a:lnTo>
                      <a:lnTo>
                        <a:pt x="480" y="392"/>
                      </a:lnTo>
                      <a:lnTo>
                        <a:pt x="493" y="383"/>
                      </a:lnTo>
                      <a:lnTo>
                        <a:pt x="506" y="372"/>
                      </a:lnTo>
                      <a:lnTo>
                        <a:pt x="518" y="358"/>
                      </a:lnTo>
                      <a:lnTo>
                        <a:pt x="530" y="343"/>
                      </a:lnTo>
                      <a:lnTo>
                        <a:pt x="540" y="328"/>
                      </a:lnTo>
                      <a:lnTo>
                        <a:pt x="548" y="312"/>
                      </a:lnTo>
                      <a:lnTo>
                        <a:pt x="555" y="294"/>
                      </a:lnTo>
                      <a:lnTo>
                        <a:pt x="561" y="277"/>
                      </a:lnTo>
                      <a:lnTo>
                        <a:pt x="564" y="259"/>
                      </a:lnTo>
                      <a:lnTo>
                        <a:pt x="567" y="240"/>
                      </a:lnTo>
                      <a:lnTo>
                        <a:pt x="568" y="221"/>
                      </a:lnTo>
                      <a:lnTo>
                        <a:pt x="567" y="195"/>
                      </a:lnTo>
                      <a:lnTo>
                        <a:pt x="563" y="172"/>
                      </a:lnTo>
                      <a:lnTo>
                        <a:pt x="556" y="150"/>
                      </a:lnTo>
                      <a:lnTo>
                        <a:pt x="548" y="129"/>
                      </a:lnTo>
                      <a:lnTo>
                        <a:pt x="538" y="109"/>
                      </a:lnTo>
                      <a:lnTo>
                        <a:pt x="524" y="91"/>
                      </a:lnTo>
                      <a:lnTo>
                        <a:pt x="509" y="74"/>
                      </a:lnTo>
                      <a:lnTo>
                        <a:pt x="491" y="58"/>
                      </a:lnTo>
                      <a:lnTo>
                        <a:pt x="481" y="51"/>
                      </a:lnTo>
                      <a:lnTo>
                        <a:pt x="472" y="44"/>
                      </a:lnTo>
                      <a:lnTo>
                        <a:pt x="462" y="39"/>
                      </a:lnTo>
                      <a:lnTo>
                        <a:pt x="451" y="33"/>
                      </a:lnTo>
                      <a:lnTo>
                        <a:pt x="441" y="27"/>
                      </a:lnTo>
                      <a:lnTo>
                        <a:pt x="431" y="23"/>
                      </a:lnTo>
                      <a:lnTo>
                        <a:pt x="419" y="18"/>
                      </a:lnTo>
                      <a:lnTo>
                        <a:pt x="409" y="15"/>
                      </a:lnTo>
                      <a:lnTo>
                        <a:pt x="397" y="11"/>
                      </a:lnTo>
                      <a:lnTo>
                        <a:pt x="385" y="8"/>
                      </a:lnTo>
                      <a:lnTo>
                        <a:pt x="372" y="5"/>
                      </a:lnTo>
                      <a:lnTo>
                        <a:pt x="360" y="3"/>
                      </a:lnTo>
                      <a:lnTo>
                        <a:pt x="347" y="2"/>
                      </a:lnTo>
                      <a:lnTo>
                        <a:pt x="334" y="1"/>
                      </a:lnTo>
                      <a:lnTo>
                        <a:pt x="320" y="0"/>
                      </a:lnTo>
                      <a:lnTo>
                        <a:pt x="306" y="0"/>
                      </a:lnTo>
                      <a:lnTo>
                        <a:pt x="289" y="0"/>
                      </a:lnTo>
                      <a:lnTo>
                        <a:pt x="273" y="1"/>
                      </a:lnTo>
                      <a:lnTo>
                        <a:pt x="257" y="3"/>
                      </a:lnTo>
                      <a:lnTo>
                        <a:pt x="242" y="5"/>
                      </a:lnTo>
                      <a:lnTo>
                        <a:pt x="226" y="8"/>
                      </a:lnTo>
                      <a:lnTo>
                        <a:pt x="211" y="11"/>
                      </a:lnTo>
                      <a:lnTo>
                        <a:pt x="197" y="16"/>
                      </a:lnTo>
                      <a:lnTo>
                        <a:pt x="183" y="21"/>
                      </a:lnTo>
                      <a:lnTo>
                        <a:pt x="169" y="27"/>
                      </a:lnTo>
                      <a:lnTo>
                        <a:pt x="155" y="33"/>
                      </a:lnTo>
                      <a:lnTo>
                        <a:pt x="143" y="40"/>
                      </a:lnTo>
                      <a:lnTo>
                        <a:pt x="130" y="48"/>
                      </a:lnTo>
                      <a:lnTo>
                        <a:pt x="117" y="56"/>
                      </a:lnTo>
                      <a:lnTo>
                        <a:pt x="106" y="65"/>
                      </a:lnTo>
                      <a:lnTo>
                        <a:pt x="94" y="74"/>
                      </a:lnTo>
                      <a:lnTo>
                        <a:pt x="83" y="85"/>
                      </a:lnTo>
                      <a:lnTo>
                        <a:pt x="63" y="106"/>
                      </a:lnTo>
                      <a:lnTo>
                        <a:pt x="47" y="127"/>
                      </a:lnTo>
                      <a:lnTo>
                        <a:pt x="32" y="149"/>
                      </a:lnTo>
                      <a:lnTo>
                        <a:pt x="21" y="173"/>
                      </a:lnTo>
                      <a:lnTo>
                        <a:pt x="11" y="199"/>
                      </a:lnTo>
                      <a:lnTo>
                        <a:pt x="6" y="225"/>
                      </a:lnTo>
                      <a:lnTo>
                        <a:pt x="1" y="252"/>
                      </a:lnTo>
                      <a:lnTo>
                        <a:pt x="0" y="281"/>
                      </a:lnTo>
                      <a:lnTo>
                        <a:pt x="1" y="306"/>
                      </a:lnTo>
                      <a:lnTo>
                        <a:pt x="4" y="330"/>
                      </a:lnTo>
                      <a:lnTo>
                        <a:pt x="9" y="354"/>
                      </a:lnTo>
                      <a:lnTo>
                        <a:pt x="16" y="376"/>
                      </a:lnTo>
                      <a:lnTo>
                        <a:pt x="26" y="398"/>
                      </a:lnTo>
                      <a:lnTo>
                        <a:pt x="37" y="420"/>
                      </a:lnTo>
                      <a:lnTo>
                        <a:pt x="50" y="440"/>
                      </a:lnTo>
                      <a:lnTo>
                        <a:pt x="67" y="459"/>
                      </a:lnTo>
                      <a:lnTo>
                        <a:pt x="77" y="471"/>
                      </a:lnTo>
                      <a:lnTo>
                        <a:pt x="87" y="481"/>
                      </a:lnTo>
                      <a:lnTo>
                        <a:pt x="99" y="490"/>
                      </a:lnTo>
                      <a:lnTo>
                        <a:pt x="110" y="499"/>
                      </a:lnTo>
                      <a:lnTo>
                        <a:pt x="123" y="507"/>
                      </a:lnTo>
                      <a:lnTo>
                        <a:pt x="136" y="514"/>
                      </a:lnTo>
                      <a:lnTo>
                        <a:pt x="150" y="521"/>
                      </a:lnTo>
                      <a:lnTo>
                        <a:pt x="163" y="527"/>
                      </a:lnTo>
                      <a:lnTo>
                        <a:pt x="177" y="533"/>
                      </a:lnTo>
                      <a:lnTo>
                        <a:pt x="192" y="537"/>
                      </a:lnTo>
                      <a:lnTo>
                        <a:pt x="208" y="541"/>
                      </a:lnTo>
                      <a:lnTo>
                        <a:pt x="223" y="544"/>
                      </a:lnTo>
                      <a:lnTo>
                        <a:pt x="241" y="547"/>
                      </a:lnTo>
                      <a:lnTo>
                        <a:pt x="257" y="549"/>
                      </a:lnTo>
                      <a:lnTo>
                        <a:pt x="274" y="550"/>
                      </a:lnTo>
                      <a:lnTo>
                        <a:pt x="292" y="550"/>
                      </a:lnTo>
                      <a:lnTo>
                        <a:pt x="309" y="550"/>
                      </a:lnTo>
                      <a:lnTo>
                        <a:pt x="324" y="549"/>
                      </a:lnTo>
                      <a:lnTo>
                        <a:pt x="340" y="547"/>
                      </a:lnTo>
                      <a:lnTo>
                        <a:pt x="355" y="544"/>
                      </a:lnTo>
                      <a:lnTo>
                        <a:pt x="370" y="542"/>
                      </a:lnTo>
                      <a:lnTo>
                        <a:pt x="385" y="539"/>
                      </a:lnTo>
                      <a:lnTo>
                        <a:pt x="400" y="534"/>
                      </a:lnTo>
                      <a:lnTo>
                        <a:pt x="413" y="529"/>
                      </a:lnTo>
                      <a:lnTo>
                        <a:pt x="428" y="525"/>
                      </a:lnTo>
                      <a:lnTo>
                        <a:pt x="442" y="519"/>
                      </a:lnTo>
                      <a:lnTo>
                        <a:pt x="456" y="512"/>
                      </a:lnTo>
                      <a:lnTo>
                        <a:pt x="470" y="505"/>
                      </a:lnTo>
                      <a:lnTo>
                        <a:pt x="484" y="497"/>
                      </a:lnTo>
                      <a:lnTo>
                        <a:pt x="497" y="489"/>
                      </a:lnTo>
                      <a:lnTo>
                        <a:pt x="510" y="480"/>
                      </a:lnTo>
                      <a:lnTo>
                        <a:pt x="523" y="471"/>
                      </a:lnTo>
                      <a:lnTo>
                        <a:pt x="496" y="431"/>
                      </a:lnTo>
                      <a:lnTo>
                        <a:pt x="488" y="437"/>
                      </a:lnTo>
                      <a:lnTo>
                        <a:pt x="480" y="443"/>
                      </a:lnTo>
                      <a:lnTo>
                        <a:pt x="471" y="449"/>
                      </a:lnTo>
                      <a:lnTo>
                        <a:pt x="463" y="453"/>
                      </a:lnTo>
                      <a:lnTo>
                        <a:pt x="455" y="459"/>
                      </a:lnTo>
                      <a:lnTo>
                        <a:pt x="447" y="463"/>
                      </a:lnTo>
                      <a:lnTo>
                        <a:pt x="439" y="467"/>
                      </a:lnTo>
                      <a:lnTo>
                        <a:pt x="431" y="471"/>
                      </a:lnTo>
                      <a:lnTo>
                        <a:pt x="423" y="474"/>
                      </a:lnTo>
                      <a:lnTo>
                        <a:pt x="408" y="480"/>
                      </a:lnTo>
                      <a:lnTo>
                        <a:pt x="393" y="486"/>
                      </a:lnTo>
                      <a:lnTo>
                        <a:pt x="378" y="490"/>
                      </a:lnTo>
                      <a:lnTo>
                        <a:pt x="362" y="494"/>
                      </a:lnTo>
                      <a:lnTo>
                        <a:pt x="347" y="496"/>
                      </a:lnTo>
                      <a:lnTo>
                        <a:pt x="330" y="498"/>
                      </a:lnTo>
                      <a:lnTo>
                        <a:pt x="313" y="499"/>
                      </a:lnTo>
                      <a:lnTo>
                        <a:pt x="297" y="499"/>
                      </a:lnTo>
                      <a:lnTo>
                        <a:pt x="273" y="498"/>
                      </a:lnTo>
                      <a:lnTo>
                        <a:pt x="251" y="496"/>
                      </a:lnTo>
                      <a:lnTo>
                        <a:pt x="228" y="491"/>
                      </a:lnTo>
                      <a:lnTo>
                        <a:pt x="207" y="486"/>
                      </a:lnTo>
                      <a:lnTo>
                        <a:pt x="186" y="478"/>
                      </a:lnTo>
                      <a:lnTo>
                        <a:pt x="168" y="468"/>
                      </a:lnTo>
                      <a:lnTo>
                        <a:pt x="148" y="458"/>
                      </a:lnTo>
                      <a:lnTo>
                        <a:pt x="131" y="445"/>
                      </a:lnTo>
                      <a:lnTo>
                        <a:pt x="114" y="430"/>
                      </a:lnTo>
                      <a:lnTo>
                        <a:pt x="98" y="413"/>
                      </a:lnTo>
                      <a:lnTo>
                        <a:pt x="85" y="395"/>
                      </a:lnTo>
                      <a:lnTo>
                        <a:pt x="75" y="375"/>
                      </a:lnTo>
                      <a:lnTo>
                        <a:pt x="65" y="354"/>
                      </a:lnTo>
                      <a:lnTo>
                        <a:pt x="60" y="331"/>
                      </a:lnTo>
                      <a:lnTo>
                        <a:pt x="56" y="308"/>
                      </a:lnTo>
                      <a:lnTo>
                        <a:pt x="55" y="283"/>
                      </a:lnTo>
                      <a:lnTo>
                        <a:pt x="56" y="260"/>
                      </a:lnTo>
                      <a:lnTo>
                        <a:pt x="60" y="238"/>
                      </a:lnTo>
                      <a:lnTo>
                        <a:pt x="64" y="217"/>
                      </a:lnTo>
                      <a:lnTo>
                        <a:pt x="71" y="197"/>
                      </a:lnTo>
                      <a:lnTo>
                        <a:pt x="80" y="177"/>
                      </a:lnTo>
                      <a:lnTo>
                        <a:pt x="92" y="159"/>
                      </a:lnTo>
                      <a:lnTo>
                        <a:pt x="106" y="141"/>
                      </a:lnTo>
                      <a:lnTo>
                        <a:pt x="121" y="124"/>
                      </a:lnTo>
                      <a:lnTo>
                        <a:pt x="130" y="115"/>
                      </a:lnTo>
                      <a:lnTo>
                        <a:pt x="139" y="107"/>
                      </a:lnTo>
                      <a:lnTo>
                        <a:pt x="150" y="99"/>
                      </a:lnTo>
                      <a:lnTo>
                        <a:pt x="160" y="92"/>
                      </a:lnTo>
                      <a:lnTo>
                        <a:pt x="170" y="86"/>
                      </a:lnTo>
                      <a:lnTo>
                        <a:pt x="182" y="79"/>
                      </a:lnTo>
                      <a:lnTo>
                        <a:pt x="193" y="74"/>
                      </a:lnTo>
                      <a:lnTo>
                        <a:pt x="205" y="69"/>
                      </a:lnTo>
                      <a:lnTo>
                        <a:pt x="218" y="64"/>
                      </a:lnTo>
                      <a:lnTo>
                        <a:pt x="229" y="61"/>
                      </a:lnTo>
                      <a:lnTo>
                        <a:pt x="243" y="57"/>
                      </a:lnTo>
                      <a:lnTo>
                        <a:pt x="256" y="55"/>
                      </a:lnTo>
                      <a:lnTo>
                        <a:pt x="269" y="53"/>
                      </a:lnTo>
                      <a:lnTo>
                        <a:pt x="283" y="51"/>
                      </a:lnTo>
                      <a:lnTo>
                        <a:pt x="298" y="50"/>
                      </a:lnTo>
                      <a:lnTo>
                        <a:pt x="313" y="50"/>
                      </a:lnTo>
                      <a:lnTo>
                        <a:pt x="329" y="50"/>
                      </a:lnTo>
                      <a:lnTo>
                        <a:pt x="344" y="51"/>
                      </a:lnTo>
                      <a:lnTo>
                        <a:pt x="359" y="54"/>
                      </a:lnTo>
                      <a:lnTo>
                        <a:pt x="374" y="57"/>
                      </a:lnTo>
                      <a:lnTo>
                        <a:pt x="389" y="61"/>
                      </a:lnTo>
                      <a:lnTo>
                        <a:pt x="403" y="65"/>
                      </a:lnTo>
                      <a:lnTo>
                        <a:pt x="417" y="71"/>
                      </a:lnTo>
                      <a:lnTo>
                        <a:pt x="429" y="78"/>
                      </a:lnTo>
                      <a:lnTo>
                        <a:pt x="449" y="89"/>
                      </a:lnTo>
                      <a:lnTo>
                        <a:pt x="466" y="102"/>
                      </a:lnTo>
                      <a:lnTo>
                        <a:pt x="481" y="117"/>
                      </a:lnTo>
                      <a:lnTo>
                        <a:pt x="493" y="133"/>
                      </a:lnTo>
                      <a:lnTo>
                        <a:pt x="502" y="152"/>
                      </a:lnTo>
                      <a:lnTo>
                        <a:pt x="508" y="171"/>
                      </a:lnTo>
                      <a:lnTo>
                        <a:pt x="512" y="193"/>
                      </a:lnTo>
                      <a:lnTo>
                        <a:pt x="514" y="216"/>
                      </a:lnTo>
                      <a:lnTo>
                        <a:pt x="511" y="247"/>
                      </a:lnTo>
                      <a:lnTo>
                        <a:pt x="506" y="276"/>
                      </a:lnTo>
                      <a:lnTo>
                        <a:pt x="496" y="300"/>
                      </a:lnTo>
                      <a:lnTo>
                        <a:pt x="482" y="322"/>
                      </a:lnTo>
                      <a:lnTo>
                        <a:pt x="474" y="331"/>
                      </a:lnTo>
                      <a:lnTo>
                        <a:pt x="468" y="339"/>
                      </a:lnTo>
                      <a:lnTo>
                        <a:pt x="459" y="346"/>
                      </a:lnTo>
                      <a:lnTo>
                        <a:pt x="453" y="352"/>
                      </a:lnTo>
                      <a:lnTo>
                        <a:pt x="444" y="355"/>
                      </a:lnTo>
                      <a:lnTo>
                        <a:pt x="436" y="359"/>
                      </a:lnTo>
                      <a:lnTo>
                        <a:pt x="429" y="360"/>
                      </a:lnTo>
                      <a:lnTo>
                        <a:pt x="421" y="361"/>
                      </a:lnTo>
                      <a:lnTo>
                        <a:pt x="415" y="360"/>
                      </a:lnTo>
                      <a:lnTo>
                        <a:pt x="409" y="359"/>
                      </a:lnTo>
                      <a:lnTo>
                        <a:pt x="403" y="355"/>
                      </a:lnTo>
                      <a:lnTo>
                        <a:pt x="400" y="352"/>
                      </a:lnTo>
                      <a:lnTo>
                        <a:pt x="396" y="347"/>
                      </a:lnTo>
                      <a:lnTo>
                        <a:pt x="395" y="343"/>
                      </a:lnTo>
                      <a:lnTo>
                        <a:pt x="393" y="337"/>
                      </a:lnTo>
                      <a:lnTo>
                        <a:pt x="393" y="332"/>
                      </a:lnTo>
                      <a:lnTo>
                        <a:pt x="393" y="329"/>
                      </a:lnTo>
                      <a:lnTo>
                        <a:pt x="393" y="324"/>
                      </a:lnTo>
                      <a:lnTo>
                        <a:pt x="394" y="321"/>
                      </a:lnTo>
                      <a:lnTo>
                        <a:pt x="395" y="316"/>
                      </a:lnTo>
                      <a:lnTo>
                        <a:pt x="396" y="312"/>
                      </a:lnTo>
                      <a:lnTo>
                        <a:pt x="397" y="305"/>
                      </a:lnTo>
                      <a:lnTo>
                        <a:pt x="400" y="298"/>
                      </a:lnTo>
                      <a:lnTo>
                        <a:pt x="402" y="289"/>
                      </a:lnTo>
                      <a:lnTo>
                        <a:pt x="447" y="135"/>
                      </a:lnTo>
                      <a:lnTo>
                        <a:pt x="381" y="135"/>
                      </a:lnTo>
                      <a:lnTo>
                        <a:pt x="368" y="180"/>
                      </a:lnTo>
                      <a:lnTo>
                        <a:pt x="365" y="170"/>
                      </a:lnTo>
                      <a:lnTo>
                        <a:pt x="360" y="161"/>
                      </a:lnTo>
                      <a:lnTo>
                        <a:pt x="355" y="153"/>
                      </a:lnTo>
                      <a:lnTo>
                        <a:pt x="348" y="144"/>
                      </a:lnTo>
                      <a:lnTo>
                        <a:pt x="342" y="139"/>
                      </a:lnTo>
                      <a:lnTo>
                        <a:pt x="336" y="135"/>
                      </a:lnTo>
                      <a:lnTo>
                        <a:pt x="329" y="132"/>
                      </a:lnTo>
                      <a:lnTo>
                        <a:pt x="322" y="129"/>
                      </a:lnTo>
                      <a:lnTo>
                        <a:pt x="315" y="126"/>
                      </a:lnTo>
                      <a:lnTo>
                        <a:pt x="307" y="125"/>
                      </a:lnTo>
                      <a:lnTo>
                        <a:pt x="299" y="124"/>
                      </a:lnTo>
                      <a:lnTo>
                        <a:pt x="290" y="124"/>
                      </a:lnTo>
                      <a:lnTo>
                        <a:pt x="274" y="125"/>
                      </a:lnTo>
                      <a:lnTo>
                        <a:pt x="259" y="127"/>
                      </a:lnTo>
                      <a:lnTo>
                        <a:pt x="245" y="132"/>
                      </a:lnTo>
                      <a:lnTo>
                        <a:pt x="231" y="138"/>
                      </a:lnTo>
                      <a:lnTo>
                        <a:pt x="219" y="146"/>
                      </a:lnTo>
                      <a:lnTo>
                        <a:pt x="206" y="155"/>
                      </a:lnTo>
                      <a:lnTo>
                        <a:pt x="194" y="167"/>
                      </a:lnTo>
                      <a:lnTo>
                        <a:pt x="183" y="179"/>
                      </a:lnTo>
                      <a:lnTo>
                        <a:pt x="173" y="193"/>
                      </a:lnTo>
                      <a:lnTo>
                        <a:pt x="165" y="208"/>
                      </a:lnTo>
                      <a:lnTo>
                        <a:pt x="156" y="222"/>
                      </a:lnTo>
                      <a:lnTo>
                        <a:pt x="151" y="237"/>
                      </a:lnTo>
                      <a:lnTo>
                        <a:pt x="146" y="252"/>
                      </a:lnTo>
                      <a:lnTo>
                        <a:pt x="143" y="268"/>
                      </a:lnTo>
                      <a:lnTo>
                        <a:pt x="141" y="283"/>
                      </a:lnTo>
                      <a:lnTo>
                        <a:pt x="140" y="299"/>
                      </a:lnTo>
                      <a:lnTo>
                        <a:pt x="143" y="324"/>
                      </a:lnTo>
                      <a:lnTo>
                        <a:pt x="147" y="347"/>
                      </a:lnTo>
                      <a:lnTo>
                        <a:pt x="156" y="367"/>
                      </a:lnTo>
                      <a:lnTo>
                        <a:pt x="168" y="384"/>
                      </a:lnTo>
                      <a:lnTo>
                        <a:pt x="176" y="391"/>
                      </a:lnTo>
                      <a:lnTo>
                        <a:pt x="183" y="398"/>
                      </a:lnTo>
                      <a:lnTo>
                        <a:pt x="191" y="403"/>
                      </a:lnTo>
                      <a:lnTo>
                        <a:pt x="200" y="407"/>
                      </a:lnTo>
                      <a:lnTo>
                        <a:pt x="209" y="411"/>
                      </a:lnTo>
                      <a:lnTo>
                        <a:pt x="219" y="413"/>
                      </a:lnTo>
                      <a:lnTo>
                        <a:pt x="229" y="415"/>
                      </a:lnTo>
                      <a:lnTo>
                        <a:pt x="239" y="415"/>
                      </a:lnTo>
                      <a:lnTo>
                        <a:pt x="250" y="415"/>
                      </a:lnTo>
                      <a:lnTo>
                        <a:pt x="259" y="413"/>
                      </a:lnTo>
                      <a:lnTo>
                        <a:pt x="269" y="412"/>
                      </a:lnTo>
                      <a:lnTo>
                        <a:pt x="279" y="408"/>
                      </a:lnTo>
                      <a:lnTo>
                        <a:pt x="287" y="405"/>
                      </a:lnTo>
                      <a:lnTo>
                        <a:pt x="296" y="399"/>
                      </a:lnTo>
                      <a:lnTo>
                        <a:pt x="303" y="395"/>
                      </a:lnTo>
                      <a:lnTo>
                        <a:pt x="311" y="388"/>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06" name="Freeform 875">
                  <a:extLst>
                    <a:ext uri="{FF2B5EF4-FFF2-40B4-BE49-F238E27FC236}">
                      <a16:creationId xmlns:a16="http://schemas.microsoft.com/office/drawing/2014/main" id="{6F6CF172-94B4-4873-87D9-96A261957CCA}"/>
                    </a:ext>
                  </a:extLst>
                </p:cNvPr>
                <p:cNvSpPr>
                  <a:spLocks/>
                </p:cNvSpPr>
                <p:nvPr/>
              </p:nvSpPr>
              <p:spPr bwMode="auto">
                <a:xfrm>
                  <a:off x="6602425" y="3208335"/>
                  <a:ext cx="103188" cy="152400"/>
                </a:xfrm>
                <a:custGeom>
                  <a:avLst/>
                  <a:gdLst>
                    <a:gd name="T0" fmla="*/ 2147483646 w 132"/>
                    <a:gd name="T1" fmla="*/ 2147483646 h 191"/>
                    <a:gd name="T2" fmla="*/ 2147483646 w 132"/>
                    <a:gd name="T3" fmla="*/ 2147483646 h 191"/>
                    <a:gd name="T4" fmla="*/ 2147483646 w 132"/>
                    <a:gd name="T5" fmla="*/ 2147483646 h 191"/>
                    <a:gd name="T6" fmla="*/ 2147483646 w 132"/>
                    <a:gd name="T7" fmla="*/ 2147483646 h 191"/>
                    <a:gd name="T8" fmla="*/ 2147483646 w 132"/>
                    <a:gd name="T9" fmla="*/ 2147483646 h 191"/>
                    <a:gd name="T10" fmla="*/ 2147483646 w 132"/>
                    <a:gd name="T11" fmla="*/ 2147483646 h 191"/>
                    <a:gd name="T12" fmla="*/ 2147483646 w 132"/>
                    <a:gd name="T13" fmla="*/ 2147483646 h 191"/>
                    <a:gd name="T14" fmla="*/ 2147483646 w 132"/>
                    <a:gd name="T15" fmla="*/ 2147483646 h 191"/>
                    <a:gd name="T16" fmla="*/ 2147483646 w 132"/>
                    <a:gd name="T17" fmla="*/ 2147483646 h 191"/>
                    <a:gd name="T18" fmla="*/ 2147483646 w 132"/>
                    <a:gd name="T19" fmla="*/ 2147483646 h 191"/>
                    <a:gd name="T20" fmla="*/ 2147483646 w 132"/>
                    <a:gd name="T21" fmla="*/ 2147483646 h 191"/>
                    <a:gd name="T22" fmla="*/ 2147483646 w 132"/>
                    <a:gd name="T23" fmla="*/ 2147483646 h 191"/>
                    <a:gd name="T24" fmla="*/ 2147483646 w 132"/>
                    <a:gd name="T25" fmla="*/ 2147483646 h 191"/>
                    <a:gd name="T26" fmla="*/ 2147483646 w 132"/>
                    <a:gd name="T27" fmla="*/ 2147483646 h 191"/>
                    <a:gd name="T28" fmla="*/ 2147483646 w 132"/>
                    <a:gd name="T29" fmla="*/ 2147483646 h 191"/>
                    <a:gd name="T30" fmla="*/ 2147483646 w 132"/>
                    <a:gd name="T31" fmla="*/ 2147483646 h 191"/>
                    <a:gd name="T32" fmla="*/ 0 w 132"/>
                    <a:gd name="T33" fmla="*/ 2147483646 h 191"/>
                    <a:gd name="T34" fmla="*/ 2147483646 w 132"/>
                    <a:gd name="T35" fmla="*/ 2147483646 h 191"/>
                    <a:gd name="T36" fmla="*/ 2147483646 w 132"/>
                    <a:gd name="T37" fmla="*/ 2147483646 h 191"/>
                    <a:gd name="T38" fmla="*/ 2147483646 w 132"/>
                    <a:gd name="T39" fmla="*/ 2147483646 h 191"/>
                    <a:gd name="T40" fmla="*/ 2147483646 w 132"/>
                    <a:gd name="T41" fmla="*/ 2147483646 h 191"/>
                    <a:gd name="T42" fmla="*/ 2147483646 w 132"/>
                    <a:gd name="T43" fmla="*/ 2147483646 h 191"/>
                    <a:gd name="T44" fmla="*/ 2147483646 w 132"/>
                    <a:gd name="T45" fmla="*/ 2147483646 h 191"/>
                    <a:gd name="T46" fmla="*/ 2147483646 w 132"/>
                    <a:gd name="T47" fmla="*/ 2147483646 h 191"/>
                    <a:gd name="T48" fmla="*/ 2147483646 w 132"/>
                    <a:gd name="T49" fmla="*/ 2147483646 h 191"/>
                    <a:gd name="T50" fmla="*/ 2147483646 w 132"/>
                    <a:gd name="T51" fmla="*/ 2147483646 h 191"/>
                    <a:gd name="T52" fmla="*/ 2147483646 w 132"/>
                    <a:gd name="T53" fmla="*/ 2147483646 h 191"/>
                    <a:gd name="T54" fmla="*/ 2147483646 w 132"/>
                    <a:gd name="T55" fmla="*/ 2147483646 h 191"/>
                    <a:gd name="T56" fmla="*/ 2147483646 w 132"/>
                    <a:gd name="T57" fmla="*/ 0 h 191"/>
                    <a:gd name="T58" fmla="*/ 2147483646 w 132"/>
                    <a:gd name="T59" fmla="*/ 2147483646 h 191"/>
                    <a:gd name="T60" fmla="*/ 2147483646 w 132"/>
                    <a:gd name="T61" fmla="*/ 2147483646 h 191"/>
                    <a:gd name="T62" fmla="*/ 2147483646 w 132"/>
                    <a:gd name="T63" fmla="*/ 2147483646 h 191"/>
                    <a:gd name="T64" fmla="*/ 2147483646 w 132"/>
                    <a:gd name="T65" fmla="*/ 2147483646 h 191"/>
                    <a:gd name="T66" fmla="*/ 2147483646 w 132"/>
                    <a:gd name="T67" fmla="*/ 2147483646 h 191"/>
                    <a:gd name="T68" fmla="*/ 2147483646 w 132"/>
                    <a:gd name="T69" fmla="*/ 2147483646 h 191"/>
                    <a:gd name="T70" fmla="*/ 2147483646 w 132"/>
                    <a:gd name="T71" fmla="*/ 2147483646 h 191"/>
                    <a:gd name="T72" fmla="*/ 2147483646 w 132"/>
                    <a:gd name="T73" fmla="*/ 2147483646 h 191"/>
                    <a:gd name="T74" fmla="*/ 2147483646 w 132"/>
                    <a:gd name="T75" fmla="*/ 2147483646 h 191"/>
                    <a:gd name="T76" fmla="*/ 2147483646 w 132"/>
                    <a:gd name="T77" fmla="*/ 2147483646 h 191"/>
                    <a:gd name="T78" fmla="*/ 2147483646 w 132"/>
                    <a:gd name="T79" fmla="*/ 2147483646 h 191"/>
                    <a:gd name="T80" fmla="*/ 2147483646 w 132"/>
                    <a:gd name="T81" fmla="*/ 2147483646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2"/>
                    <a:gd name="T124" fmla="*/ 0 h 191"/>
                    <a:gd name="T125" fmla="*/ 132 w 132"/>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2" h="191">
                      <a:moveTo>
                        <a:pt x="108" y="134"/>
                      </a:moveTo>
                      <a:lnTo>
                        <a:pt x="102" y="148"/>
                      </a:lnTo>
                      <a:lnTo>
                        <a:pt x="95" y="159"/>
                      </a:lnTo>
                      <a:lnTo>
                        <a:pt x="88" y="168"/>
                      </a:lnTo>
                      <a:lnTo>
                        <a:pt x="80" y="177"/>
                      </a:lnTo>
                      <a:lnTo>
                        <a:pt x="72" y="183"/>
                      </a:lnTo>
                      <a:lnTo>
                        <a:pt x="64" y="188"/>
                      </a:lnTo>
                      <a:lnTo>
                        <a:pt x="55" y="190"/>
                      </a:lnTo>
                      <a:lnTo>
                        <a:pt x="45" y="191"/>
                      </a:lnTo>
                      <a:lnTo>
                        <a:pt x="35" y="190"/>
                      </a:lnTo>
                      <a:lnTo>
                        <a:pt x="27" y="187"/>
                      </a:lnTo>
                      <a:lnTo>
                        <a:pt x="19" y="182"/>
                      </a:lnTo>
                      <a:lnTo>
                        <a:pt x="13" y="175"/>
                      </a:lnTo>
                      <a:lnTo>
                        <a:pt x="7" y="167"/>
                      </a:lnTo>
                      <a:lnTo>
                        <a:pt x="4" y="157"/>
                      </a:lnTo>
                      <a:lnTo>
                        <a:pt x="2" y="147"/>
                      </a:lnTo>
                      <a:lnTo>
                        <a:pt x="0" y="134"/>
                      </a:lnTo>
                      <a:lnTo>
                        <a:pt x="2" y="112"/>
                      </a:lnTo>
                      <a:lnTo>
                        <a:pt x="7" y="90"/>
                      </a:lnTo>
                      <a:lnTo>
                        <a:pt x="15" y="68"/>
                      </a:lnTo>
                      <a:lnTo>
                        <a:pt x="27" y="45"/>
                      </a:lnTo>
                      <a:lnTo>
                        <a:pt x="34" y="35"/>
                      </a:lnTo>
                      <a:lnTo>
                        <a:pt x="41" y="26"/>
                      </a:lnTo>
                      <a:lnTo>
                        <a:pt x="49" y="18"/>
                      </a:lnTo>
                      <a:lnTo>
                        <a:pt x="57" y="12"/>
                      </a:lnTo>
                      <a:lnTo>
                        <a:pt x="65" y="6"/>
                      </a:lnTo>
                      <a:lnTo>
                        <a:pt x="73" y="3"/>
                      </a:lnTo>
                      <a:lnTo>
                        <a:pt x="81" y="1"/>
                      </a:lnTo>
                      <a:lnTo>
                        <a:pt x="90" y="0"/>
                      </a:lnTo>
                      <a:lnTo>
                        <a:pt x="99" y="1"/>
                      </a:lnTo>
                      <a:lnTo>
                        <a:pt x="108" y="3"/>
                      </a:lnTo>
                      <a:lnTo>
                        <a:pt x="114" y="7"/>
                      </a:lnTo>
                      <a:lnTo>
                        <a:pt x="120" y="13"/>
                      </a:lnTo>
                      <a:lnTo>
                        <a:pt x="126" y="20"/>
                      </a:lnTo>
                      <a:lnTo>
                        <a:pt x="129" y="27"/>
                      </a:lnTo>
                      <a:lnTo>
                        <a:pt x="131" y="35"/>
                      </a:lnTo>
                      <a:lnTo>
                        <a:pt x="132" y="44"/>
                      </a:lnTo>
                      <a:lnTo>
                        <a:pt x="131" y="63"/>
                      </a:lnTo>
                      <a:lnTo>
                        <a:pt x="126" y="83"/>
                      </a:lnTo>
                      <a:lnTo>
                        <a:pt x="118" y="107"/>
                      </a:lnTo>
                      <a:lnTo>
                        <a:pt x="108" y="1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sp>
          <p:nvSpPr>
            <p:cNvPr id="87132" name="직사각형 712">
              <a:extLst>
                <a:ext uri="{FF2B5EF4-FFF2-40B4-BE49-F238E27FC236}">
                  <a16:creationId xmlns:a16="http://schemas.microsoft.com/office/drawing/2014/main" id="{31C3D5EB-73D2-441B-B405-B4BF05E79C33}"/>
                </a:ext>
              </a:extLst>
            </p:cNvPr>
            <p:cNvSpPr>
              <a:spLocks noChangeArrowheads="1"/>
            </p:cNvSpPr>
            <p:nvPr/>
          </p:nvSpPr>
          <p:spPr bwMode="auto">
            <a:xfrm>
              <a:off x="1142976" y="1717661"/>
              <a:ext cx="135732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algn="ctr" eaLnBrk="1" latinLnBrk="1" hangingPunct="1">
                <a:spcBef>
                  <a:spcPct val="0"/>
                </a:spcBef>
                <a:buClrTx/>
                <a:buSzTx/>
                <a:buFontTx/>
                <a:buNone/>
              </a:pPr>
              <a:r>
                <a:rPr lang="en-US" altLang="ko-KR" sz="1100" b="1">
                  <a:ea typeface="Malgun Gothic" panose="020B0503020000020004" pitchFamily="34" charset="-127"/>
                  <a:cs typeface="Arial" panose="020B0604020202020204" pitchFamily="34" charset="0"/>
                </a:rPr>
                <a:t>Online Service</a:t>
              </a:r>
            </a:p>
            <a:p>
              <a:pPr algn="ctr" eaLnBrk="1" latinLnBrk="1" hangingPunct="1">
                <a:spcBef>
                  <a:spcPct val="0"/>
                </a:spcBef>
                <a:buClrTx/>
                <a:buSzTx/>
                <a:buFontTx/>
                <a:buNone/>
              </a:pPr>
              <a:r>
                <a:rPr lang="en-US" altLang="ko-KR" sz="1100" b="1">
                  <a:ea typeface="Malgun Gothic" panose="020B0503020000020004" pitchFamily="34" charset="-127"/>
                  <a:cs typeface="Arial" panose="020B0604020202020204" pitchFamily="34" charset="0"/>
                </a:rPr>
                <a:t>(Internet)</a:t>
              </a:r>
              <a:endParaRPr lang="ko-KR" altLang="en-US" sz="1100" b="1">
                <a:ea typeface="Malgun Gothic" panose="020B0503020000020004" pitchFamily="34" charset="-127"/>
                <a:cs typeface="Arial" panose="020B0604020202020204" pitchFamily="34" charset="0"/>
              </a:endParaRPr>
            </a:p>
          </p:txBody>
        </p:sp>
        <p:pic>
          <p:nvPicPr>
            <p:cNvPr id="87133" name="Picture 446">
              <a:extLst>
                <a:ext uri="{FF2B5EF4-FFF2-40B4-BE49-F238E27FC236}">
                  <a16:creationId xmlns:a16="http://schemas.microsoft.com/office/drawing/2014/main" id="{6E2E2F20-FAD2-4BDC-A784-5B4E7991D621}"/>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481138" y="2228836"/>
              <a:ext cx="733425" cy="512763"/>
            </a:xfrm>
            <a:prstGeom prst="rect">
              <a:avLst/>
            </a:prstGeom>
            <a:noFill/>
            <a:ln w="3175">
              <a:solidFill>
                <a:srgbClr val="17375E"/>
              </a:solidFill>
              <a:miter lim="800000"/>
              <a:headEnd/>
              <a:tailEnd/>
            </a:ln>
            <a:extLst>
              <a:ext uri="{909E8E84-426E-40DD-AFC4-6F175D3DCCD1}">
                <a14:hiddenFill xmlns:a14="http://schemas.microsoft.com/office/drawing/2010/main">
                  <a:solidFill>
                    <a:srgbClr val="FFFFFF"/>
                  </a:solidFill>
                </a14:hiddenFill>
              </a:ext>
            </a:extLst>
          </p:spPr>
        </p:pic>
        <p:cxnSp>
          <p:nvCxnSpPr>
            <p:cNvPr id="715" name="직선 화살표 연결선 714">
              <a:extLst>
                <a:ext uri="{FF2B5EF4-FFF2-40B4-BE49-F238E27FC236}">
                  <a16:creationId xmlns:a16="http://schemas.microsoft.com/office/drawing/2014/main" id="{5ED0D6A4-44CB-47AD-B652-AB167A39616D}"/>
                </a:ext>
              </a:extLst>
            </p:cNvPr>
            <p:cNvCxnSpPr>
              <a:cxnSpLocks noChangeShapeType="1"/>
            </p:cNvCxnSpPr>
            <p:nvPr/>
          </p:nvCxnSpPr>
          <p:spPr bwMode="auto">
            <a:xfrm>
              <a:off x="1033463" y="3829036"/>
              <a:ext cx="257175" cy="1588"/>
            </a:xfrm>
            <a:prstGeom prst="straightConnector1">
              <a:avLst/>
            </a:prstGeom>
            <a:noFill/>
            <a:ln w="38100">
              <a:solidFill>
                <a:srgbClr val="F79646"/>
              </a:solidFill>
              <a:round/>
              <a:headEnd/>
              <a:tailEnd type="triangle" w="med" len="med"/>
            </a:ln>
            <a:effectLst>
              <a:outerShdw blurRad="63500" dist="23000" dir="5400000" rotWithShape="0">
                <a:srgbClr val="000000">
                  <a:alpha val="34998"/>
                </a:srgbClr>
              </a:outerShdw>
            </a:effectLst>
          </p:spPr>
        </p:cxnSp>
        <p:cxnSp>
          <p:nvCxnSpPr>
            <p:cNvPr id="716" name="직선 화살표 연결선 715">
              <a:extLst>
                <a:ext uri="{FF2B5EF4-FFF2-40B4-BE49-F238E27FC236}">
                  <a16:creationId xmlns:a16="http://schemas.microsoft.com/office/drawing/2014/main" id="{2D97DD7A-CDCD-4E48-A846-D180F1744B24}"/>
                </a:ext>
              </a:extLst>
            </p:cNvPr>
            <p:cNvCxnSpPr>
              <a:cxnSpLocks noChangeShapeType="1"/>
            </p:cNvCxnSpPr>
            <p:nvPr/>
          </p:nvCxnSpPr>
          <p:spPr bwMode="auto">
            <a:xfrm>
              <a:off x="1033463" y="4838686"/>
              <a:ext cx="257175" cy="1588"/>
            </a:xfrm>
            <a:prstGeom prst="straightConnector1">
              <a:avLst/>
            </a:prstGeom>
            <a:noFill/>
            <a:ln w="38100">
              <a:solidFill>
                <a:srgbClr val="F79646"/>
              </a:solidFill>
              <a:round/>
              <a:headEnd/>
              <a:tailEnd type="triangle" w="med" len="med"/>
            </a:ln>
            <a:effectLst>
              <a:outerShdw blurRad="63500" dist="23000" dir="5400000" rotWithShape="0">
                <a:srgbClr val="000000">
                  <a:alpha val="34998"/>
                </a:srgbClr>
              </a:outerShdw>
            </a:effectLst>
          </p:spPr>
        </p:cxnSp>
        <p:sp>
          <p:nvSpPr>
            <p:cNvPr id="87136" name="TextBox 1020">
              <a:extLst>
                <a:ext uri="{FF2B5EF4-FFF2-40B4-BE49-F238E27FC236}">
                  <a16:creationId xmlns:a16="http://schemas.microsoft.com/office/drawing/2014/main" id="{3FDB31DE-87B4-4250-BD5C-544B40C1870A}"/>
                </a:ext>
              </a:extLst>
            </p:cNvPr>
            <p:cNvSpPr txBox="1">
              <a:spLocks noChangeArrowheads="1"/>
            </p:cNvSpPr>
            <p:nvPr/>
          </p:nvSpPr>
          <p:spPr bwMode="auto">
            <a:xfrm>
              <a:off x="519113" y="4021124"/>
              <a:ext cx="54373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spcBef>
                  <a:spcPct val="0"/>
                </a:spcBef>
                <a:buClrTx/>
                <a:buSzTx/>
                <a:buFontTx/>
                <a:buNone/>
              </a:pPr>
              <a:r>
                <a:rPr kumimoji="1" lang="en-US" altLang="ko-KR" sz="900">
                  <a:solidFill>
                    <a:schemeClr val="tx1"/>
                  </a:solidFill>
                  <a:ea typeface="산돌고딕 M"/>
                  <a:cs typeface="Arial" panose="020B0604020202020204" pitchFamily="34" charset="0"/>
                </a:rPr>
                <a:t>Agents</a:t>
              </a:r>
              <a:endParaRPr kumimoji="1" lang="ko-KR" altLang="en-US" sz="900">
                <a:solidFill>
                  <a:schemeClr val="tx1"/>
                </a:solidFill>
                <a:ea typeface="산돌고딕 M"/>
                <a:cs typeface="Arial" panose="020B0604020202020204" pitchFamily="34" charset="0"/>
              </a:endParaRPr>
            </a:p>
          </p:txBody>
        </p:sp>
        <p:sp>
          <p:nvSpPr>
            <p:cNvPr id="87137" name="TextBox 1020">
              <a:extLst>
                <a:ext uri="{FF2B5EF4-FFF2-40B4-BE49-F238E27FC236}">
                  <a16:creationId xmlns:a16="http://schemas.microsoft.com/office/drawing/2014/main" id="{54161478-6C06-4962-8511-9642FD1F3DF2}"/>
                </a:ext>
              </a:extLst>
            </p:cNvPr>
            <p:cNvSpPr txBox="1">
              <a:spLocks noChangeArrowheads="1"/>
            </p:cNvSpPr>
            <p:nvPr/>
          </p:nvSpPr>
          <p:spPr bwMode="auto">
            <a:xfrm>
              <a:off x="382588" y="5094274"/>
              <a:ext cx="852487"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spcBef>
                  <a:spcPct val="0"/>
                </a:spcBef>
                <a:buClrTx/>
                <a:buSzTx/>
                <a:buFontTx/>
                <a:buNone/>
              </a:pPr>
              <a:r>
                <a:rPr kumimoji="1" lang="en-US" altLang="ko-KR" sz="900">
                  <a:solidFill>
                    <a:schemeClr val="tx1"/>
                  </a:solidFill>
                  <a:ea typeface="산돌고딕 M"/>
                  <a:cs typeface="Arial" panose="020B0604020202020204" pitchFamily="34" charset="0"/>
                </a:rPr>
                <a:t>Internet User</a:t>
              </a:r>
              <a:endParaRPr kumimoji="1" lang="ko-KR" altLang="en-US" sz="900">
                <a:solidFill>
                  <a:schemeClr val="tx1"/>
                </a:solidFill>
                <a:ea typeface="산돌고딕 M"/>
                <a:cs typeface="Arial" panose="020B0604020202020204" pitchFamily="34" charset="0"/>
              </a:endParaRPr>
            </a:p>
          </p:txBody>
        </p:sp>
        <p:pic>
          <p:nvPicPr>
            <p:cNvPr id="87138" name="Picture 448" descr="C:\Documents and Settings\강시영\Local Settings\Temporary Internet Files\Content.IE5\0YTF28AH\MCj04339430000[1].png">
              <a:extLst>
                <a:ext uri="{FF2B5EF4-FFF2-40B4-BE49-F238E27FC236}">
                  <a16:creationId xmlns:a16="http://schemas.microsoft.com/office/drawing/2014/main" id="{B40BC32D-FEEF-486C-88FF-DF3D5D916378}"/>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74663" y="4518011"/>
              <a:ext cx="4953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139" name="직사각형 719">
              <a:extLst>
                <a:ext uri="{FF2B5EF4-FFF2-40B4-BE49-F238E27FC236}">
                  <a16:creationId xmlns:a16="http://schemas.microsoft.com/office/drawing/2014/main" id="{532B7993-8162-47EF-9AD9-6646E0640DED}"/>
                </a:ext>
              </a:extLst>
            </p:cNvPr>
            <p:cNvSpPr>
              <a:spLocks noChangeArrowheads="1"/>
            </p:cNvSpPr>
            <p:nvPr/>
          </p:nvSpPr>
          <p:spPr bwMode="auto">
            <a:xfrm>
              <a:off x="1644650" y="2870186"/>
              <a:ext cx="727075"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algn="ctr" eaLnBrk="1" latinLnBrk="1" hangingPunct="1">
                <a:lnSpc>
                  <a:spcPts val="1100"/>
                </a:lnSpc>
                <a:spcBef>
                  <a:spcPct val="0"/>
                </a:spcBef>
                <a:buClrTx/>
                <a:buSzTx/>
                <a:buFontTx/>
                <a:buNone/>
              </a:pPr>
              <a:r>
                <a:rPr kumimoji="1" lang="en-US" altLang="ko-KR" sz="900">
                  <a:solidFill>
                    <a:srgbClr val="10253F"/>
                  </a:solidFill>
                  <a:ea typeface="Malgun Gothic" panose="020B0503020000020004" pitchFamily="34" charset="-127"/>
                  <a:cs typeface="Arial" panose="020B0604020202020204" pitchFamily="34" charset="0"/>
                </a:rPr>
                <a:t>Applicant/</a:t>
              </a:r>
            </a:p>
            <a:p>
              <a:pPr algn="ctr" eaLnBrk="1" latinLnBrk="1" hangingPunct="1">
                <a:lnSpc>
                  <a:spcPts val="1100"/>
                </a:lnSpc>
                <a:spcBef>
                  <a:spcPct val="0"/>
                </a:spcBef>
                <a:buClrTx/>
                <a:buSzTx/>
                <a:buFontTx/>
                <a:buNone/>
              </a:pPr>
              <a:r>
                <a:rPr kumimoji="1" lang="en-US" altLang="ko-KR" sz="900">
                  <a:solidFill>
                    <a:srgbClr val="10253F"/>
                  </a:solidFill>
                  <a:ea typeface="Malgun Gothic" panose="020B0503020000020004" pitchFamily="34" charset="-127"/>
                  <a:cs typeface="Arial" panose="020B0604020202020204" pitchFamily="34" charset="0"/>
                </a:rPr>
                <a:t>Agency</a:t>
              </a:r>
            </a:p>
            <a:p>
              <a:pPr algn="ctr" eaLnBrk="1" latinLnBrk="1" hangingPunct="1">
                <a:lnSpc>
                  <a:spcPts val="1100"/>
                </a:lnSpc>
                <a:spcBef>
                  <a:spcPct val="0"/>
                </a:spcBef>
                <a:buClrTx/>
                <a:buSzTx/>
                <a:buFontTx/>
                <a:buNone/>
              </a:pPr>
              <a:r>
                <a:rPr kumimoji="1" lang="en-US" altLang="ko-KR" sz="900">
                  <a:solidFill>
                    <a:srgbClr val="10253F"/>
                  </a:solidFill>
                  <a:ea typeface="Malgun Gothic" panose="020B0503020000020004" pitchFamily="34" charset="-127"/>
                  <a:cs typeface="Arial" panose="020B0604020202020204" pitchFamily="34" charset="0"/>
                </a:rPr>
                <a:t>Mgmt.</a:t>
              </a:r>
              <a:endParaRPr kumimoji="1" lang="ko-KR" altLang="en-US" sz="900">
                <a:solidFill>
                  <a:srgbClr val="10253F"/>
                </a:solidFill>
                <a:ea typeface="Malgun Gothic" panose="020B0503020000020004" pitchFamily="34" charset="-127"/>
                <a:cs typeface="Arial" panose="020B0604020202020204" pitchFamily="34" charset="0"/>
              </a:endParaRPr>
            </a:p>
          </p:txBody>
        </p:sp>
        <p:sp>
          <p:nvSpPr>
            <p:cNvPr id="87140" name="직사각형 720">
              <a:extLst>
                <a:ext uri="{FF2B5EF4-FFF2-40B4-BE49-F238E27FC236}">
                  <a16:creationId xmlns:a16="http://schemas.microsoft.com/office/drawing/2014/main" id="{80572810-1CAC-4132-8857-B8888B87790D}"/>
                </a:ext>
              </a:extLst>
            </p:cNvPr>
            <p:cNvSpPr>
              <a:spLocks noChangeArrowheads="1"/>
            </p:cNvSpPr>
            <p:nvPr/>
          </p:nvSpPr>
          <p:spPr bwMode="auto">
            <a:xfrm>
              <a:off x="1574800" y="3687749"/>
              <a:ext cx="77787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algn="ctr" eaLnBrk="1" latinLnBrk="1" hangingPunct="1">
                <a:lnSpc>
                  <a:spcPts val="1100"/>
                </a:lnSpc>
                <a:spcBef>
                  <a:spcPct val="0"/>
                </a:spcBef>
                <a:buClrTx/>
                <a:buSzTx/>
                <a:buFontTx/>
                <a:buNone/>
              </a:pPr>
              <a:r>
                <a:rPr kumimoji="1" lang="en-US" altLang="ko-KR" sz="900">
                  <a:solidFill>
                    <a:srgbClr val="10253F"/>
                  </a:solidFill>
                  <a:ea typeface="Malgun Gothic" panose="020B0503020000020004" pitchFamily="34" charset="-127"/>
                  <a:cs typeface="Arial" panose="020B0604020202020204" pitchFamily="34" charset="0"/>
                </a:rPr>
                <a:t>Application</a:t>
              </a:r>
            </a:p>
            <a:p>
              <a:pPr algn="ctr" eaLnBrk="1" latinLnBrk="1" hangingPunct="1">
                <a:lnSpc>
                  <a:spcPts val="1100"/>
                </a:lnSpc>
                <a:spcBef>
                  <a:spcPct val="0"/>
                </a:spcBef>
                <a:buClrTx/>
                <a:buSzTx/>
                <a:buFontTx/>
                <a:buNone/>
              </a:pPr>
              <a:r>
                <a:rPr kumimoji="1" lang="en-US" altLang="ko-KR" sz="900">
                  <a:solidFill>
                    <a:srgbClr val="10253F"/>
                  </a:solidFill>
                  <a:ea typeface="Malgun Gothic" panose="020B0503020000020004" pitchFamily="34" charset="-127"/>
                  <a:cs typeface="Arial" panose="020B0604020202020204" pitchFamily="34" charset="0"/>
                </a:rPr>
                <a:t>Tracking</a:t>
              </a:r>
              <a:endParaRPr kumimoji="1" lang="ko-KR" altLang="en-US" sz="900">
                <a:solidFill>
                  <a:srgbClr val="10253F"/>
                </a:solidFill>
                <a:ea typeface="Malgun Gothic" panose="020B0503020000020004" pitchFamily="34" charset="-127"/>
                <a:cs typeface="Arial" panose="020B0604020202020204" pitchFamily="34" charset="0"/>
              </a:endParaRPr>
            </a:p>
          </p:txBody>
        </p:sp>
        <p:sp>
          <p:nvSpPr>
            <p:cNvPr id="87141" name="직사각형 721">
              <a:extLst>
                <a:ext uri="{FF2B5EF4-FFF2-40B4-BE49-F238E27FC236}">
                  <a16:creationId xmlns:a16="http://schemas.microsoft.com/office/drawing/2014/main" id="{4219FBAD-4852-46E8-AAFE-6686F338502B}"/>
                </a:ext>
              </a:extLst>
            </p:cNvPr>
            <p:cNvSpPr>
              <a:spLocks noChangeArrowheads="1"/>
            </p:cNvSpPr>
            <p:nvPr/>
          </p:nvSpPr>
          <p:spPr bwMode="auto">
            <a:xfrm>
              <a:off x="1531938" y="4354499"/>
              <a:ext cx="79375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defTabSz="762000">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762000"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algn="ctr" eaLnBrk="1" latinLnBrk="1" hangingPunct="1">
                <a:lnSpc>
                  <a:spcPts val="1100"/>
                </a:lnSpc>
                <a:spcBef>
                  <a:spcPct val="0"/>
                </a:spcBef>
                <a:buClrTx/>
                <a:buSzTx/>
                <a:buFontTx/>
                <a:buNone/>
              </a:pPr>
              <a:r>
                <a:rPr kumimoji="1" lang="en-US" altLang="ko-KR" sz="900">
                  <a:solidFill>
                    <a:srgbClr val="10253F"/>
                  </a:solidFill>
                  <a:ea typeface="Malgun Gothic" panose="020B0503020000020004" pitchFamily="34" charset="-127"/>
                  <a:cs typeface="Arial" panose="020B0604020202020204" pitchFamily="34" charset="0"/>
                </a:rPr>
                <a:t>Information </a:t>
              </a:r>
            </a:p>
            <a:p>
              <a:pPr algn="ctr" eaLnBrk="1" latinLnBrk="1" hangingPunct="1">
                <a:lnSpc>
                  <a:spcPts val="1100"/>
                </a:lnSpc>
                <a:spcBef>
                  <a:spcPct val="0"/>
                </a:spcBef>
                <a:buClrTx/>
                <a:buSzTx/>
                <a:buFontTx/>
                <a:buNone/>
              </a:pPr>
              <a:r>
                <a:rPr kumimoji="1" lang="en-US" altLang="ko-KR" sz="900">
                  <a:solidFill>
                    <a:srgbClr val="10253F"/>
                  </a:solidFill>
                  <a:ea typeface="Malgun Gothic" panose="020B0503020000020004" pitchFamily="34" charset="-127"/>
                  <a:cs typeface="Arial" panose="020B0604020202020204" pitchFamily="34" charset="0"/>
                </a:rPr>
                <a:t>Search</a:t>
              </a:r>
              <a:endParaRPr kumimoji="1" lang="ko-KR" altLang="en-US" sz="900">
                <a:solidFill>
                  <a:srgbClr val="10253F"/>
                </a:solidFill>
                <a:ea typeface="Malgun Gothic" panose="020B0503020000020004" pitchFamily="34" charset="-127"/>
                <a:cs typeface="Arial" panose="020B0604020202020204" pitchFamily="34" charset="0"/>
              </a:endParaRPr>
            </a:p>
          </p:txBody>
        </p:sp>
        <p:sp>
          <p:nvSpPr>
            <p:cNvPr id="87142" name="직사각형 722">
              <a:extLst>
                <a:ext uri="{FF2B5EF4-FFF2-40B4-BE49-F238E27FC236}">
                  <a16:creationId xmlns:a16="http://schemas.microsoft.com/office/drawing/2014/main" id="{8741AD78-99BE-41E5-8382-2EC0F74F976F}"/>
                </a:ext>
              </a:extLst>
            </p:cNvPr>
            <p:cNvSpPr>
              <a:spLocks noChangeArrowheads="1"/>
            </p:cNvSpPr>
            <p:nvPr/>
          </p:nvSpPr>
          <p:spPr bwMode="auto">
            <a:xfrm>
              <a:off x="1550988" y="4918061"/>
              <a:ext cx="75565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eaLnBrk="1" latinLnBrk="1" hangingPunct="1">
                <a:spcBef>
                  <a:spcPct val="0"/>
                </a:spcBef>
                <a:buClrTx/>
                <a:buSzTx/>
                <a:buFontTx/>
                <a:buNone/>
              </a:pPr>
              <a:r>
                <a:rPr kumimoji="1" lang="en-US" altLang="ko-KR" sz="900">
                  <a:solidFill>
                    <a:srgbClr val="10253F"/>
                  </a:solidFill>
                  <a:ea typeface="Malgun Gothic" panose="020B0503020000020004" pitchFamily="34" charset="-127"/>
                  <a:cs typeface="Arial" panose="020B0604020202020204" pitchFamily="34" charset="0"/>
                </a:rPr>
                <a:t>Notification</a:t>
              </a:r>
              <a:endParaRPr kumimoji="1" lang="ko-KR" altLang="en-US" sz="900">
                <a:ea typeface="Gulim" panose="020B0600000101010101" pitchFamily="34" charset="-127"/>
                <a:cs typeface="Arial" panose="020B0604020202020204" pitchFamily="34" charset="0"/>
              </a:endParaRPr>
            </a:p>
          </p:txBody>
        </p:sp>
        <p:grpSp>
          <p:nvGrpSpPr>
            <p:cNvPr id="87143" name="그룹 723">
              <a:extLst>
                <a:ext uri="{FF2B5EF4-FFF2-40B4-BE49-F238E27FC236}">
                  <a16:creationId xmlns:a16="http://schemas.microsoft.com/office/drawing/2014/main" id="{94089C27-C92E-47A3-A5CD-9D5D73C6819B}"/>
                </a:ext>
              </a:extLst>
            </p:cNvPr>
            <p:cNvGrpSpPr>
              <a:grpSpLocks/>
            </p:cNvGrpSpPr>
            <p:nvPr/>
          </p:nvGrpSpPr>
          <p:grpSpPr bwMode="auto">
            <a:xfrm>
              <a:off x="3095585" y="1979599"/>
              <a:ext cx="320673" cy="241300"/>
              <a:chOff x="7125197" y="1383976"/>
              <a:chExt cx="356839" cy="269875"/>
            </a:xfrm>
          </p:grpSpPr>
          <p:grpSp>
            <p:nvGrpSpPr>
              <p:cNvPr id="87169" name="그룹 760">
                <a:extLst>
                  <a:ext uri="{FF2B5EF4-FFF2-40B4-BE49-F238E27FC236}">
                    <a16:creationId xmlns:a16="http://schemas.microsoft.com/office/drawing/2014/main" id="{CF294B55-AB7E-46EA-9B60-475A6A594ABD}"/>
                  </a:ext>
                </a:extLst>
              </p:cNvPr>
              <p:cNvGrpSpPr>
                <a:grpSpLocks/>
              </p:cNvGrpSpPr>
              <p:nvPr/>
            </p:nvGrpSpPr>
            <p:grpSpPr bwMode="auto">
              <a:xfrm rot="-1166378">
                <a:off x="7125197" y="1389759"/>
                <a:ext cx="231777" cy="214314"/>
                <a:chOff x="6953264" y="928670"/>
                <a:chExt cx="231777" cy="214314"/>
              </a:xfrm>
            </p:grpSpPr>
            <p:sp>
              <p:nvSpPr>
                <p:cNvPr id="87184" name="Freeform 118">
                  <a:extLst>
                    <a:ext uri="{FF2B5EF4-FFF2-40B4-BE49-F238E27FC236}">
                      <a16:creationId xmlns:a16="http://schemas.microsoft.com/office/drawing/2014/main" id="{2B65C468-5B3D-41C4-B04B-00963C82DF42}"/>
                    </a:ext>
                  </a:extLst>
                </p:cNvPr>
                <p:cNvSpPr>
                  <a:spLocks/>
                </p:cNvSpPr>
                <p:nvPr/>
              </p:nvSpPr>
              <p:spPr bwMode="auto">
                <a:xfrm>
                  <a:off x="6972089" y="954331"/>
                  <a:ext cx="212952" cy="188650"/>
                </a:xfrm>
                <a:custGeom>
                  <a:avLst/>
                  <a:gdLst>
                    <a:gd name="T0" fmla="*/ 2147483646 w 1448"/>
                    <a:gd name="T1" fmla="*/ 2147483646 h 1881"/>
                    <a:gd name="T2" fmla="*/ 2147483646 w 1448"/>
                    <a:gd name="T3" fmla="*/ 2147483646 h 1881"/>
                    <a:gd name="T4" fmla="*/ 2147483646 w 1448"/>
                    <a:gd name="T5" fmla="*/ 2147483646 h 1881"/>
                    <a:gd name="T6" fmla="*/ 2147483646 w 1448"/>
                    <a:gd name="T7" fmla="*/ 2147483646 h 1881"/>
                    <a:gd name="T8" fmla="*/ 2147483646 w 1448"/>
                    <a:gd name="T9" fmla="*/ 2147483646 h 1881"/>
                    <a:gd name="T10" fmla="*/ 2147483646 w 1448"/>
                    <a:gd name="T11" fmla="*/ 2147483646 h 1881"/>
                    <a:gd name="T12" fmla="*/ 2147483646 w 1448"/>
                    <a:gd name="T13" fmla="*/ 2147483646 h 1881"/>
                    <a:gd name="T14" fmla="*/ 2147483646 w 1448"/>
                    <a:gd name="T15" fmla="*/ 2147483646 h 1881"/>
                    <a:gd name="T16" fmla="*/ 2147483646 w 1448"/>
                    <a:gd name="T17" fmla="*/ 2147483646 h 1881"/>
                    <a:gd name="T18" fmla="*/ 2147483646 w 1448"/>
                    <a:gd name="T19" fmla="*/ 0 h 1881"/>
                    <a:gd name="T20" fmla="*/ 2147483646 w 1448"/>
                    <a:gd name="T21" fmla="*/ 2147483646 h 1881"/>
                    <a:gd name="T22" fmla="*/ 2147483646 w 1448"/>
                    <a:gd name="T23" fmla="*/ 2147483646 h 1881"/>
                    <a:gd name="T24" fmla="*/ 2147483646 w 1448"/>
                    <a:gd name="T25" fmla="*/ 2147483646 h 1881"/>
                    <a:gd name="T26" fmla="*/ 2147483646 w 1448"/>
                    <a:gd name="T27" fmla="*/ 2147483646 h 1881"/>
                    <a:gd name="T28" fmla="*/ 2147483646 w 1448"/>
                    <a:gd name="T29" fmla="*/ 2147483646 h 1881"/>
                    <a:gd name="T30" fmla="*/ 2147483646 w 1448"/>
                    <a:gd name="T31" fmla="*/ 2147483646 h 1881"/>
                    <a:gd name="T32" fmla="*/ 2147483646 w 1448"/>
                    <a:gd name="T33" fmla="*/ 2147483646 h 1881"/>
                    <a:gd name="T34" fmla="*/ 2147483646 w 1448"/>
                    <a:gd name="T35" fmla="*/ 2147483646 h 1881"/>
                    <a:gd name="T36" fmla="*/ 2147483646 w 1448"/>
                    <a:gd name="T37" fmla="*/ 2147483646 h 1881"/>
                    <a:gd name="T38" fmla="*/ 2147483646 w 1448"/>
                    <a:gd name="T39" fmla="*/ 2147483646 h 1881"/>
                    <a:gd name="T40" fmla="*/ 2147483646 w 1448"/>
                    <a:gd name="T41" fmla="*/ 2147483646 h 1881"/>
                    <a:gd name="T42" fmla="*/ 2147483646 w 1448"/>
                    <a:gd name="T43" fmla="*/ 2147483646 h 1881"/>
                    <a:gd name="T44" fmla="*/ 2147483646 w 1448"/>
                    <a:gd name="T45" fmla="*/ 2147483646 h 1881"/>
                    <a:gd name="T46" fmla="*/ 2147483646 w 1448"/>
                    <a:gd name="T47" fmla="*/ 2147483646 h 1881"/>
                    <a:gd name="T48" fmla="*/ 2147483646 w 1448"/>
                    <a:gd name="T49" fmla="*/ 2147483646 h 1881"/>
                    <a:gd name="T50" fmla="*/ 2147483646 w 1448"/>
                    <a:gd name="T51" fmla="*/ 2147483646 h 1881"/>
                    <a:gd name="T52" fmla="*/ 2147483646 w 1448"/>
                    <a:gd name="T53" fmla="*/ 2147483646 h 1881"/>
                    <a:gd name="T54" fmla="*/ 2147483646 w 1448"/>
                    <a:gd name="T55" fmla="*/ 2147483646 h 1881"/>
                    <a:gd name="T56" fmla="*/ 2147483646 w 1448"/>
                    <a:gd name="T57" fmla="*/ 2147483646 h 1881"/>
                    <a:gd name="T58" fmla="*/ 2147483646 w 1448"/>
                    <a:gd name="T59" fmla="*/ 2147483646 h 1881"/>
                    <a:gd name="T60" fmla="*/ 2147483646 w 1448"/>
                    <a:gd name="T61" fmla="*/ 2147483646 h 1881"/>
                    <a:gd name="T62" fmla="*/ 2147483646 w 1448"/>
                    <a:gd name="T63" fmla="*/ 2147483646 h 1881"/>
                    <a:gd name="T64" fmla="*/ 2147483646 w 1448"/>
                    <a:gd name="T65" fmla="*/ 2147483646 h 1881"/>
                    <a:gd name="T66" fmla="*/ 2147483646 w 1448"/>
                    <a:gd name="T67" fmla="*/ 2147483646 h 1881"/>
                    <a:gd name="T68" fmla="*/ 2147483646 w 1448"/>
                    <a:gd name="T69" fmla="*/ 2147483646 h 1881"/>
                    <a:gd name="T70" fmla="*/ 2147483646 w 1448"/>
                    <a:gd name="T71" fmla="*/ 2147483646 h 1881"/>
                    <a:gd name="T72" fmla="*/ 2147483646 w 1448"/>
                    <a:gd name="T73" fmla="*/ 2147483646 h 1881"/>
                    <a:gd name="T74" fmla="*/ 2147483646 w 1448"/>
                    <a:gd name="T75" fmla="*/ 2147483646 h 1881"/>
                    <a:gd name="T76" fmla="*/ 2147483646 w 1448"/>
                    <a:gd name="T77" fmla="*/ 2147483646 h 1881"/>
                    <a:gd name="T78" fmla="*/ 2147483646 w 1448"/>
                    <a:gd name="T79" fmla="*/ 2147483646 h 1881"/>
                    <a:gd name="T80" fmla="*/ 2147483646 w 1448"/>
                    <a:gd name="T81" fmla="*/ 2147483646 h 1881"/>
                    <a:gd name="T82" fmla="*/ 2147483646 w 1448"/>
                    <a:gd name="T83" fmla="*/ 2147483646 h 1881"/>
                    <a:gd name="T84" fmla="*/ 2147483646 w 1448"/>
                    <a:gd name="T85" fmla="*/ 2147483646 h 1881"/>
                    <a:gd name="T86" fmla="*/ 2147483646 w 1448"/>
                    <a:gd name="T87" fmla="*/ 2147483646 h 188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48"/>
                    <a:gd name="T133" fmla="*/ 0 h 1881"/>
                    <a:gd name="T134" fmla="*/ 1448 w 1448"/>
                    <a:gd name="T135" fmla="*/ 1881 h 188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48" h="1881">
                      <a:moveTo>
                        <a:pt x="0" y="1762"/>
                      </a:moveTo>
                      <a:lnTo>
                        <a:pt x="13" y="1668"/>
                      </a:lnTo>
                      <a:lnTo>
                        <a:pt x="26" y="1575"/>
                      </a:lnTo>
                      <a:lnTo>
                        <a:pt x="44" y="1480"/>
                      </a:lnTo>
                      <a:lnTo>
                        <a:pt x="62" y="1386"/>
                      </a:lnTo>
                      <a:lnTo>
                        <a:pt x="82" y="1291"/>
                      </a:lnTo>
                      <a:lnTo>
                        <a:pt x="104" y="1198"/>
                      </a:lnTo>
                      <a:lnTo>
                        <a:pt x="126" y="1105"/>
                      </a:lnTo>
                      <a:lnTo>
                        <a:pt x="149" y="1011"/>
                      </a:lnTo>
                      <a:lnTo>
                        <a:pt x="158" y="977"/>
                      </a:lnTo>
                      <a:lnTo>
                        <a:pt x="167" y="941"/>
                      </a:lnTo>
                      <a:lnTo>
                        <a:pt x="176" y="905"/>
                      </a:lnTo>
                      <a:lnTo>
                        <a:pt x="185" y="871"/>
                      </a:lnTo>
                      <a:lnTo>
                        <a:pt x="195" y="835"/>
                      </a:lnTo>
                      <a:lnTo>
                        <a:pt x="205" y="799"/>
                      </a:lnTo>
                      <a:lnTo>
                        <a:pt x="214" y="765"/>
                      </a:lnTo>
                      <a:lnTo>
                        <a:pt x="223" y="730"/>
                      </a:lnTo>
                      <a:lnTo>
                        <a:pt x="245" y="651"/>
                      </a:lnTo>
                      <a:lnTo>
                        <a:pt x="266" y="571"/>
                      </a:lnTo>
                      <a:lnTo>
                        <a:pt x="286" y="492"/>
                      </a:lnTo>
                      <a:lnTo>
                        <a:pt x="305" y="412"/>
                      </a:lnTo>
                      <a:lnTo>
                        <a:pt x="321" y="333"/>
                      </a:lnTo>
                      <a:lnTo>
                        <a:pt x="337" y="253"/>
                      </a:lnTo>
                      <a:lnTo>
                        <a:pt x="352" y="173"/>
                      </a:lnTo>
                      <a:lnTo>
                        <a:pt x="365" y="93"/>
                      </a:lnTo>
                      <a:lnTo>
                        <a:pt x="367" y="70"/>
                      </a:lnTo>
                      <a:lnTo>
                        <a:pt x="371" y="46"/>
                      </a:lnTo>
                      <a:lnTo>
                        <a:pt x="373" y="23"/>
                      </a:lnTo>
                      <a:lnTo>
                        <a:pt x="372" y="0"/>
                      </a:lnTo>
                      <a:lnTo>
                        <a:pt x="396" y="0"/>
                      </a:lnTo>
                      <a:lnTo>
                        <a:pt x="420" y="0"/>
                      </a:lnTo>
                      <a:lnTo>
                        <a:pt x="445" y="1"/>
                      </a:lnTo>
                      <a:lnTo>
                        <a:pt x="469" y="2"/>
                      </a:lnTo>
                      <a:lnTo>
                        <a:pt x="493" y="3"/>
                      </a:lnTo>
                      <a:lnTo>
                        <a:pt x="517" y="4"/>
                      </a:lnTo>
                      <a:lnTo>
                        <a:pt x="540" y="7"/>
                      </a:lnTo>
                      <a:lnTo>
                        <a:pt x="564" y="9"/>
                      </a:lnTo>
                      <a:lnTo>
                        <a:pt x="587" y="11"/>
                      </a:lnTo>
                      <a:lnTo>
                        <a:pt x="612" y="14"/>
                      </a:lnTo>
                      <a:lnTo>
                        <a:pt x="635" y="17"/>
                      </a:lnTo>
                      <a:lnTo>
                        <a:pt x="658" y="19"/>
                      </a:lnTo>
                      <a:lnTo>
                        <a:pt x="682" y="22"/>
                      </a:lnTo>
                      <a:lnTo>
                        <a:pt x="706" y="25"/>
                      </a:lnTo>
                      <a:lnTo>
                        <a:pt x="729" y="28"/>
                      </a:lnTo>
                      <a:lnTo>
                        <a:pt x="753" y="30"/>
                      </a:lnTo>
                      <a:lnTo>
                        <a:pt x="797" y="37"/>
                      </a:lnTo>
                      <a:lnTo>
                        <a:pt x="840" y="44"/>
                      </a:lnTo>
                      <a:lnTo>
                        <a:pt x="883" y="51"/>
                      </a:lnTo>
                      <a:lnTo>
                        <a:pt x="926" y="57"/>
                      </a:lnTo>
                      <a:lnTo>
                        <a:pt x="969" y="64"/>
                      </a:lnTo>
                      <a:lnTo>
                        <a:pt x="1012" y="71"/>
                      </a:lnTo>
                      <a:lnTo>
                        <a:pt x="1055" y="77"/>
                      </a:lnTo>
                      <a:lnTo>
                        <a:pt x="1097" y="84"/>
                      </a:lnTo>
                      <a:lnTo>
                        <a:pt x="1141" y="89"/>
                      </a:lnTo>
                      <a:lnTo>
                        <a:pt x="1184" y="94"/>
                      </a:lnTo>
                      <a:lnTo>
                        <a:pt x="1228" y="99"/>
                      </a:lnTo>
                      <a:lnTo>
                        <a:pt x="1271" y="102"/>
                      </a:lnTo>
                      <a:lnTo>
                        <a:pt x="1315" y="106"/>
                      </a:lnTo>
                      <a:lnTo>
                        <a:pt x="1359" y="108"/>
                      </a:lnTo>
                      <a:lnTo>
                        <a:pt x="1403" y="109"/>
                      </a:lnTo>
                      <a:lnTo>
                        <a:pt x="1448" y="110"/>
                      </a:lnTo>
                      <a:lnTo>
                        <a:pt x="1440" y="167"/>
                      </a:lnTo>
                      <a:lnTo>
                        <a:pt x="1430" y="222"/>
                      </a:lnTo>
                      <a:lnTo>
                        <a:pt x="1421" y="279"/>
                      </a:lnTo>
                      <a:lnTo>
                        <a:pt x="1412" y="335"/>
                      </a:lnTo>
                      <a:lnTo>
                        <a:pt x="1402" y="392"/>
                      </a:lnTo>
                      <a:lnTo>
                        <a:pt x="1391" y="447"/>
                      </a:lnTo>
                      <a:lnTo>
                        <a:pt x="1380" y="503"/>
                      </a:lnTo>
                      <a:lnTo>
                        <a:pt x="1368" y="560"/>
                      </a:lnTo>
                      <a:lnTo>
                        <a:pt x="1357" y="616"/>
                      </a:lnTo>
                      <a:lnTo>
                        <a:pt x="1344" y="671"/>
                      </a:lnTo>
                      <a:lnTo>
                        <a:pt x="1330" y="728"/>
                      </a:lnTo>
                      <a:lnTo>
                        <a:pt x="1317" y="784"/>
                      </a:lnTo>
                      <a:lnTo>
                        <a:pt x="1302" y="841"/>
                      </a:lnTo>
                      <a:lnTo>
                        <a:pt x="1289" y="897"/>
                      </a:lnTo>
                      <a:lnTo>
                        <a:pt x="1274" y="954"/>
                      </a:lnTo>
                      <a:lnTo>
                        <a:pt x="1258" y="1010"/>
                      </a:lnTo>
                      <a:lnTo>
                        <a:pt x="1246" y="1049"/>
                      </a:lnTo>
                      <a:lnTo>
                        <a:pt x="1235" y="1087"/>
                      </a:lnTo>
                      <a:lnTo>
                        <a:pt x="1223" y="1126"/>
                      </a:lnTo>
                      <a:lnTo>
                        <a:pt x="1213" y="1164"/>
                      </a:lnTo>
                      <a:lnTo>
                        <a:pt x="1202" y="1203"/>
                      </a:lnTo>
                      <a:lnTo>
                        <a:pt x="1192" y="1242"/>
                      </a:lnTo>
                      <a:lnTo>
                        <a:pt x="1182" y="1280"/>
                      </a:lnTo>
                      <a:lnTo>
                        <a:pt x="1171" y="1319"/>
                      </a:lnTo>
                      <a:lnTo>
                        <a:pt x="1155" y="1388"/>
                      </a:lnTo>
                      <a:lnTo>
                        <a:pt x="1140" y="1458"/>
                      </a:lnTo>
                      <a:lnTo>
                        <a:pt x="1125" y="1529"/>
                      </a:lnTo>
                      <a:lnTo>
                        <a:pt x="1111" y="1599"/>
                      </a:lnTo>
                      <a:lnTo>
                        <a:pt x="1099" y="1670"/>
                      </a:lnTo>
                      <a:lnTo>
                        <a:pt x="1087" y="1740"/>
                      </a:lnTo>
                      <a:lnTo>
                        <a:pt x="1077" y="1811"/>
                      </a:lnTo>
                      <a:lnTo>
                        <a:pt x="1069" y="1881"/>
                      </a:lnTo>
                      <a:lnTo>
                        <a:pt x="1055" y="1880"/>
                      </a:lnTo>
                      <a:lnTo>
                        <a:pt x="1040" y="1878"/>
                      </a:lnTo>
                      <a:lnTo>
                        <a:pt x="1026" y="1876"/>
                      </a:lnTo>
                      <a:lnTo>
                        <a:pt x="1011" y="1875"/>
                      </a:lnTo>
                      <a:lnTo>
                        <a:pt x="996" y="1873"/>
                      </a:lnTo>
                      <a:lnTo>
                        <a:pt x="981" y="1872"/>
                      </a:lnTo>
                      <a:lnTo>
                        <a:pt x="967" y="1871"/>
                      </a:lnTo>
                      <a:lnTo>
                        <a:pt x="952" y="1869"/>
                      </a:lnTo>
                      <a:lnTo>
                        <a:pt x="922" y="1868"/>
                      </a:lnTo>
                      <a:lnTo>
                        <a:pt x="893" y="1867"/>
                      </a:lnTo>
                      <a:lnTo>
                        <a:pt x="863" y="1865"/>
                      </a:lnTo>
                      <a:lnTo>
                        <a:pt x="833" y="1863"/>
                      </a:lnTo>
                      <a:lnTo>
                        <a:pt x="803" y="1859"/>
                      </a:lnTo>
                      <a:lnTo>
                        <a:pt x="773" y="1857"/>
                      </a:lnTo>
                      <a:lnTo>
                        <a:pt x="743" y="1853"/>
                      </a:lnTo>
                      <a:lnTo>
                        <a:pt x="713" y="1850"/>
                      </a:lnTo>
                      <a:lnTo>
                        <a:pt x="683" y="1846"/>
                      </a:lnTo>
                      <a:lnTo>
                        <a:pt x="654" y="1842"/>
                      </a:lnTo>
                      <a:lnTo>
                        <a:pt x="624" y="1838"/>
                      </a:lnTo>
                      <a:lnTo>
                        <a:pt x="594" y="1834"/>
                      </a:lnTo>
                      <a:lnTo>
                        <a:pt x="564" y="1829"/>
                      </a:lnTo>
                      <a:lnTo>
                        <a:pt x="535" y="1825"/>
                      </a:lnTo>
                      <a:lnTo>
                        <a:pt x="506" y="1820"/>
                      </a:lnTo>
                      <a:lnTo>
                        <a:pt x="477" y="1815"/>
                      </a:lnTo>
                      <a:lnTo>
                        <a:pt x="447" y="1812"/>
                      </a:lnTo>
                      <a:lnTo>
                        <a:pt x="417" y="1807"/>
                      </a:lnTo>
                      <a:lnTo>
                        <a:pt x="388" y="1803"/>
                      </a:lnTo>
                      <a:lnTo>
                        <a:pt x="358" y="1798"/>
                      </a:lnTo>
                      <a:lnTo>
                        <a:pt x="328" y="1793"/>
                      </a:lnTo>
                      <a:lnTo>
                        <a:pt x="298" y="1790"/>
                      </a:lnTo>
                      <a:lnTo>
                        <a:pt x="269" y="1785"/>
                      </a:lnTo>
                      <a:lnTo>
                        <a:pt x="240" y="1782"/>
                      </a:lnTo>
                      <a:lnTo>
                        <a:pt x="210" y="1778"/>
                      </a:lnTo>
                      <a:lnTo>
                        <a:pt x="180" y="1775"/>
                      </a:lnTo>
                      <a:lnTo>
                        <a:pt x="150" y="1773"/>
                      </a:lnTo>
                      <a:lnTo>
                        <a:pt x="120" y="1769"/>
                      </a:lnTo>
                      <a:lnTo>
                        <a:pt x="90" y="1767"/>
                      </a:lnTo>
                      <a:lnTo>
                        <a:pt x="60" y="1765"/>
                      </a:lnTo>
                      <a:lnTo>
                        <a:pt x="30" y="1764"/>
                      </a:lnTo>
                      <a:lnTo>
                        <a:pt x="0" y="1762"/>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85" name="Freeform 119">
                  <a:extLst>
                    <a:ext uri="{FF2B5EF4-FFF2-40B4-BE49-F238E27FC236}">
                      <a16:creationId xmlns:a16="http://schemas.microsoft.com/office/drawing/2014/main" id="{816DB965-F942-4442-99F1-5ACBE6CCE7EA}"/>
                    </a:ext>
                  </a:extLst>
                </p:cNvPr>
                <p:cNvSpPr>
                  <a:spLocks/>
                </p:cNvSpPr>
                <p:nvPr/>
              </p:nvSpPr>
              <p:spPr bwMode="auto">
                <a:xfrm>
                  <a:off x="6961794" y="945914"/>
                  <a:ext cx="221776" cy="197070"/>
                </a:xfrm>
                <a:custGeom>
                  <a:avLst/>
                  <a:gdLst>
                    <a:gd name="T0" fmla="*/ 2147483646 w 1506"/>
                    <a:gd name="T1" fmla="*/ 2147483646 h 1965"/>
                    <a:gd name="T2" fmla="*/ 2147483646 w 1506"/>
                    <a:gd name="T3" fmla="*/ 2147483646 h 1965"/>
                    <a:gd name="T4" fmla="*/ 2147483646 w 1506"/>
                    <a:gd name="T5" fmla="*/ 2147483646 h 1965"/>
                    <a:gd name="T6" fmla="*/ 2147483646 w 1506"/>
                    <a:gd name="T7" fmla="*/ 2147483646 h 1965"/>
                    <a:gd name="T8" fmla="*/ 2147483646 w 1506"/>
                    <a:gd name="T9" fmla="*/ 2147483646 h 1965"/>
                    <a:gd name="T10" fmla="*/ 2147483646 w 1506"/>
                    <a:gd name="T11" fmla="*/ 2147483646 h 1965"/>
                    <a:gd name="T12" fmla="*/ 2147483646 w 1506"/>
                    <a:gd name="T13" fmla="*/ 2147483646 h 1965"/>
                    <a:gd name="T14" fmla="*/ 2147483646 w 1506"/>
                    <a:gd name="T15" fmla="*/ 2147483646 h 1965"/>
                    <a:gd name="T16" fmla="*/ 2147483646 w 1506"/>
                    <a:gd name="T17" fmla="*/ 2147483646 h 1965"/>
                    <a:gd name="T18" fmla="*/ 2147483646 w 1506"/>
                    <a:gd name="T19" fmla="*/ 2147483646 h 1965"/>
                    <a:gd name="T20" fmla="*/ 2147483646 w 1506"/>
                    <a:gd name="T21" fmla="*/ 2147483646 h 1965"/>
                    <a:gd name="T22" fmla="*/ 2147483646 w 1506"/>
                    <a:gd name="T23" fmla="*/ 2147483646 h 1965"/>
                    <a:gd name="T24" fmla="*/ 2147483646 w 1506"/>
                    <a:gd name="T25" fmla="*/ 2147483646 h 1965"/>
                    <a:gd name="T26" fmla="*/ 2147483646 w 1506"/>
                    <a:gd name="T27" fmla="*/ 2147483646 h 1965"/>
                    <a:gd name="T28" fmla="*/ 2147483646 w 1506"/>
                    <a:gd name="T29" fmla="*/ 2147483646 h 1965"/>
                    <a:gd name="T30" fmla="*/ 2147483646 w 1506"/>
                    <a:gd name="T31" fmla="*/ 2147483646 h 1965"/>
                    <a:gd name="T32" fmla="*/ 2147483646 w 1506"/>
                    <a:gd name="T33" fmla="*/ 2147483646 h 1965"/>
                    <a:gd name="T34" fmla="*/ 2147483646 w 1506"/>
                    <a:gd name="T35" fmla="*/ 2147483646 h 1965"/>
                    <a:gd name="T36" fmla="*/ 2147483646 w 1506"/>
                    <a:gd name="T37" fmla="*/ 2147483646 h 1965"/>
                    <a:gd name="T38" fmla="*/ 2147483646 w 1506"/>
                    <a:gd name="T39" fmla="*/ 2147483646 h 1965"/>
                    <a:gd name="T40" fmla="*/ 2147483646 w 1506"/>
                    <a:gd name="T41" fmla="*/ 2147483646 h 1965"/>
                    <a:gd name="T42" fmla="*/ 2147483646 w 1506"/>
                    <a:gd name="T43" fmla="*/ 2147483646 h 1965"/>
                    <a:gd name="T44" fmla="*/ 2147483646 w 1506"/>
                    <a:gd name="T45" fmla="*/ 2147483646 h 1965"/>
                    <a:gd name="T46" fmla="*/ 2147483646 w 1506"/>
                    <a:gd name="T47" fmla="*/ 2147483646 h 1965"/>
                    <a:gd name="T48" fmla="*/ 2147483646 w 1506"/>
                    <a:gd name="T49" fmla="*/ 2147483646 h 1965"/>
                    <a:gd name="T50" fmla="*/ 2147483646 w 1506"/>
                    <a:gd name="T51" fmla="*/ 2147483646 h 1965"/>
                    <a:gd name="T52" fmla="*/ 2147483646 w 1506"/>
                    <a:gd name="T53" fmla="*/ 2147483646 h 1965"/>
                    <a:gd name="T54" fmla="*/ 2147483646 w 1506"/>
                    <a:gd name="T55" fmla="*/ 2147483646 h 1965"/>
                    <a:gd name="T56" fmla="*/ 2147483646 w 1506"/>
                    <a:gd name="T57" fmla="*/ 2147483646 h 1965"/>
                    <a:gd name="T58" fmla="*/ 2147483646 w 1506"/>
                    <a:gd name="T59" fmla="*/ 2147483646 h 1965"/>
                    <a:gd name="T60" fmla="*/ 2147483646 w 1506"/>
                    <a:gd name="T61" fmla="*/ 2147483646 h 1965"/>
                    <a:gd name="T62" fmla="*/ 2147483646 w 1506"/>
                    <a:gd name="T63" fmla="*/ 2147483646 h 1965"/>
                    <a:gd name="T64" fmla="*/ 2147483646 w 1506"/>
                    <a:gd name="T65" fmla="*/ 2147483646 h 1965"/>
                    <a:gd name="T66" fmla="*/ 2147483646 w 1506"/>
                    <a:gd name="T67" fmla="*/ 2147483646 h 1965"/>
                    <a:gd name="T68" fmla="*/ 2147483646 w 1506"/>
                    <a:gd name="T69" fmla="*/ 2147483646 h 1965"/>
                    <a:gd name="T70" fmla="*/ 2147483646 w 1506"/>
                    <a:gd name="T71" fmla="*/ 2147483646 h 1965"/>
                    <a:gd name="T72" fmla="*/ 2147483646 w 1506"/>
                    <a:gd name="T73" fmla="*/ 2147483646 h 1965"/>
                    <a:gd name="T74" fmla="*/ 2147483646 w 1506"/>
                    <a:gd name="T75" fmla="*/ 2147483646 h 1965"/>
                    <a:gd name="T76" fmla="*/ 2147483646 w 1506"/>
                    <a:gd name="T77" fmla="*/ 2147483646 h 1965"/>
                    <a:gd name="T78" fmla="*/ 2147483646 w 1506"/>
                    <a:gd name="T79" fmla="*/ 2147483646 h 1965"/>
                    <a:gd name="T80" fmla="*/ 2147483646 w 1506"/>
                    <a:gd name="T81" fmla="*/ 2147483646 h 1965"/>
                    <a:gd name="T82" fmla="*/ 2147483646 w 1506"/>
                    <a:gd name="T83" fmla="*/ 2147483646 h 1965"/>
                    <a:gd name="T84" fmla="*/ 2147483646 w 1506"/>
                    <a:gd name="T85" fmla="*/ 2147483646 h 1965"/>
                    <a:gd name="T86" fmla="*/ 2147483646 w 1506"/>
                    <a:gd name="T87" fmla="*/ 2147483646 h 1965"/>
                    <a:gd name="T88" fmla="*/ 2147483646 w 1506"/>
                    <a:gd name="T89" fmla="*/ 2147483646 h 1965"/>
                    <a:gd name="T90" fmla="*/ 0 w 1506"/>
                    <a:gd name="T91" fmla="*/ 2147483646 h 196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6"/>
                    <a:gd name="T139" fmla="*/ 0 h 1965"/>
                    <a:gd name="T140" fmla="*/ 1506 w 1506"/>
                    <a:gd name="T141" fmla="*/ 1965 h 196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6" h="1965">
                      <a:moveTo>
                        <a:pt x="0" y="1856"/>
                      </a:moveTo>
                      <a:lnTo>
                        <a:pt x="10" y="1778"/>
                      </a:lnTo>
                      <a:lnTo>
                        <a:pt x="22" y="1701"/>
                      </a:lnTo>
                      <a:lnTo>
                        <a:pt x="34" y="1624"/>
                      </a:lnTo>
                      <a:lnTo>
                        <a:pt x="48" y="1547"/>
                      </a:lnTo>
                      <a:lnTo>
                        <a:pt x="63" y="1470"/>
                      </a:lnTo>
                      <a:lnTo>
                        <a:pt x="79" y="1392"/>
                      </a:lnTo>
                      <a:lnTo>
                        <a:pt x="95" y="1315"/>
                      </a:lnTo>
                      <a:lnTo>
                        <a:pt x="113" y="1238"/>
                      </a:lnTo>
                      <a:lnTo>
                        <a:pt x="131" y="1162"/>
                      </a:lnTo>
                      <a:lnTo>
                        <a:pt x="148" y="1085"/>
                      </a:lnTo>
                      <a:lnTo>
                        <a:pt x="168" y="1009"/>
                      </a:lnTo>
                      <a:lnTo>
                        <a:pt x="186" y="932"/>
                      </a:lnTo>
                      <a:lnTo>
                        <a:pt x="206" y="856"/>
                      </a:lnTo>
                      <a:lnTo>
                        <a:pt x="225" y="778"/>
                      </a:lnTo>
                      <a:lnTo>
                        <a:pt x="244" y="702"/>
                      </a:lnTo>
                      <a:lnTo>
                        <a:pt x="263" y="625"/>
                      </a:lnTo>
                      <a:lnTo>
                        <a:pt x="283" y="548"/>
                      </a:lnTo>
                      <a:lnTo>
                        <a:pt x="301" y="470"/>
                      </a:lnTo>
                      <a:lnTo>
                        <a:pt x="318" y="391"/>
                      </a:lnTo>
                      <a:lnTo>
                        <a:pt x="334" y="313"/>
                      </a:lnTo>
                      <a:lnTo>
                        <a:pt x="348" y="235"/>
                      </a:lnTo>
                      <a:lnTo>
                        <a:pt x="360" y="156"/>
                      </a:lnTo>
                      <a:lnTo>
                        <a:pt x="371" y="78"/>
                      </a:lnTo>
                      <a:lnTo>
                        <a:pt x="380" y="0"/>
                      </a:lnTo>
                      <a:lnTo>
                        <a:pt x="414" y="1"/>
                      </a:lnTo>
                      <a:lnTo>
                        <a:pt x="448" y="2"/>
                      </a:lnTo>
                      <a:lnTo>
                        <a:pt x="481" y="3"/>
                      </a:lnTo>
                      <a:lnTo>
                        <a:pt x="516" y="6"/>
                      </a:lnTo>
                      <a:lnTo>
                        <a:pt x="549" y="8"/>
                      </a:lnTo>
                      <a:lnTo>
                        <a:pt x="582" y="10"/>
                      </a:lnTo>
                      <a:lnTo>
                        <a:pt x="617" y="14"/>
                      </a:lnTo>
                      <a:lnTo>
                        <a:pt x="650" y="17"/>
                      </a:lnTo>
                      <a:lnTo>
                        <a:pt x="684" y="20"/>
                      </a:lnTo>
                      <a:lnTo>
                        <a:pt x="717" y="24"/>
                      </a:lnTo>
                      <a:lnTo>
                        <a:pt x="751" y="29"/>
                      </a:lnTo>
                      <a:lnTo>
                        <a:pt x="784" y="32"/>
                      </a:lnTo>
                      <a:lnTo>
                        <a:pt x="817" y="37"/>
                      </a:lnTo>
                      <a:lnTo>
                        <a:pt x="852" y="41"/>
                      </a:lnTo>
                      <a:lnTo>
                        <a:pt x="885" y="46"/>
                      </a:lnTo>
                      <a:lnTo>
                        <a:pt x="919" y="50"/>
                      </a:lnTo>
                      <a:lnTo>
                        <a:pt x="952" y="55"/>
                      </a:lnTo>
                      <a:lnTo>
                        <a:pt x="986" y="60"/>
                      </a:lnTo>
                      <a:lnTo>
                        <a:pt x="1019" y="64"/>
                      </a:lnTo>
                      <a:lnTo>
                        <a:pt x="1052" y="69"/>
                      </a:lnTo>
                      <a:lnTo>
                        <a:pt x="1086" y="73"/>
                      </a:lnTo>
                      <a:lnTo>
                        <a:pt x="1119" y="78"/>
                      </a:lnTo>
                      <a:lnTo>
                        <a:pt x="1153" y="82"/>
                      </a:lnTo>
                      <a:lnTo>
                        <a:pt x="1186" y="86"/>
                      </a:lnTo>
                      <a:lnTo>
                        <a:pt x="1219" y="90"/>
                      </a:lnTo>
                      <a:lnTo>
                        <a:pt x="1253" y="94"/>
                      </a:lnTo>
                      <a:lnTo>
                        <a:pt x="1286" y="98"/>
                      </a:lnTo>
                      <a:lnTo>
                        <a:pt x="1320" y="101"/>
                      </a:lnTo>
                      <a:lnTo>
                        <a:pt x="1353" y="105"/>
                      </a:lnTo>
                      <a:lnTo>
                        <a:pt x="1387" y="107"/>
                      </a:lnTo>
                      <a:lnTo>
                        <a:pt x="1421" y="109"/>
                      </a:lnTo>
                      <a:lnTo>
                        <a:pt x="1454" y="112"/>
                      </a:lnTo>
                      <a:lnTo>
                        <a:pt x="1461" y="112"/>
                      </a:lnTo>
                      <a:lnTo>
                        <a:pt x="1467" y="112"/>
                      </a:lnTo>
                      <a:lnTo>
                        <a:pt x="1474" y="110"/>
                      </a:lnTo>
                      <a:lnTo>
                        <a:pt x="1481" y="110"/>
                      </a:lnTo>
                      <a:lnTo>
                        <a:pt x="1488" y="109"/>
                      </a:lnTo>
                      <a:lnTo>
                        <a:pt x="1493" y="109"/>
                      </a:lnTo>
                      <a:lnTo>
                        <a:pt x="1500" y="109"/>
                      </a:lnTo>
                      <a:lnTo>
                        <a:pt x="1506" y="109"/>
                      </a:lnTo>
                      <a:lnTo>
                        <a:pt x="1505" y="152"/>
                      </a:lnTo>
                      <a:lnTo>
                        <a:pt x="1500" y="196"/>
                      </a:lnTo>
                      <a:lnTo>
                        <a:pt x="1495" y="238"/>
                      </a:lnTo>
                      <a:lnTo>
                        <a:pt x="1488" y="281"/>
                      </a:lnTo>
                      <a:lnTo>
                        <a:pt x="1480" y="323"/>
                      </a:lnTo>
                      <a:lnTo>
                        <a:pt x="1470" y="365"/>
                      </a:lnTo>
                      <a:lnTo>
                        <a:pt x="1462" y="408"/>
                      </a:lnTo>
                      <a:lnTo>
                        <a:pt x="1453" y="450"/>
                      </a:lnTo>
                      <a:lnTo>
                        <a:pt x="1443" y="511"/>
                      </a:lnTo>
                      <a:lnTo>
                        <a:pt x="1432" y="572"/>
                      </a:lnTo>
                      <a:lnTo>
                        <a:pt x="1420" y="633"/>
                      </a:lnTo>
                      <a:lnTo>
                        <a:pt x="1407" y="694"/>
                      </a:lnTo>
                      <a:lnTo>
                        <a:pt x="1393" y="754"/>
                      </a:lnTo>
                      <a:lnTo>
                        <a:pt x="1378" y="814"/>
                      </a:lnTo>
                      <a:lnTo>
                        <a:pt x="1363" y="874"/>
                      </a:lnTo>
                      <a:lnTo>
                        <a:pt x="1348" y="934"/>
                      </a:lnTo>
                      <a:lnTo>
                        <a:pt x="1332" y="994"/>
                      </a:lnTo>
                      <a:lnTo>
                        <a:pt x="1316" y="1054"/>
                      </a:lnTo>
                      <a:lnTo>
                        <a:pt x="1300" y="1114"/>
                      </a:lnTo>
                      <a:lnTo>
                        <a:pt x="1284" y="1172"/>
                      </a:lnTo>
                      <a:lnTo>
                        <a:pt x="1268" y="1232"/>
                      </a:lnTo>
                      <a:lnTo>
                        <a:pt x="1253" y="1292"/>
                      </a:lnTo>
                      <a:lnTo>
                        <a:pt x="1238" y="1351"/>
                      </a:lnTo>
                      <a:lnTo>
                        <a:pt x="1223" y="1411"/>
                      </a:lnTo>
                      <a:lnTo>
                        <a:pt x="1207" y="1480"/>
                      </a:lnTo>
                      <a:lnTo>
                        <a:pt x="1193" y="1549"/>
                      </a:lnTo>
                      <a:lnTo>
                        <a:pt x="1180" y="1618"/>
                      </a:lnTo>
                      <a:lnTo>
                        <a:pt x="1167" y="1687"/>
                      </a:lnTo>
                      <a:lnTo>
                        <a:pt x="1157" y="1756"/>
                      </a:lnTo>
                      <a:lnTo>
                        <a:pt x="1146" y="1826"/>
                      </a:lnTo>
                      <a:lnTo>
                        <a:pt x="1136" y="1896"/>
                      </a:lnTo>
                      <a:lnTo>
                        <a:pt x="1126" y="1965"/>
                      </a:lnTo>
                      <a:lnTo>
                        <a:pt x="1094" y="1965"/>
                      </a:lnTo>
                      <a:lnTo>
                        <a:pt x="1062" y="1965"/>
                      </a:lnTo>
                      <a:lnTo>
                        <a:pt x="1029" y="1965"/>
                      </a:lnTo>
                      <a:lnTo>
                        <a:pt x="997" y="1964"/>
                      </a:lnTo>
                      <a:lnTo>
                        <a:pt x="965" y="1962"/>
                      </a:lnTo>
                      <a:lnTo>
                        <a:pt x="933" y="1959"/>
                      </a:lnTo>
                      <a:lnTo>
                        <a:pt x="900" y="1957"/>
                      </a:lnTo>
                      <a:lnTo>
                        <a:pt x="868" y="1953"/>
                      </a:lnTo>
                      <a:lnTo>
                        <a:pt x="837" y="1951"/>
                      </a:lnTo>
                      <a:lnTo>
                        <a:pt x="805" y="1947"/>
                      </a:lnTo>
                      <a:lnTo>
                        <a:pt x="774" y="1943"/>
                      </a:lnTo>
                      <a:lnTo>
                        <a:pt x="741" y="1938"/>
                      </a:lnTo>
                      <a:lnTo>
                        <a:pt x="710" y="1935"/>
                      </a:lnTo>
                      <a:lnTo>
                        <a:pt x="678" y="1930"/>
                      </a:lnTo>
                      <a:lnTo>
                        <a:pt x="647" y="1926"/>
                      </a:lnTo>
                      <a:lnTo>
                        <a:pt x="615" y="1920"/>
                      </a:lnTo>
                      <a:lnTo>
                        <a:pt x="582" y="1915"/>
                      </a:lnTo>
                      <a:lnTo>
                        <a:pt x="551" y="1911"/>
                      </a:lnTo>
                      <a:lnTo>
                        <a:pt x="519" y="1906"/>
                      </a:lnTo>
                      <a:lnTo>
                        <a:pt x="488" y="1902"/>
                      </a:lnTo>
                      <a:lnTo>
                        <a:pt x="456" y="1897"/>
                      </a:lnTo>
                      <a:lnTo>
                        <a:pt x="424" y="1892"/>
                      </a:lnTo>
                      <a:lnTo>
                        <a:pt x="392" y="1889"/>
                      </a:lnTo>
                      <a:lnTo>
                        <a:pt x="360" y="1884"/>
                      </a:lnTo>
                      <a:lnTo>
                        <a:pt x="328" y="1881"/>
                      </a:lnTo>
                      <a:lnTo>
                        <a:pt x="296" y="1877"/>
                      </a:lnTo>
                      <a:lnTo>
                        <a:pt x="263" y="1874"/>
                      </a:lnTo>
                      <a:lnTo>
                        <a:pt x="231" y="1872"/>
                      </a:lnTo>
                      <a:lnTo>
                        <a:pt x="198" y="1869"/>
                      </a:lnTo>
                      <a:lnTo>
                        <a:pt x="166" y="1868"/>
                      </a:lnTo>
                      <a:lnTo>
                        <a:pt x="133" y="1867"/>
                      </a:lnTo>
                      <a:lnTo>
                        <a:pt x="100" y="1866"/>
                      </a:lnTo>
                      <a:lnTo>
                        <a:pt x="87" y="1865"/>
                      </a:lnTo>
                      <a:lnTo>
                        <a:pt x="75" y="1864"/>
                      </a:lnTo>
                      <a:lnTo>
                        <a:pt x="62" y="1862"/>
                      </a:lnTo>
                      <a:lnTo>
                        <a:pt x="50" y="1860"/>
                      </a:lnTo>
                      <a:lnTo>
                        <a:pt x="38" y="1859"/>
                      </a:lnTo>
                      <a:lnTo>
                        <a:pt x="25" y="1858"/>
                      </a:lnTo>
                      <a:lnTo>
                        <a:pt x="12" y="1857"/>
                      </a:lnTo>
                      <a:lnTo>
                        <a:pt x="0" y="18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86" name="Freeform 120">
                  <a:extLst>
                    <a:ext uri="{FF2B5EF4-FFF2-40B4-BE49-F238E27FC236}">
                      <a16:creationId xmlns:a16="http://schemas.microsoft.com/office/drawing/2014/main" id="{567043B7-4628-4A36-AF4E-E7F7B66B3C75}"/>
                    </a:ext>
                  </a:extLst>
                </p:cNvPr>
                <p:cNvSpPr>
                  <a:spLocks/>
                </p:cNvSpPr>
                <p:nvPr/>
              </p:nvSpPr>
              <p:spPr bwMode="auto">
                <a:xfrm>
                  <a:off x="6966500" y="942904"/>
                  <a:ext cx="212952" cy="188449"/>
                </a:xfrm>
                <a:custGeom>
                  <a:avLst/>
                  <a:gdLst>
                    <a:gd name="T0" fmla="*/ 2147483646 w 1448"/>
                    <a:gd name="T1" fmla="*/ 2147483646 h 1880"/>
                    <a:gd name="T2" fmla="*/ 2147483646 w 1448"/>
                    <a:gd name="T3" fmla="*/ 2147483646 h 1880"/>
                    <a:gd name="T4" fmla="*/ 2147483646 w 1448"/>
                    <a:gd name="T5" fmla="*/ 2147483646 h 1880"/>
                    <a:gd name="T6" fmla="*/ 2147483646 w 1448"/>
                    <a:gd name="T7" fmla="*/ 2147483646 h 1880"/>
                    <a:gd name="T8" fmla="*/ 2147483646 w 1448"/>
                    <a:gd name="T9" fmla="*/ 2147483646 h 1880"/>
                    <a:gd name="T10" fmla="*/ 2147483646 w 1448"/>
                    <a:gd name="T11" fmla="*/ 2147483646 h 1880"/>
                    <a:gd name="T12" fmla="*/ 2147483646 w 1448"/>
                    <a:gd name="T13" fmla="*/ 2147483646 h 1880"/>
                    <a:gd name="T14" fmla="*/ 2147483646 w 1448"/>
                    <a:gd name="T15" fmla="*/ 2147483646 h 1880"/>
                    <a:gd name="T16" fmla="*/ 2147483646 w 1448"/>
                    <a:gd name="T17" fmla="*/ 2147483646 h 1880"/>
                    <a:gd name="T18" fmla="*/ 2147483646 w 1448"/>
                    <a:gd name="T19" fmla="*/ 0 h 1880"/>
                    <a:gd name="T20" fmla="*/ 2147483646 w 1448"/>
                    <a:gd name="T21" fmla="*/ 2147483646 h 1880"/>
                    <a:gd name="T22" fmla="*/ 2147483646 w 1448"/>
                    <a:gd name="T23" fmla="*/ 2147483646 h 1880"/>
                    <a:gd name="T24" fmla="*/ 2147483646 w 1448"/>
                    <a:gd name="T25" fmla="*/ 2147483646 h 1880"/>
                    <a:gd name="T26" fmla="*/ 2147483646 w 1448"/>
                    <a:gd name="T27" fmla="*/ 2147483646 h 1880"/>
                    <a:gd name="T28" fmla="*/ 2147483646 w 1448"/>
                    <a:gd name="T29" fmla="*/ 2147483646 h 1880"/>
                    <a:gd name="T30" fmla="*/ 2147483646 w 1448"/>
                    <a:gd name="T31" fmla="*/ 2147483646 h 1880"/>
                    <a:gd name="T32" fmla="*/ 2147483646 w 1448"/>
                    <a:gd name="T33" fmla="*/ 2147483646 h 1880"/>
                    <a:gd name="T34" fmla="*/ 2147483646 w 1448"/>
                    <a:gd name="T35" fmla="*/ 2147483646 h 1880"/>
                    <a:gd name="T36" fmla="*/ 2147483646 w 1448"/>
                    <a:gd name="T37" fmla="*/ 2147483646 h 1880"/>
                    <a:gd name="T38" fmla="*/ 2147483646 w 1448"/>
                    <a:gd name="T39" fmla="*/ 2147483646 h 1880"/>
                    <a:gd name="T40" fmla="*/ 2147483646 w 1448"/>
                    <a:gd name="T41" fmla="*/ 2147483646 h 1880"/>
                    <a:gd name="T42" fmla="*/ 2147483646 w 1448"/>
                    <a:gd name="T43" fmla="*/ 2147483646 h 1880"/>
                    <a:gd name="T44" fmla="*/ 2147483646 w 1448"/>
                    <a:gd name="T45" fmla="*/ 2147483646 h 1880"/>
                    <a:gd name="T46" fmla="*/ 2147483646 w 1448"/>
                    <a:gd name="T47" fmla="*/ 2147483646 h 1880"/>
                    <a:gd name="T48" fmla="*/ 2147483646 w 1448"/>
                    <a:gd name="T49" fmla="*/ 2147483646 h 1880"/>
                    <a:gd name="T50" fmla="*/ 2147483646 w 1448"/>
                    <a:gd name="T51" fmla="*/ 2147483646 h 1880"/>
                    <a:gd name="T52" fmla="*/ 2147483646 w 1448"/>
                    <a:gd name="T53" fmla="*/ 2147483646 h 1880"/>
                    <a:gd name="T54" fmla="*/ 2147483646 w 1448"/>
                    <a:gd name="T55" fmla="*/ 2147483646 h 1880"/>
                    <a:gd name="T56" fmla="*/ 2147483646 w 1448"/>
                    <a:gd name="T57" fmla="*/ 2147483646 h 1880"/>
                    <a:gd name="T58" fmla="*/ 2147483646 w 1448"/>
                    <a:gd name="T59" fmla="*/ 2147483646 h 1880"/>
                    <a:gd name="T60" fmla="*/ 2147483646 w 1448"/>
                    <a:gd name="T61" fmla="*/ 2147483646 h 1880"/>
                    <a:gd name="T62" fmla="*/ 2147483646 w 1448"/>
                    <a:gd name="T63" fmla="*/ 2147483646 h 1880"/>
                    <a:gd name="T64" fmla="*/ 2147483646 w 1448"/>
                    <a:gd name="T65" fmla="*/ 2147483646 h 1880"/>
                    <a:gd name="T66" fmla="*/ 2147483646 w 1448"/>
                    <a:gd name="T67" fmla="*/ 2147483646 h 1880"/>
                    <a:gd name="T68" fmla="*/ 2147483646 w 1448"/>
                    <a:gd name="T69" fmla="*/ 2147483646 h 1880"/>
                    <a:gd name="T70" fmla="*/ 2147483646 w 1448"/>
                    <a:gd name="T71" fmla="*/ 2147483646 h 1880"/>
                    <a:gd name="T72" fmla="*/ 2147483646 w 1448"/>
                    <a:gd name="T73" fmla="*/ 2147483646 h 1880"/>
                    <a:gd name="T74" fmla="*/ 2147483646 w 1448"/>
                    <a:gd name="T75" fmla="*/ 2147483646 h 1880"/>
                    <a:gd name="T76" fmla="*/ 2147483646 w 1448"/>
                    <a:gd name="T77" fmla="*/ 2147483646 h 1880"/>
                    <a:gd name="T78" fmla="*/ 2147483646 w 1448"/>
                    <a:gd name="T79" fmla="*/ 2147483646 h 1880"/>
                    <a:gd name="T80" fmla="*/ 2147483646 w 1448"/>
                    <a:gd name="T81" fmla="*/ 2147483646 h 1880"/>
                    <a:gd name="T82" fmla="*/ 2147483646 w 1448"/>
                    <a:gd name="T83" fmla="*/ 2147483646 h 1880"/>
                    <a:gd name="T84" fmla="*/ 2147483646 w 1448"/>
                    <a:gd name="T85" fmla="*/ 2147483646 h 1880"/>
                    <a:gd name="T86" fmla="*/ 2147483646 w 1448"/>
                    <a:gd name="T87" fmla="*/ 2147483646 h 18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48"/>
                    <a:gd name="T133" fmla="*/ 0 h 1880"/>
                    <a:gd name="T134" fmla="*/ 1448 w 1448"/>
                    <a:gd name="T135" fmla="*/ 1880 h 18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48" h="1880">
                      <a:moveTo>
                        <a:pt x="0" y="1762"/>
                      </a:moveTo>
                      <a:lnTo>
                        <a:pt x="13" y="1668"/>
                      </a:lnTo>
                      <a:lnTo>
                        <a:pt x="26" y="1575"/>
                      </a:lnTo>
                      <a:lnTo>
                        <a:pt x="44" y="1480"/>
                      </a:lnTo>
                      <a:lnTo>
                        <a:pt x="62" y="1386"/>
                      </a:lnTo>
                      <a:lnTo>
                        <a:pt x="82" y="1291"/>
                      </a:lnTo>
                      <a:lnTo>
                        <a:pt x="104" y="1197"/>
                      </a:lnTo>
                      <a:lnTo>
                        <a:pt x="126" y="1103"/>
                      </a:lnTo>
                      <a:lnTo>
                        <a:pt x="149" y="1010"/>
                      </a:lnTo>
                      <a:lnTo>
                        <a:pt x="158" y="976"/>
                      </a:lnTo>
                      <a:lnTo>
                        <a:pt x="167" y="941"/>
                      </a:lnTo>
                      <a:lnTo>
                        <a:pt x="176" y="906"/>
                      </a:lnTo>
                      <a:lnTo>
                        <a:pt x="185" y="871"/>
                      </a:lnTo>
                      <a:lnTo>
                        <a:pt x="195" y="835"/>
                      </a:lnTo>
                      <a:lnTo>
                        <a:pt x="204" y="799"/>
                      </a:lnTo>
                      <a:lnTo>
                        <a:pt x="213" y="765"/>
                      </a:lnTo>
                      <a:lnTo>
                        <a:pt x="222" y="730"/>
                      </a:lnTo>
                      <a:lnTo>
                        <a:pt x="244" y="651"/>
                      </a:lnTo>
                      <a:lnTo>
                        <a:pt x="266" y="571"/>
                      </a:lnTo>
                      <a:lnTo>
                        <a:pt x="286" y="492"/>
                      </a:lnTo>
                      <a:lnTo>
                        <a:pt x="304" y="412"/>
                      </a:lnTo>
                      <a:lnTo>
                        <a:pt x="321" y="333"/>
                      </a:lnTo>
                      <a:lnTo>
                        <a:pt x="336" y="253"/>
                      </a:lnTo>
                      <a:lnTo>
                        <a:pt x="351" y="173"/>
                      </a:lnTo>
                      <a:lnTo>
                        <a:pt x="364" y="93"/>
                      </a:lnTo>
                      <a:lnTo>
                        <a:pt x="366" y="70"/>
                      </a:lnTo>
                      <a:lnTo>
                        <a:pt x="371" y="46"/>
                      </a:lnTo>
                      <a:lnTo>
                        <a:pt x="373" y="23"/>
                      </a:lnTo>
                      <a:lnTo>
                        <a:pt x="372" y="0"/>
                      </a:lnTo>
                      <a:lnTo>
                        <a:pt x="396" y="0"/>
                      </a:lnTo>
                      <a:lnTo>
                        <a:pt x="420" y="0"/>
                      </a:lnTo>
                      <a:lnTo>
                        <a:pt x="445" y="1"/>
                      </a:lnTo>
                      <a:lnTo>
                        <a:pt x="469" y="2"/>
                      </a:lnTo>
                      <a:lnTo>
                        <a:pt x="493" y="3"/>
                      </a:lnTo>
                      <a:lnTo>
                        <a:pt x="517" y="4"/>
                      </a:lnTo>
                      <a:lnTo>
                        <a:pt x="540" y="7"/>
                      </a:lnTo>
                      <a:lnTo>
                        <a:pt x="564" y="9"/>
                      </a:lnTo>
                      <a:lnTo>
                        <a:pt x="587" y="11"/>
                      </a:lnTo>
                      <a:lnTo>
                        <a:pt x="611" y="14"/>
                      </a:lnTo>
                      <a:lnTo>
                        <a:pt x="635" y="16"/>
                      </a:lnTo>
                      <a:lnTo>
                        <a:pt x="658" y="19"/>
                      </a:lnTo>
                      <a:lnTo>
                        <a:pt x="682" y="22"/>
                      </a:lnTo>
                      <a:lnTo>
                        <a:pt x="706" y="24"/>
                      </a:lnTo>
                      <a:lnTo>
                        <a:pt x="729" y="26"/>
                      </a:lnTo>
                      <a:lnTo>
                        <a:pt x="753" y="29"/>
                      </a:lnTo>
                      <a:lnTo>
                        <a:pt x="797" y="36"/>
                      </a:lnTo>
                      <a:lnTo>
                        <a:pt x="840" y="42"/>
                      </a:lnTo>
                      <a:lnTo>
                        <a:pt x="882" y="49"/>
                      </a:lnTo>
                      <a:lnTo>
                        <a:pt x="926" y="56"/>
                      </a:lnTo>
                      <a:lnTo>
                        <a:pt x="969" y="63"/>
                      </a:lnTo>
                      <a:lnTo>
                        <a:pt x="1011" y="70"/>
                      </a:lnTo>
                      <a:lnTo>
                        <a:pt x="1055" y="77"/>
                      </a:lnTo>
                      <a:lnTo>
                        <a:pt x="1097" y="83"/>
                      </a:lnTo>
                      <a:lnTo>
                        <a:pt x="1140" y="89"/>
                      </a:lnTo>
                      <a:lnTo>
                        <a:pt x="1184" y="94"/>
                      </a:lnTo>
                      <a:lnTo>
                        <a:pt x="1226" y="99"/>
                      </a:lnTo>
                      <a:lnTo>
                        <a:pt x="1270" y="102"/>
                      </a:lnTo>
                      <a:lnTo>
                        <a:pt x="1314" y="106"/>
                      </a:lnTo>
                      <a:lnTo>
                        <a:pt x="1359" y="108"/>
                      </a:lnTo>
                      <a:lnTo>
                        <a:pt x="1403" y="109"/>
                      </a:lnTo>
                      <a:lnTo>
                        <a:pt x="1448" y="110"/>
                      </a:lnTo>
                      <a:lnTo>
                        <a:pt x="1440" y="167"/>
                      </a:lnTo>
                      <a:lnTo>
                        <a:pt x="1430" y="222"/>
                      </a:lnTo>
                      <a:lnTo>
                        <a:pt x="1421" y="279"/>
                      </a:lnTo>
                      <a:lnTo>
                        <a:pt x="1411" y="335"/>
                      </a:lnTo>
                      <a:lnTo>
                        <a:pt x="1400" y="392"/>
                      </a:lnTo>
                      <a:lnTo>
                        <a:pt x="1390" y="447"/>
                      </a:lnTo>
                      <a:lnTo>
                        <a:pt x="1380" y="503"/>
                      </a:lnTo>
                      <a:lnTo>
                        <a:pt x="1368" y="560"/>
                      </a:lnTo>
                      <a:lnTo>
                        <a:pt x="1355" y="615"/>
                      </a:lnTo>
                      <a:lnTo>
                        <a:pt x="1343" y="671"/>
                      </a:lnTo>
                      <a:lnTo>
                        <a:pt x="1330" y="728"/>
                      </a:lnTo>
                      <a:lnTo>
                        <a:pt x="1317" y="784"/>
                      </a:lnTo>
                      <a:lnTo>
                        <a:pt x="1302" y="840"/>
                      </a:lnTo>
                      <a:lnTo>
                        <a:pt x="1289" y="896"/>
                      </a:lnTo>
                      <a:lnTo>
                        <a:pt x="1274" y="952"/>
                      </a:lnTo>
                      <a:lnTo>
                        <a:pt x="1258" y="1009"/>
                      </a:lnTo>
                      <a:lnTo>
                        <a:pt x="1245" y="1048"/>
                      </a:lnTo>
                      <a:lnTo>
                        <a:pt x="1233" y="1087"/>
                      </a:lnTo>
                      <a:lnTo>
                        <a:pt x="1223" y="1125"/>
                      </a:lnTo>
                      <a:lnTo>
                        <a:pt x="1213" y="1163"/>
                      </a:lnTo>
                      <a:lnTo>
                        <a:pt x="1202" y="1202"/>
                      </a:lnTo>
                      <a:lnTo>
                        <a:pt x="1192" y="1240"/>
                      </a:lnTo>
                      <a:lnTo>
                        <a:pt x="1182" y="1280"/>
                      </a:lnTo>
                      <a:lnTo>
                        <a:pt x="1171" y="1319"/>
                      </a:lnTo>
                      <a:lnTo>
                        <a:pt x="1155" y="1388"/>
                      </a:lnTo>
                      <a:lnTo>
                        <a:pt x="1140" y="1458"/>
                      </a:lnTo>
                      <a:lnTo>
                        <a:pt x="1126" y="1528"/>
                      </a:lnTo>
                      <a:lnTo>
                        <a:pt x="1112" y="1599"/>
                      </a:lnTo>
                      <a:lnTo>
                        <a:pt x="1100" y="1669"/>
                      </a:lnTo>
                      <a:lnTo>
                        <a:pt x="1088" y="1739"/>
                      </a:lnTo>
                      <a:lnTo>
                        <a:pt x="1078" y="1810"/>
                      </a:lnTo>
                      <a:lnTo>
                        <a:pt x="1069" y="1880"/>
                      </a:lnTo>
                      <a:lnTo>
                        <a:pt x="1054" y="1879"/>
                      </a:lnTo>
                      <a:lnTo>
                        <a:pt x="1040" y="1878"/>
                      </a:lnTo>
                      <a:lnTo>
                        <a:pt x="1025" y="1876"/>
                      </a:lnTo>
                      <a:lnTo>
                        <a:pt x="1011" y="1874"/>
                      </a:lnTo>
                      <a:lnTo>
                        <a:pt x="996" y="1873"/>
                      </a:lnTo>
                      <a:lnTo>
                        <a:pt x="981" y="1872"/>
                      </a:lnTo>
                      <a:lnTo>
                        <a:pt x="967" y="1871"/>
                      </a:lnTo>
                      <a:lnTo>
                        <a:pt x="952" y="1869"/>
                      </a:lnTo>
                      <a:lnTo>
                        <a:pt x="922" y="1868"/>
                      </a:lnTo>
                      <a:lnTo>
                        <a:pt x="891" y="1867"/>
                      </a:lnTo>
                      <a:lnTo>
                        <a:pt x="861" y="1865"/>
                      </a:lnTo>
                      <a:lnTo>
                        <a:pt x="831" y="1863"/>
                      </a:lnTo>
                      <a:lnTo>
                        <a:pt x="802" y="1859"/>
                      </a:lnTo>
                      <a:lnTo>
                        <a:pt x="772" y="1857"/>
                      </a:lnTo>
                      <a:lnTo>
                        <a:pt x="742" y="1853"/>
                      </a:lnTo>
                      <a:lnTo>
                        <a:pt x="713" y="1850"/>
                      </a:lnTo>
                      <a:lnTo>
                        <a:pt x="683" y="1846"/>
                      </a:lnTo>
                      <a:lnTo>
                        <a:pt x="653" y="1842"/>
                      </a:lnTo>
                      <a:lnTo>
                        <a:pt x="623" y="1837"/>
                      </a:lnTo>
                      <a:lnTo>
                        <a:pt x="594" y="1834"/>
                      </a:lnTo>
                      <a:lnTo>
                        <a:pt x="564" y="1829"/>
                      </a:lnTo>
                      <a:lnTo>
                        <a:pt x="534" y="1825"/>
                      </a:lnTo>
                      <a:lnTo>
                        <a:pt x="506" y="1820"/>
                      </a:lnTo>
                      <a:lnTo>
                        <a:pt x="476" y="1815"/>
                      </a:lnTo>
                      <a:lnTo>
                        <a:pt x="447" y="1811"/>
                      </a:lnTo>
                      <a:lnTo>
                        <a:pt x="417" y="1806"/>
                      </a:lnTo>
                      <a:lnTo>
                        <a:pt x="387" y="1801"/>
                      </a:lnTo>
                      <a:lnTo>
                        <a:pt x="358" y="1798"/>
                      </a:lnTo>
                      <a:lnTo>
                        <a:pt x="328" y="1793"/>
                      </a:lnTo>
                      <a:lnTo>
                        <a:pt x="298" y="1789"/>
                      </a:lnTo>
                      <a:lnTo>
                        <a:pt x="269" y="1785"/>
                      </a:lnTo>
                      <a:lnTo>
                        <a:pt x="240" y="1782"/>
                      </a:lnTo>
                      <a:lnTo>
                        <a:pt x="210" y="1778"/>
                      </a:lnTo>
                      <a:lnTo>
                        <a:pt x="180" y="1775"/>
                      </a:lnTo>
                      <a:lnTo>
                        <a:pt x="150" y="1772"/>
                      </a:lnTo>
                      <a:lnTo>
                        <a:pt x="120" y="1769"/>
                      </a:lnTo>
                      <a:lnTo>
                        <a:pt x="90" y="1767"/>
                      </a:lnTo>
                      <a:lnTo>
                        <a:pt x="60" y="1765"/>
                      </a:lnTo>
                      <a:lnTo>
                        <a:pt x="30" y="1763"/>
                      </a:lnTo>
                      <a:lnTo>
                        <a:pt x="0" y="1762"/>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87" name="Freeform 121">
                  <a:extLst>
                    <a:ext uri="{FF2B5EF4-FFF2-40B4-BE49-F238E27FC236}">
                      <a16:creationId xmlns:a16="http://schemas.microsoft.com/office/drawing/2014/main" id="{92527AFA-EF0B-404C-8518-6CA845D24EC8}"/>
                    </a:ext>
                  </a:extLst>
                </p:cNvPr>
                <p:cNvSpPr>
                  <a:spLocks/>
                </p:cNvSpPr>
                <p:nvPr/>
              </p:nvSpPr>
              <p:spPr bwMode="auto">
                <a:xfrm>
                  <a:off x="6953264" y="928670"/>
                  <a:ext cx="221482" cy="197070"/>
                </a:xfrm>
                <a:custGeom>
                  <a:avLst/>
                  <a:gdLst>
                    <a:gd name="T0" fmla="*/ 2147483646 w 1506"/>
                    <a:gd name="T1" fmla="*/ 2147483646 h 1965"/>
                    <a:gd name="T2" fmla="*/ 2147483646 w 1506"/>
                    <a:gd name="T3" fmla="*/ 2147483646 h 1965"/>
                    <a:gd name="T4" fmla="*/ 2147483646 w 1506"/>
                    <a:gd name="T5" fmla="*/ 2147483646 h 1965"/>
                    <a:gd name="T6" fmla="*/ 2147483646 w 1506"/>
                    <a:gd name="T7" fmla="*/ 2147483646 h 1965"/>
                    <a:gd name="T8" fmla="*/ 2147483646 w 1506"/>
                    <a:gd name="T9" fmla="*/ 2147483646 h 1965"/>
                    <a:gd name="T10" fmla="*/ 2147483646 w 1506"/>
                    <a:gd name="T11" fmla="*/ 2147483646 h 1965"/>
                    <a:gd name="T12" fmla="*/ 2147483646 w 1506"/>
                    <a:gd name="T13" fmla="*/ 2147483646 h 1965"/>
                    <a:gd name="T14" fmla="*/ 2147483646 w 1506"/>
                    <a:gd name="T15" fmla="*/ 2147483646 h 1965"/>
                    <a:gd name="T16" fmla="*/ 2147483646 w 1506"/>
                    <a:gd name="T17" fmla="*/ 2147483646 h 1965"/>
                    <a:gd name="T18" fmla="*/ 2147483646 w 1506"/>
                    <a:gd name="T19" fmla="*/ 2147483646 h 1965"/>
                    <a:gd name="T20" fmla="*/ 2147483646 w 1506"/>
                    <a:gd name="T21" fmla="*/ 2147483646 h 1965"/>
                    <a:gd name="T22" fmla="*/ 2147483646 w 1506"/>
                    <a:gd name="T23" fmla="*/ 2147483646 h 1965"/>
                    <a:gd name="T24" fmla="*/ 2147483646 w 1506"/>
                    <a:gd name="T25" fmla="*/ 2147483646 h 1965"/>
                    <a:gd name="T26" fmla="*/ 2147483646 w 1506"/>
                    <a:gd name="T27" fmla="*/ 2147483646 h 1965"/>
                    <a:gd name="T28" fmla="*/ 2147483646 w 1506"/>
                    <a:gd name="T29" fmla="*/ 2147483646 h 1965"/>
                    <a:gd name="T30" fmla="*/ 2147483646 w 1506"/>
                    <a:gd name="T31" fmla="*/ 2147483646 h 1965"/>
                    <a:gd name="T32" fmla="*/ 2147483646 w 1506"/>
                    <a:gd name="T33" fmla="*/ 2147483646 h 1965"/>
                    <a:gd name="T34" fmla="*/ 2147483646 w 1506"/>
                    <a:gd name="T35" fmla="*/ 2147483646 h 1965"/>
                    <a:gd name="T36" fmla="*/ 2147483646 w 1506"/>
                    <a:gd name="T37" fmla="*/ 2147483646 h 1965"/>
                    <a:gd name="T38" fmla="*/ 2147483646 w 1506"/>
                    <a:gd name="T39" fmla="*/ 2147483646 h 1965"/>
                    <a:gd name="T40" fmla="*/ 2147483646 w 1506"/>
                    <a:gd name="T41" fmla="*/ 2147483646 h 1965"/>
                    <a:gd name="T42" fmla="*/ 2147483646 w 1506"/>
                    <a:gd name="T43" fmla="*/ 2147483646 h 1965"/>
                    <a:gd name="T44" fmla="*/ 2147483646 w 1506"/>
                    <a:gd name="T45" fmla="*/ 2147483646 h 1965"/>
                    <a:gd name="T46" fmla="*/ 2147483646 w 1506"/>
                    <a:gd name="T47" fmla="*/ 2147483646 h 1965"/>
                    <a:gd name="T48" fmla="*/ 2147483646 w 1506"/>
                    <a:gd name="T49" fmla="*/ 2147483646 h 1965"/>
                    <a:gd name="T50" fmla="*/ 2147483646 w 1506"/>
                    <a:gd name="T51" fmla="*/ 2147483646 h 1965"/>
                    <a:gd name="T52" fmla="*/ 2147483646 w 1506"/>
                    <a:gd name="T53" fmla="*/ 2147483646 h 1965"/>
                    <a:gd name="T54" fmla="*/ 2147483646 w 1506"/>
                    <a:gd name="T55" fmla="*/ 2147483646 h 1965"/>
                    <a:gd name="T56" fmla="*/ 2147483646 w 1506"/>
                    <a:gd name="T57" fmla="*/ 2147483646 h 1965"/>
                    <a:gd name="T58" fmla="*/ 2147483646 w 1506"/>
                    <a:gd name="T59" fmla="*/ 2147483646 h 1965"/>
                    <a:gd name="T60" fmla="*/ 2147483646 w 1506"/>
                    <a:gd name="T61" fmla="*/ 2147483646 h 1965"/>
                    <a:gd name="T62" fmla="*/ 2147483646 w 1506"/>
                    <a:gd name="T63" fmla="*/ 2147483646 h 1965"/>
                    <a:gd name="T64" fmla="*/ 2147483646 w 1506"/>
                    <a:gd name="T65" fmla="*/ 2147483646 h 1965"/>
                    <a:gd name="T66" fmla="*/ 2147483646 w 1506"/>
                    <a:gd name="T67" fmla="*/ 2147483646 h 1965"/>
                    <a:gd name="T68" fmla="*/ 2147483646 w 1506"/>
                    <a:gd name="T69" fmla="*/ 2147483646 h 1965"/>
                    <a:gd name="T70" fmla="*/ 2147483646 w 1506"/>
                    <a:gd name="T71" fmla="*/ 2147483646 h 1965"/>
                    <a:gd name="T72" fmla="*/ 2147483646 w 1506"/>
                    <a:gd name="T73" fmla="*/ 2147483646 h 1965"/>
                    <a:gd name="T74" fmla="*/ 2147483646 w 1506"/>
                    <a:gd name="T75" fmla="*/ 2147483646 h 1965"/>
                    <a:gd name="T76" fmla="*/ 2147483646 w 1506"/>
                    <a:gd name="T77" fmla="*/ 2147483646 h 1965"/>
                    <a:gd name="T78" fmla="*/ 2147483646 w 1506"/>
                    <a:gd name="T79" fmla="*/ 2147483646 h 1965"/>
                    <a:gd name="T80" fmla="*/ 2147483646 w 1506"/>
                    <a:gd name="T81" fmla="*/ 2147483646 h 1965"/>
                    <a:gd name="T82" fmla="*/ 2147483646 w 1506"/>
                    <a:gd name="T83" fmla="*/ 2147483646 h 1965"/>
                    <a:gd name="T84" fmla="*/ 2147483646 w 1506"/>
                    <a:gd name="T85" fmla="*/ 2147483646 h 1965"/>
                    <a:gd name="T86" fmla="*/ 2147483646 w 1506"/>
                    <a:gd name="T87" fmla="*/ 2147483646 h 1965"/>
                    <a:gd name="T88" fmla="*/ 2147483646 w 1506"/>
                    <a:gd name="T89" fmla="*/ 2147483646 h 1965"/>
                    <a:gd name="T90" fmla="*/ 0 w 1506"/>
                    <a:gd name="T91" fmla="*/ 2147483646 h 196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6"/>
                    <a:gd name="T139" fmla="*/ 0 h 1965"/>
                    <a:gd name="T140" fmla="*/ 1506 w 1506"/>
                    <a:gd name="T141" fmla="*/ 1965 h 196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6" h="1965">
                      <a:moveTo>
                        <a:pt x="0" y="1856"/>
                      </a:moveTo>
                      <a:lnTo>
                        <a:pt x="10" y="1779"/>
                      </a:lnTo>
                      <a:lnTo>
                        <a:pt x="22" y="1700"/>
                      </a:lnTo>
                      <a:lnTo>
                        <a:pt x="35" y="1623"/>
                      </a:lnTo>
                      <a:lnTo>
                        <a:pt x="48" y="1546"/>
                      </a:lnTo>
                      <a:lnTo>
                        <a:pt x="63" y="1469"/>
                      </a:lnTo>
                      <a:lnTo>
                        <a:pt x="79" y="1392"/>
                      </a:lnTo>
                      <a:lnTo>
                        <a:pt x="96" y="1316"/>
                      </a:lnTo>
                      <a:lnTo>
                        <a:pt x="113" y="1238"/>
                      </a:lnTo>
                      <a:lnTo>
                        <a:pt x="130" y="1161"/>
                      </a:lnTo>
                      <a:lnTo>
                        <a:pt x="149" y="1085"/>
                      </a:lnTo>
                      <a:lnTo>
                        <a:pt x="167" y="1008"/>
                      </a:lnTo>
                      <a:lnTo>
                        <a:pt x="187" y="932"/>
                      </a:lnTo>
                      <a:lnTo>
                        <a:pt x="205" y="855"/>
                      </a:lnTo>
                      <a:lnTo>
                        <a:pt x="225" y="778"/>
                      </a:lnTo>
                      <a:lnTo>
                        <a:pt x="244" y="702"/>
                      </a:lnTo>
                      <a:lnTo>
                        <a:pt x="263" y="624"/>
                      </a:lnTo>
                      <a:lnTo>
                        <a:pt x="282" y="547"/>
                      </a:lnTo>
                      <a:lnTo>
                        <a:pt x="301" y="470"/>
                      </a:lnTo>
                      <a:lnTo>
                        <a:pt x="318" y="392"/>
                      </a:lnTo>
                      <a:lnTo>
                        <a:pt x="334" y="313"/>
                      </a:lnTo>
                      <a:lnTo>
                        <a:pt x="348" y="235"/>
                      </a:lnTo>
                      <a:lnTo>
                        <a:pt x="360" y="157"/>
                      </a:lnTo>
                      <a:lnTo>
                        <a:pt x="371" y="78"/>
                      </a:lnTo>
                      <a:lnTo>
                        <a:pt x="380" y="0"/>
                      </a:lnTo>
                      <a:lnTo>
                        <a:pt x="415" y="1"/>
                      </a:lnTo>
                      <a:lnTo>
                        <a:pt x="448" y="2"/>
                      </a:lnTo>
                      <a:lnTo>
                        <a:pt x="481" y="3"/>
                      </a:lnTo>
                      <a:lnTo>
                        <a:pt x="516" y="6"/>
                      </a:lnTo>
                      <a:lnTo>
                        <a:pt x="549" y="8"/>
                      </a:lnTo>
                      <a:lnTo>
                        <a:pt x="583" y="10"/>
                      </a:lnTo>
                      <a:lnTo>
                        <a:pt x="617" y="14"/>
                      </a:lnTo>
                      <a:lnTo>
                        <a:pt x="651" y="17"/>
                      </a:lnTo>
                      <a:lnTo>
                        <a:pt x="684" y="21"/>
                      </a:lnTo>
                      <a:lnTo>
                        <a:pt x="717" y="24"/>
                      </a:lnTo>
                      <a:lnTo>
                        <a:pt x="751" y="28"/>
                      </a:lnTo>
                      <a:lnTo>
                        <a:pt x="784" y="32"/>
                      </a:lnTo>
                      <a:lnTo>
                        <a:pt x="818" y="37"/>
                      </a:lnTo>
                      <a:lnTo>
                        <a:pt x="852" y="40"/>
                      </a:lnTo>
                      <a:lnTo>
                        <a:pt x="886" y="45"/>
                      </a:lnTo>
                      <a:lnTo>
                        <a:pt x="919" y="50"/>
                      </a:lnTo>
                      <a:lnTo>
                        <a:pt x="952" y="54"/>
                      </a:lnTo>
                      <a:lnTo>
                        <a:pt x="986" y="59"/>
                      </a:lnTo>
                      <a:lnTo>
                        <a:pt x="1019" y="63"/>
                      </a:lnTo>
                      <a:lnTo>
                        <a:pt x="1053" y="68"/>
                      </a:lnTo>
                      <a:lnTo>
                        <a:pt x="1086" y="73"/>
                      </a:lnTo>
                      <a:lnTo>
                        <a:pt x="1119" y="77"/>
                      </a:lnTo>
                      <a:lnTo>
                        <a:pt x="1153" y="81"/>
                      </a:lnTo>
                      <a:lnTo>
                        <a:pt x="1186" y="85"/>
                      </a:lnTo>
                      <a:lnTo>
                        <a:pt x="1220" y="90"/>
                      </a:lnTo>
                      <a:lnTo>
                        <a:pt x="1253" y="93"/>
                      </a:lnTo>
                      <a:lnTo>
                        <a:pt x="1286" y="97"/>
                      </a:lnTo>
                      <a:lnTo>
                        <a:pt x="1320" y="100"/>
                      </a:lnTo>
                      <a:lnTo>
                        <a:pt x="1353" y="104"/>
                      </a:lnTo>
                      <a:lnTo>
                        <a:pt x="1388" y="106"/>
                      </a:lnTo>
                      <a:lnTo>
                        <a:pt x="1421" y="108"/>
                      </a:lnTo>
                      <a:lnTo>
                        <a:pt x="1455" y="111"/>
                      </a:lnTo>
                      <a:lnTo>
                        <a:pt x="1461" y="111"/>
                      </a:lnTo>
                      <a:lnTo>
                        <a:pt x="1467" y="111"/>
                      </a:lnTo>
                      <a:lnTo>
                        <a:pt x="1474" y="111"/>
                      </a:lnTo>
                      <a:lnTo>
                        <a:pt x="1481" y="109"/>
                      </a:lnTo>
                      <a:lnTo>
                        <a:pt x="1487" y="108"/>
                      </a:lnTo>
                      <a:lnTo>
                        <a:pt x="1494" y="108"/>
                      </a:lnTo>
                      <a:lnTo>
                        <a:pt x="1499" y="108"/>
                      </a:lnTo>
                      <a:lnTo>
                        <a:pt x="1506" y="108"/>
                      </a:lnTo>
                      <a:lnTo>
                        <a:pt x="1505" y="151"/>
                      </a:lnTo>
                      <a:lnTo>
                        <a:pt x="1501" y="195"/>
                      </a:lnTo>
                      <a:lnTo>
                        <a:pt x="1495" y="237"/>
                      </a:lnTo>
                      <a:lnTo>
                        <a:pt x="1488" y="280"/>
                      </a:lnTo>
                      <a:lnTo>
                        <a:pt x="1480" y="323"/>
                      </a:lnTo>
                      <a:lnTo>
                        <a:pt x="1471" y="365"/>
                      </a:lnTo>
                      <a:lnTo>
                        <a:pt x="1463" y="408"/>
                      </a:lnTo>
                      <a:lnTo>
                        <a:pt x="1453" y="450"/>
                      </a:lnTo>
                      <a:lnTo>
                        <a:pt x="1443" y="511"/>
                      </a:lnTo>
                      <a:lnTo>
                        <a:pt x="1433" y="573"/>
                      </a:lnTo>
                      <a:lnTo>
                        <a:pt x="1420" y="634"/>
                      </a:lnTo>
                      <a:lnTo>
                        <a:pt x="1407" y="693"/>
                      </a:lnTo>
                      <a:lnTo>
                        <a:pt x="1393" y="755"/>
                      </a:lnTo>
                      <a:lnTo>
                        <a:pt x="1379" y="814"/>
                      </a:lnTo>
                      <a:lnTo>
                        <a:pt x="1364" y="874"/>
                      </a:lnTo>
                      <a:lnTo>
                        <a:pt x="1349" y="934"/>
                      </a:lnTo>
                      <a:lnTo>
                        <a:pt x="1332" y="994"/>
                      </a:lnTo>
                      <a:lnTo>
                        <a:pt x="1316" y="1053"/>
                      </a:lnTo>
                      <a:lnTo>
                        <a:pt x="1300" y="1113"/>
                      </a:lnTo>
                      <a:lnTo>
                        <a:pt x="1284" y="1173"/>
                      </a:lnTo>
                      <a:lnTo>
                        <a:pt x="1268" y="1231"/>
                      </a:lnTo>
                      <a:lnTo>
                        <a:pt x="1253" y="1291"/>
                      </a:lnTo>
                      <a:lnTo>
                        <a:pt x="1238" y="1350"/>
                      </a:lnTo>
                      <a:lnTo>
                        <a:pt x="1223" y="1410"/>
                      </a:lnTo>
                      <a:lnTo>
                        <a:pt x="1208" y="1479"/>
                      </a:lnTo>
                      <a:lnTo>
                        <a:pt x="1194" y="1548"/>
                      </a:lnTo>
                      <a:lnTo>
                        <a:pt x="1182" y="1617"/>
                      </a:lnTo>
                      <a:lnTo>
                        <a:pt x="1169" y="1688"/>
                      </a:lnTo>
                      <a:lnTo>
                        <a:pt x="1159" y="1757"/>
                      </a:lnTo>
                      <a:lnTo>
                        <a:pt x="1147" y="1826"/>
                      </a:lnTo>
                      <a:lnTo>
                        <a:pt x="1138" y="1896"/>
                      </a:lnTo>
                      <a:lnTo>
                        <a:pt x="1127" y="1965"/>
                      </a:lnTo>
                      <a:lnTo>
                        <a:pt x="1095" y="1965"/>
                      </a:lnTo>
                      <a:lnTo>
                        <a:pt x="1062" y="1965"/>
                      </a:lnTo>
                      <a:lnTo>
                        <a:pt x="1030" y="1965"/>
                      </a:lnTo>
                      <a:lnTo>
                        <a:pt x="997" y="1964"/>
                      </a:lnTo>
                      <a:lnTo>
                        <a:pt x="965" y="1962"/>
                      </a:lnTo>
                      <a:lnTo>
                        <a:pt x="933" y="1959"/>
                      </a:lnTo>
                      <a:lnTo>
                        <a:pt x="902" y="1957"/>
                      </a:lnTo>
                      <a:lnTo>
                        <a:pt x="869" y="1954"/>
                      </a:lnTo>
                      <a:lnTo>
                        <a:pt x="837" y="1951"/>
                      </a:lnTo>
                      <a:lnTo>
                        <a:pt x="805" y="1947"/>
                      </a:lnTo>
                      <a:lnTo>
                        <a:pt x="774" y="1943"/>
                      </a:lnTo>
                      <a:lnTo>
                        <a:pt x="742" y="1939"/>
                      </a:lnTo>
                      <a:lnTo>
                        <a:pt x="711" y="1934"/>
                      </a:lnTo>
                      <a:lnTo>
                        <a:pt x="678" y="1931"/>
                      </a:lnTo>
                      <a:lnTo>
                        <a:pt x="647" y="1925"/>
                      </a:lnTo>
                      <a:lnTo>
                        <a:pt x="615" y="1920"/>
                      </a:lnTo>
                      <a:lnTo>
                        <a:pt x="584" y="1916"/>
                      </a:lnTo>
                      <a:lnTo>
                        <a:pt x="552" y="1911"/>
                      </a:lnTo>
                      <a:lnTo>
                        <a:pt x="519" y="1906"/>
                      </a:lnTo>
                      <a:lnTo>
                        <a:pt x="488" y="1902"/>
                      </a:lnTo>
                      <a:lnTo>
                        <a:pt x="456" y="1897"/>
                      </a:lnTo>
                      <a:lnTo>
                        <a:pt x="424" y="1893"/>
                      </a:lnTo>
                      <a:lnTo>
                        <a:pt x="393" y="1888"/>
                      </a:lnTo>
                      <a:lnTo>
                        <a:pt x="360" y="1885"/>
                      </a:lnTo>
                      <a:lnTo>
                        <a:pt x="328" y="1881"/>
                      </a:lnTo>
                      <a:lnTo>
                        <a:pt x="296" y="1878"/>
                      </a:lnTo>
                      <a:lnTo>
                        <a:pt x="264" y="1874"/>
                      </a:lnTo>
                      <a:lnTo>
                        <a:pt x="231" y="1872"/>
                      </a:lnTo>
                      <a:lnTo>
                        <a:pt x="198" y="1868"/>
                      </a:lnTo>
                      <a:lnTo>
                        <a:pt x="166" y="1867"/>
                      </a:lnTo>
                      <a:lnTo>
                        <a:pt x="134" y="1866"/>
                      </a:lnTo>
                      <a:lnTo>
                        <a:pt x="100" y="1865"/>
                      </a:lnTo>
                      <a:lnTo>
                        <a:pt x="88" y="1864"/>
                      </a:lnTo>
                      <a:lnTo>
                        <a:pt x="75" y="1863"/>
                      </a:lnTo>
                      <a:lnTo>
                        <a:pt x="62" y="1862"/>
                      </a:lnTo>
                      <a:lnTo>
                        <a:pt x="51" y="1860"/>
                      </a:lnTo>
                      <a:lnTo>
                        <a:pt x="38" y="1859"/>
                      </a:lnTo>
                      <a:lnTo>
                        <a:pt x="25" y="1858"/>
                      </a:lnTo>
                      <a:lnTo>
                        <a:pt x="13" y="1857"/>
                      </a:lnTo>
                      <a:lnTo>
                        <a:pt x="0" y="18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88" name="Freeform 122">
                  <a:extLst>
                    <a:ext uri="{FF2B5EF4-FFF2-40B4-BE49-F238E27FC236}">
                      <a16:creationId xmlns:a16="http://schemas.microsoft.com/office/drawing/2014/main" id="{79A637C3-389F-48FD-B15A-C6FBC68128C7}"/>
                    </a:ext>
                  </a:extLst>
                </p:cNvPr>
                <p:cNvSpPr>
                  <a:spLocks/>
                </p:cNvSpPr>
                <p:nvPr/>
              </p:nvSpPr>
              <p:spPr bwMode="auto">
                <a:xfrm>
                  <a:off x="6957970" y="933081"/>
                  <a:ext cx="212952" cy="188650"/>
                </a:xfrm>
                <a:custGeom>
                  <a:avLst/>
                  <a:gdLst>
                    <a:gd name="T0" fmla="*/ 2147483646 w 1448"/>
                    <a:gd name="T1" fmla="*/ 2147483646 h 1881"/>
                    <a:gd name="T2" fmla="*/ 2147483646 w 1448"/>
                    <a:gd name="T3" fmla="*/ 2147483646 h 1881"/>
                    <a:gd name="T4" fmla="*/ 2147483646 w 1448"/>
                    <a:gd name="T5" fmla="*/ 2147483646 h 1881"/>
                    <a:gd name="T6" fmla="*/ 2147483646 w 1448"/>
                    <a:gd name="T7" fmla="*/ 2147483646 h 1881"/>
                    <a:gd name="T8" fmla="*/ 2147483646 w 1448"/>
                    <a:gd name="T9" fmla="*/ 2147483646 h 1881"/>
                    <a:gd name="T10" fmla="*/ 2147483646 w 1448"/>
                    <a:gd name="T11" fmla="*/ 2147483646 h 1881"/>
                    <a:gd name="T12" fmla="*/ 2147483646 w 1448"/>
                    <a:gd name="T13" fmla="*/ 2147483646 h 1881"/>
                    <a:gd name="T14" fmla="*/ 2147483646 w 1448"/>
                    <a:gd name="T15" fmla="*/ 2147483646 h 1881"/>
                    <a:gd name="T16" fmla="*/ 2147483646 w 1448"/>
                    <a:gd name="T17" fmla="*/ 2147483646 h 1881"/>
                    <a:gd name="T18" fmla="*/ 2147483646 w 1448"/>
                    <a:gd name="T19" fmla="*/ 0 h 1881"/>
                    <a:gd name="T20" fmla="*/ 2147483646 w 1448"/>
                    <a:gd name="T21" fmla="*/ 2147483646 h 1881"/>
                    <a:gd name="T22" fmla="*/ 2147483646 w 1448"/>
                    <a:gd name="T23" fmla="*/ 2147483646 h 1881"/>
                    <a:gd name="T24" fmla="*/ 2147483646 w 1448"/>
                    <a:gd name="T25" fmla="*/ 2147483646 h 1881"/>
                    <a:gd name="T26" fmla="*/ 2147483646 w 1448"/>
                    <a:gd name="T27" fmla="*/ 2147483646 h 1881"/>
                    <a:gd name="T28" fmla="*/ 2147483646 w 1448"/>
                    <a:gd name="T29" fmla="*/ 2147483646 h 1881"/>
                    <a:gd name="T30" fmla="*/ 2147483646 w 1448"/>
                    <a:gd name="T31" fmla="*/ 2147483646 h 1881"/>
                    <a:gd name="T32" fmla="*/ 2147483646 w 1448"/>
                    <a:gd name="T33" fmla="*/ 2147483646 h 1881"/>
                    <a:gd name="T34" fmla="*/ 2147483646 w 1448"/>
                    <a:gd name="T35" fmla="*/ 2147483646 h 1881"/>
                    <a:gd name="T36" fmla="*/ 2147483646 w 1448"/>
                    <a:gd name="T37" fmla="*/ 2147483646 h 1881"/>
                    <a:gd name="T38" fmla="*/ 2147483646 w 1448"/>
                    <a:gd name="T39" fmla="*/ 2147483646 h 1881"/>
                    <a:gd name="T40" fmla="*/ 2147483646 w 1448"/>
                    <a:gd name="T41" fmla="*/ 2147483646 h 1881"/>
                    <a:gd name="T42" fmla="*/ 2147483646 w 1448"/>
                    <a:gd name="T43" fmla="*/ 2147483646 h 1881"/>
                    <a:gd name="T44" fmla="*/ 2147483646 w 1448"/>
                    <a:gd name="T45" fmla="*/ 2147483646 h 1881"/>
                    <a:gd name="T46" fmla="*/ 2147483646 w 1448"/>
                    <a:gd name="T47" fmla="*/ 2147483646 h 1881"/>
                    <a:gd name="T48" fmla="*/ 2147483646 w 1448"/>
                    <a:gd name="T49" fmla="*/ 2147483646 h 1881"/>
                    <a:gd name="T50" fmla="*/ 2147483646 w 1448"/>
                    <a:gd name="T51" fmla="*/ 2147483646 h 1881"/>
                    <a:gd name="T52" fmla="*/ 2147483646 w 1448"/>
                    <a:gd name="T53" fmla="*/ 2147483646 h 1881"/>
                    <a:gd name="T54" fmla="*/ 2147483646 w 1448"/>
                    <a:gd name="T55" fmla="*/ 2147483646 h 1881"/>
                    <a:gd name="T56" fmla="*/ 2147483646 w 1448"/>
                    <a:gd name="T57" fmla="*/ 2147483646 h 1881"/>
                    <a:gd name="T58" fmla="*/ 2147483646 w 1448"/>
                    <a:gd name="T59" fmla="*/ 2147483646 h 1881"/>
                    <a:gd name="T60" fmla="*/ 2147483646 w 1448"/>
                    <a:gd name="T61" fmla="*/ 2147483646 h 1881"/>
                    <a:gd name="T62" fmla="*/ 2147483646 w 1448"/>
                    <a:gd name="T63" fmla="*/ 2147483646 h 1881"/>
                    <a:gd name="T64" fmla="*/ 2147483646 w 1448"/>
                    <a:gd name="T65" fmla="*/ 2147483646 h 1881"/>
                    <a:gd name="T66" fmla="*/ 2147483646 w 1448"/>
                    <a:gd name="T67" fmla="*/ 2147483646 h 1881"/>
                    <a:gd name="T68" fmla="*/ 2147483646 w 1448"/>
                    <a:gd name="T69" fmla="*/ 2147483646 h 1881"/>
                    <a:gd name="T70" fmla="*/ 2147483646 w 1448"/>
                    <a:gd name="T71" fmla="*/ 2147483646 h 1881"/>
                    <a:gd name="T72" fmla="*/ 2147483646 w 1448"/>
                    <a:gd name="T73" fmla="*/ 2147483646 h 1881"/>
                    <a:gd name="T74" fmla="*/ 2147483646 w 1448"/>
                    <a:gd name="T75" fmla="*/ 2147483646 h 1881"/>
                    <a:gd name="T76" fmla="*/ 2147483646 w 1448"/>
                    <a:gd name="T77" fmla="*/ 2147483646 h 1881"/>
                    <a:gd name="T78" fmla="*/ 2147483646 w 1448"/>
                    <a:gd name="T79" fmla="*/ 2147483646 h 1881"/>
                    <a:gd name="T80" fmla="*/ 2147483646 w 1448"/>
                    <a:gd name="T81" fmla="*/ 2147483646 h 1881"/>
                    <a:gd name="T82" fmla="*/ 2147483646 w 1448"/>
                    <a:gd name="T83" fmla="*/ 2147483646 h 1881"/>
                    <a:gd name="T84" fmla="*/ 2147483646 w 1448"/>
                    <a:gd name="T85" fmla="*/ 2147483646 h 1881"/>
                    <a:gd name="T86" fmla="*/ 2147483646 w 1448"/>
                    <a:gd name="T87" fmla="*/ 2147483646 h 188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48"/>
                    <a:gd name="T133" fmla="*/ 0 h 1881"/>
                    <a:gd name="T134" fmla="*/ 1448 w 1448"/>
                    <a:gd name="T135" fmla="*/ 1881 h 188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48" h="1881">
                      <a:moveTo>
                        <a:pt x="0" y="1764"/>
                      </a:moveTo>
                      <a:lnTo>
                        <a:pt x="13" y="1669"/>
                      </a:lnTo>
                      <a:lnTo>
                        <a:pt x="27" y="1576"/>
                      </a:lnTo>
                      <a:lnTo>
                        <a:pt x="44" y="1481"/>
                      </a:lnTo>
                      <a:lnTo>
                        <a:pt x="62" y="1386"/>
                      </a:lnTo>
                      <a:lnTo>
                        <a:pt x="82" y="1292"/>
                      </a:lnTo>
                      <a:lnTo>
                        <a:pt x="103" y="1198"/>
                      </a:lnTo>
                      <a:lnTo>
                        <a:pt x="125" y="1105"/>
                      </a:lnTo>
                      <a:lnTo>
                        <a:pt x="148" y="1012"/>
                      </a:lnTo>
                      <a:lnTo>
                        <a:pt x="157" y="978"/>
                      </a:lnTo>
                      <a:lnTo>
                        <a:pt x="166" y="942"/>
                      </a:lnTo>
                      <a:lnTo>
                        <a:pt x="176" y="907"/>
                      </a:lnTo>
                      <a:lnTo>
                        <a:pt x="186" y="871"/>
                      </a:lnTo>
                      <a:lnTo>
                        <a:pt x="195" y="836"/>
                      </a:lnTo>
                      <a:lnTo>
                        <a:pt x="204" y="801"/>
                      </a:lnTo>
                      <a:lnTo>
                        <a:pt x="213" y="765"/>
                      </a:lnTo>
                      <a:lnTo>
                        <a:pt x="223" y="730"/>
                      </a:lnTo>
                      <a:lnTo>
                        <a:pt x="244" y="651"/>
                      </a:lnTo>
                      <a:lnTo>
                        <a:pt x="266" y="572"/>
                      </a:lnTo>
                      <a:lnTo>
                        <a:pt x="286" y="493"/>
                      </a:lnTo>
                      <a:lnTo>
                        <a:pt x="304" y="413"/>
                      </a:lnTo>
                      <a:lnTo>
                        <a:pt x="322" y="333"/>
                      </a:lnTo>
                      <a:lnTo>
                        <a:pt x="337" y="253"/>
                      </a:lnTo>
                      <a:lnTo>
                        <a:pt x="351" y="174"/>
                      </a:lnTo>
                      <a:lnTo>
                        <a:pt x="364" y="93"/>
                      </a:lnTo>
                      <a:lnTo>
                        <a:pt x="366" y="70"/>
                      </a:lnTo>
                      <a:lnTo>
                        <a:pt x="371" y="47"/>
                      </a:lnTo>
                      <a:lnTo>
                        <a:pt x="373" y="23"/>
                      </a:lnTo>
                      <a:lnTo>
                        <a:pt x="372" y="0"/>
                      </a:lnTo>
                      <a:lnTo>
                        <a:pt x="396" y="0"/>
                      </a:lnTo>
                      <a:lnTo>
                        <a:pt x="421" y="0"/>
                      </a:lnTo>
                      <a:lnTo>
                        <a:pt x="445" y="1"/>
                      </a:lnTo>
                      <a:lnTo>
                        <a:pt x="469" y="2"/>
                      </a:lnTo>
                      <a:lnTo>
                        <a:pt x="493" y="3"/>
                      </a:lnTo>
                      <a:lnTo>
                        <a:pt x="517" y="6"/>
                      </a:lnTo>
                      <a:lnTo>
                        <a:pt x="540" y="8"/>
                      </a:lnTo>
                      <a:lnTo>
                        <a:pt x="565" y="9"/>
                      </a:lnTo>
                      <a:lnTo>
                        <a:pt x="588" y="13"/>
                      </a:lnTo>
                      <a:lnTo>
                        <a:pt x="612" y="15"/>
                      </a:lnTo>
                      <a:lnTo>
                        <a:pt x="635" y="17"/>
                      </a:lnTo>
                      <a:lnTo>
                        <a:pt x="658" y="20"/>
                      </a:lnTo>
                      <a:lnTo>
                        <a:pt x="682" y="22"/>
                      </a:lnTo>
                      <a:lnTo>
                        <a:pt x="706" y="25"/>
                      </a:lnTo>
                      <a:lnTo>
                        <a:pt x="729" y="28"/>
                      </a:lnTo>
                      <a:lnTo>
                        <a:pt x="753" y="30"/>
                      </a:lnTo>
                      <a:lnTo>
                        <a:pt x="797" y="37"/>
                      </a:lnTo>
                      <a:lnTo>
                        <a:pt x="840" y="44"/>
                      </a:lnTo>
                      <a:lnTo>
                        <a:pt x="882" y="51"/>
                      </a:lnTo>
                      <a:lnTo>
                        <a:pt x="926" y="58"/>
                      </a:lnTo>
                      <a:lnTo>
                        <a:pt x="969" y="64"/>
                      </a:lnTo>
                      <a:lnTo>
                        <a:pt x="1011" y="71"/>
                      </a:lnTo>
                      <a:lnTo>
                        <a:pt x="1055" y="78"/>
                      </a:lnTo>
                      <a:lnTo>
                        <a:pt x="1098" y="84"/>
                      </a:lnTo>
                      <a:lnTo>
                        <a:pt x="1140" y="90"/>
                      </a:lnTo>
                      <a:lnTo>
                        <a:pt x="1184" y="96"/>
                      </a:lnTo>
                      <a:lnTo>
                        <a:pt x="1227" y="100"/>
                      </a:lnTo>
                      <a:lnTo>
                        <a:pt x="1271" y="104"/>
                      </a:lnTo>
                      <a:lnTo>
                        <a:pt x="1314" y="107"/>
                      </a:lnTo>
                      <a:lnTo>
                        <a:pt x="1359" y="109"/>
                      </a:lnTo>
                      <a:lnTo>
                        <a:pt x="1403" y="111"/>
                      </a:lnTo>
                      <a:lnTo>
                        <a:pt x="1448" y="112"/>
                      </a:lnTo>
                      <a:lnTo>
                        <a:pt x="1440" y="168"/>
                      </a:lnTo>
                      <a:lnTo>
                        <a:pt x="1431" y="223"/>
                      </a:lnTo>
                      <a:lnTo>
                        <a:pt x="1421" y="280"/>
                      </a:lnTo>
                      <a:lnTo>
                        <a:pt x="1411" y="336"/>
                      </a:lnTo>
                      <a:lnTo>
                        <a:pt x="1401" y="392"/>
                      </a:lnTo>
                      <a:lnTo>
                        <a:pt x="1390" y="448"/>
                      </a:lnTo>
                      <a:lnTo>
                        <a:pt x="1379" y="504"/>
                      </a:lnTo>
                      <a:lnTo>
                        <a:pt x="1367" y="560"/>
                      </a:lnTo>
                      <a:lnTo>
                        <a:pt x="1356" y="616"/>
                      </a:lnTo>
                      <a:lnTo>
                        <a:pt x="1343" y="673"/>
                      </a:lnTo>
                      <a:lnTo>
                        <a:pt x="1330" y="729"/>
                      </a:lnTo>
                      <a:lnTo>
                        <a:pt x="1317" y="786"/>
                      </a:lnTo>
                      <a:lnTo>
                        <a:pt x="1303" y="842"/>
                      </a:lnTo>
                      <a:lnTo>
                        <a:pt x="1288" y="898"/>
                      </a:lnTo>
                      <a:lnTo>
                        <a:pt x="1273" y="955"/>
                      </a:lnTo>
                      <a:lnTo>
                        <a:pt x="1258" y="1011"/>
                      </a:lnTo>
                      <a:lnTo>
                        <a:pt x="1245" y="1050"/>
                      </a:lnTo>
                      <a:lnTo>
                        <a:pt x="1234" y="1089"/>
                      </a:lnTo>
                      <a:lnTo>
                        <a:pt x="1223" y="1127"/>
                      </a:lnTo>
                      <a:lnTo>
                        <a:pt x="1213" y="1165"/>
                      </a:lnTo>
                      <a:lnTo>
                        <a:pt x="1203" y="1204"/>
                      </a:lnTo>
                      <a:lnTo>
                        <a:pt x="1192" y="1242"/>
                      </a:lnTo>
                      <a:lnTo>
                        <a:pt x="1182" y="1281"/>
                      </a:lnTo>
                      <a:lnTo>
                        <a:pt x="1171" y="1320"/>
                      </a:lnTo>
                      <a:lnTo>
                        <a:pt x="1156" y="1389"/>
                      </a:lnTo>
                      <a:lnTo>
                        <a:pt x="1142" y="1459"/>
                      </a:lnTo>
                      <a:lnTo>
                        <a:pt x="1127" y="1530"/>
                      </a:lnTo>
                      <a:lnTo>
                        <a:pt x="1113" y="1600"/>
                      </a:lnTo>
                      <a:lnTo>
                        <a:pt x="1100" y="1670"/>
                      </a:lnTo>
                      <a:lnTo>
                        <a:pt x="1089" y="1741"/>
                      </a:lnTo>
                      <a:lnTo>
                        <a:pt x="1078" y="1811"/>
                      </a:lnTo>
                      <a:lnTo>
                        <a:pt x="1069" y="1881"/>
                      </a:lnTo>
                      <a:lnTo>
                        <a:pt x="1054" y="1880"/>
                      </a:lnTo>
                      <a:lnTo>
                        <a:pt x="1040" y="1879"/>
                      </a:lnTo>
                      <a:lnTo>
                        <a:pt x="1025" y="1876"/>
                      </a:lnTo>
                      <a:lnTo>
                        <a:pt x="1010" y="1875"/>
                      </a:lnTo>
                      <a:lnTo>
                        <a:pt x="995" y="1874"/>
                      </a:lnTo>
                      <a:lnTo>
                        <a:pt x="981" y="1872"/>
                      </a:lnTo>
                      <a:lnTo>
                        <a:pt x="966" y="1871"/>
                      </a:lnTo>
                      <a:lnTo>
                        <a:pt x="953" y="1870"/>
                      </a:lnTo>
                      <a:lnTo>
                        <a:pt x="923" y="1868"/>
                      </a:lnTo>
                      <a:lnTo>
                        <a:pt x="892" y="1867"/>
                      </a:lnTo>
                      <a:lnTo>
                        <a:pt x="862" y="1865"/>
                      </a:lnTo>
                      <a:lnTo>
                        <a:pt x="832" y="1863"/>
                      </a:lnTo>
                      <a:lnTo>
                        <a:pt x="802" y="1860"/>
                      </a:lnTo>
                      <a:lnTo>
                        <a:pt x="772" y="1857"/>
                      </a:lnTo>
                      <a:lnTo>
                        <a:pt x="742" y="1853"/>
                      </a:lnTo>
                      <a:lnTo>
                        <a:pt x="713" y="1850"/>
                      </a:lnTo>
                      <a:lnTo>
                        <a:pt x="683" y="1846"/>
                      </a:lnTo>
                      <a:lnTo>
                        <a:pt x="653" y="1843"/>
                      </a:lnTo>
                      <a:lnTo>
                        <a:pt x="623" y="1838"/>
                      </a:lnTo>
                      <a:lnTo>
                        <a:pt x="594" y="1834"/>
                      </a:lnTo>
                      <a:lnTo>
                        <a:pt x="565" y="1830"/>
                      </a:lnTo>
                      <a:lnTo>
                        <a:pt x="535" y="1826"/>
                      </a:lnTo>
                      <a:lnTo>
                        <a:pt x="506" y="1821"/>
                      </a:lnTo>
                      <a:lnTo>
                        <a:pt x="476" y="1817"/>
                      </a:lnTo>
                      <a:lnTo>
                        <a:pt x="447" y="1812"/>
                      </a:lnTo>
                      <a:lnTo>
                        <a:pt x="417" y="1807"/>
                      </a:lnTo>
                      <a:lnTo>
                        <a:pt x="387" y="1803"/>
                      </a:lnTo>
                      <a:lnTo>
                        <a:pt x="358" y="1799"/>
                      </a:lnTo>
                      <a:lnTo>
                        <a:pt x="328" y="1795"/>
                      </a:lnTo>
                      <a:lnTo>
                        <a:pt x="299" y="1790"/>
                      </a:lnTo>
                      <a:lnTo>
                        <a:pt x="270" y="1787"/>
                      </a:lnTo>
                      <a:lnTo>
                        <a:pt x="240" y="1783"/>
                      </a:lnTo>
                      <a:lnTo>
                        <a:pt x="210" y="1780"/>
                      </a:lnTo>
                      <a:lnTo>
                        <a:pt x="180" y="1776"/>
                      </a:lnTo>
                      <a:lnTo>
                        <a:pt x="150" y="1773"/>
                      </a:lnTo>
                      <a:lnTo>
                        <a:pt x="120" y="1770"/>
                      </a:lnTo>
                      <a:lnTo>
                        <a:pt x="90" y="1768"/>
                      </a:lnTo>
                      <a:lnTo>
                        <a:pt x="60" y="1766"/>
                      </a:lnTo>
                      <a:lnTo>
                        <a:pt x="30" y="1765"/>
                      </a:lnTo>
                      <a:lnTo>
                        <a:pt x="0" y="17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89" name="Freeform 123">
                  <a:extLst>
                    <a:ext uri="{FF2B5EF4-FFF2-40B4-BE49-F238E27FC236}">
                      <a16:creationId xmlns:a16="http://schemas.microsoft.com/office/drawing/2014/main" id="{763E3638-3605-4281-A58E-B63799D9CE8D}"/>
                    </a:ext>
                  </a:extLst>
                </p:cNvPr>
                <p:cNvSpPr>
                  <a:spLocks/>
                </p:cNvSpPr>
                <p:nvPr/>
              </p:nvSpPr>
              <p:spPr bwMode="auto">
                <a:xfrm>
                  <a:off x="6975324" y="948317"/>
                  <a:ext cx="177362" cy="157576"/>
                </a:xfrm>
                <a:custGeom>
                  <a:avLst/>
                  <a:gdLst>
                    <a:gd name="T0" fmla="*/ 2147483646 w 1204"/>
                    <a:gd name="T1" fmla="*/ 2147483646 h 1572"/>
                    <a:gd name="T2" fmla="*/ 2147483646 w 1204"/>
                    <a:gd name="T3" fmla="*/ 2147483646 h 1572"/>
                    <a:gd name="T4" fmla="*/ 2147483646 w 1204"/>
                    <a:gd name="T5" fmla="*/ 2147483646 h 1572"/>
                    <a:gd name="T6" fmla="*/ 2147483646 w 1204"/>
                    <a:gd name="T7" fmla="*/ 2147483646 h 1572"/>
                    <a:gd name="T8" fmla="*/ 2147483646 w 1204"/>
                    <a:gd name="T9" fmla="*/ 2147483646 h 1572"/>
                    <a:gd name="T10" fmla="*/ 2147483646 w 1204"/>
                    <a:gd name="T11" fmla="*/ 2147483646 h 1572"/>
                    <a:gd name="T12" fmla="*/ 2147483646 w 1204"/>
                    <a:gd name="T13" fmla="*/ 2147483646 h 1572"/>
                    <a:gd name="T14" fmla="*/ 2147483646 w 1204"/>
                    <a:gd name="T15" fmla="*/ 2147483646 h 1572"/>
                    <a:gd name="T16" fmla="*/ 2147483646 w 1204"/>
                    <a:gd name="T17" fmla="*/ 2147483646 h 1572"/>
                    <a:gd name="T18" fmla="*/ 2147483646 w 1204"/>
                    <a:gd name="T19" fmla="*/ 2147483646 h 1572"/>
                    <a:gd name="T20" fmla="*/ 2147483646 w 1204"/>
                    <a:gd name="T21" fmla="*/ 2147483646 h 1572"/>
                    <a:gd name="T22" fmla="*/ 2147483646 w 1204"/>
                    <a:gd name="T23" fmla="*/ 2147483646 h 1572"/>
                    <a:gd name="T24" fmla="*/ 2147483646 w 1204"/>
                    <a:gd name="T25" fmla="*/ 2147483646 h 1572"/>
                    <a:gd name="T26" fmla="*/ 2147483646 w 1204"/>
                    <a:gd name="T27" fmla="*/ 2147483646 h 1572"/>
                    <a:gd name="T28" fmla="*/ 2147483646 w 1204"/>
                    <a:gd name="T29" fmla="*/ 2147483646 h 1572"/>
                    <a:gd name="T30" fmla="*/ 2147483646 w 1204"/>
                    <a:gd name="T31" fmla="*/ 2147483646 h 1572"/>
                    <a:gd name="T32" fmla="*/ 2147483646 w 1204"/>
                    <a:gd name="T33" fmla="*/ 2147483646 h 1572"/>
                    <a:gd name="T34" fmla="*/ 2147483646 w 1204"/>
                    <a:gd name="T35" fmla="*/ 2147483646 h 1572"/>
                    <a:gd name="T36" fmla="*/ 2147483646 w 1204"/>
                    <a:gd name="T37" fmla="*/ 2147483646 h 1572"/>
                    <a:gd name="T38" fmla="*/ 2147483646 w 1204"/>
                    <a:gd name="T39" fmla="*/ 2147483646 h 1572"/>
                    <a:gd name="T40" fmla="*/ 2147483646 w 1204"/>
                    <a:gd name="T41" fmla="*/ 2147483646 h 1572"/>
                    <a:gd name="T42" fmla="*/ 2147483646 w 1204"/>
                    <a:gd name="T43" fmla="*/ 2147483646 h 1572"/>
                    <a:gd name="T44" fmla="*/ 2147483646 w 1204"/>
                    <a:gd name="T45" fmla="*/ 2147483646 h 1572"/>
                    <a:gd name="T46" fmla="*/ 2147483646 w 1204"/>
                    <a:gd name="T47" fmla="*/ 2147483646 h 1572"/>
                    <a:gd name="T48" fmla="*/ 2147483646 w 1204"/>
                    <a:gd name="T49" fmla="*/ 2147483646 h 1572"/>
                    <a:gd name="T50" fmla="*/ 2147483646 w 1204"/>
                    <a:gd name="T51" fmla="*/ 2147483646 h 1572"/>
                    <a:gd name="T52" fmla="*/ 2147483646 w 1204"/>
                    <a:gd name="T53" fmla="*/ 2147483646 h 1572"/>
                    <a:gd name="T54" fmla="*/ 2147483646 w 1204"/>
                    <a:gd name="T55" fmla="*/ 2147483646 h 1572"/>
                    <a:gd name="T56" fmla="*/ 2147483646 w 1204"/>
                    <a:gd name="T57" fmla="*/ 2147483646 h 1572"/>
                    <a:gd name="T58" fmla="*/ 2147483646 w 1204"/>
                    <a:gd name="T59" fmla="*/ 2147483646 h 1572"/>
                    <a:gd name="T60" fmla="*/ 2147483646 w 1204"/>
                    <a:gd name="T61" fmla="*/ 2147483646 h 1572"/>
                    <a:gd name="T62" fmla="*/ 2147483646 w 1204"/>
                    <a:gd name="T63" fmla="*/ 2147483646 h 1572"/>
                    <a:gd name="T64" fmla="*/ 2147483646 w 1204"/>
                    <a:gd name="T65" fmla="*/ 2147483646 h 1572"/>
                    <a:gd name="T66" fmla="*/ 2147483646 w 1204"/>
                    <a:gd name="T67" fmla="*/ 2147483646 h 1572"/>
                    <a:gd name="T68" fmla="*/ 2147483646 w 1204"/>
                    <a:gd name="T69" fmla="*/ 2147483646 h 1572"/>
                    <a:gd name="T70" fmla="*/ 2147483646 w 1204"/>
                    <a:gd name="T71" fmla="*/ 2147483646 h 1572"/>
                    <a:gd name="T72" fmla="*/ 2147483646 w 1204"/>
                    <a:gd name="T73" fmla="*/ 2147483646 h 1572"/>
                    <a:gd name="T74" fmla="*/ 2147483646 w 1204"/>
                    <a:gd name="T75" fmla="*/ 2147483646 h 1572"/>
                    <a:gd name="T76" fmla="*/ 2147483646 w 1204"/>
                    <a:gd name="T77" fmla="*/ 2147483646 h 1572"/>
                    <a:gd name="T78" fmla="*/ 2147483646 w 1204"/>
                    <a:gd name="T79" fmla="*/ 2147483646 h 1572"/>
                    <a:gd name="T80" fmla="*/ 2147483646 w 1204"/>
                    <a:gd name="T81" fmla="*/ 2147483646 h 1572"/>
                    <a:gd name="T82" fmla="*/ 2147483646 w 1204"/>
                    <a:gd name="T83" fmla="*/ 2147483646 h 1572"/>
                    <a:gd name="T84" fmla="*/ 0 w 1204"/>
                    <a:gd name="T85" fmla="*/ 2147483646 h 157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04"/>
                    <a:gd name="T130" fmla="*/ 0 h 1572"/>
                    <a:gd name="T131" fmla="*/ 1204 w 1204"/>
                    <a:gd name="T132" fmla="*/ 1572 h 157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04" h="1572">
                      <a:moveTo>
                        <a:pt x="0" y="1485"/>
                      </a:moveTo>
                      <a:lnTo>
                        <a:pt x="8" y="1422"/>
                      </a:lnTo>
                      <a:lnTo>
                        <a:pt x="17" y="1360"/>
                      </a:lnTo>
                      <a:lnTo>
                        <a:pt x="28" y="1299"/>
                      </a:lnTo>
                      <a:lnTo>
                        <a:pt x="39" y="1237"/>
                      </a:lnTo>
                      <a:lnTo>
                        <a:pt x="51" y="1175"/>
                      </a:lnTo>
                      <a:lnTo>
                        <a:pt x="63" y="1114"/>
                      </a:lnTo>
                      <a:lnTo>
                        <a:pt x="76" y="1053"/>
                      </a:lnTo>
                      <a:lnTo>
                        <a:pt x="90" y="990"/>
                      </a:lnTo>
                      <a:lnTo>
                        <a:pt x="105" y="929"/>
                      </a:lnTo>
                      <a:lnTo>
                        <a:pt x="120" y="868"/>
                      </a:lnTo>
                      <a:lnTo>
                        <a:pt x="135" y="807"/>
                      </a:lnTo>
                      <a:lnTo>
                        <a:pt x="150" y="745"/>
                      </a:lnTo>
                      <a:lnTo>
                        <a:pt x="165" y="684"/>
                      </a:lnTo>
                      <a:lnTo>
                        <a:pt x="180" y="623"/>
                      </a:lnTo>
                      <a:lnTo>
                        <a:pt x="196" y="561"/>
                      </a:lnTo>
                      <a:lnTo>
                        <a:pt x="211" y="500"/>
                      </a:lnTo>
                      <a:lnTo>
                        <a:pt x="227" y="439"/>
                      </a:lnTo>
                      <a:lnTo>
                        <a:pt x="241" y="377"/>
                      </a:lnTo>
                      <a:lnTo>
                        <a:pt x="254" y="314"/>
                      </a:lnTo>
                      <a:lnTo>
                        <a:pt x="267" y="251"/>
                      </a:lnTo>
                      <a:lnTo>
                        <a:pt x="279" y="189"/>
                      </a:lnTo>
                      <a:lnTo>
                        <a:pt x="289" y="125"/>
                      </a:lnTo>
                      <a:lnTo>
                        <a:pt x="297" y="62"/>
                      </a:lnTo>
                      <a:lnTo>
                        <a:pt x="304" y="0"/>
                      </a:lnTo>
                      <a:lnTo>
                        <a:pt x="332" y="1"/>
                      </a:lnTo>
                      <a:lnTo>
                        <a:pt x="358" y="2"/>
                      </a:lnTo>
                      <a:lnTo>
                        <a:pt x="386" y="3"/>
                      </a:lnTo>
                      <a:lnTo>
                        <a:pt x="412" y="4"/>
                      </a:lnTo>
                      <a:lnTo>
                        <a:pt x="440" y="7"/>
                      </a:lnTo>
                      <a:lnTo>
                        <a:pt x="466" y="9"/>
                      </a:lnTo>
                      <a:lnTo>
                        <a:pt x="493" y="11"/>
                      </a:lnTo>
                      <a:lnTo>
                        <a:pt x="520" y="14"/>
                      </a:lnTo>
                      <a:lnTo>
                        <a:pt x="547" y="17"/>
                      </a:lnTo>
                      <a:lnTo>
                        <a:pt x="575" y="19"/>
                      </a:lnTo>
                      <a:lnTo>
                        <a:pt x="601" y="23"/>
                      </a:lnTo>
                      <a:lnTo>
                        <a:pt x="628" y="26"/>
                      </a:lnTo>
                      <a:lnTo>
                        <a:pt x="654" y="30"/>
                      </a:lnTo>
                      <a:lnTo>
                        <a:pt x="682" y="33"/>
                      </a:lnTo>
                      <a:lnTo>
                        <a:pt x="708" y="37"/>
                      </a:lnTo>
                      <a:lnTo>
                        <a:pt x="735" y="40"/>
                      </a:lnTo>
                      <a:lnTo>
                        <a:pt x="761" y="44"/>
                      </a:lnTo>
                      <a:lnTo>
                        <a:pt x="789" y="47"/>
                      </a:lnTo>
                      <a:lnTo>
                        <a:pt x="815" y="52"/>
                      </a:lnTo>
                      <a:lnTo>
                        <a:pt x="842" y="55"/>
                      </a:lnTo>
                      <a:lnTo>
                        <a:pt x="868" y="59"/>
                      </a:lnTo>
                      <a:lnTo>
                        <a:pt x="895" y="62"/>
                      </a:lnTo>
                      <a:lnTo>
                        <a:pt x="922" y="65"/>
                      </a:lnTo>
                      <a:lnTo>
                        <a:pt x="949" y="69"/>
                      </a:lnTo>
                      <a:lnTo>
                        <a:pt x="975" y="72"/>
                      </a:lnTo>
                      <a:lnTo>
                        <a:pt x="1002" y="75"/>
                      </a:lnTo>
                      <a:lnTo>
                        <a:pt x="1029" y="78"/>
                      </a:lnTo>
                      <a:lnTo>
                        <a:pt x="1056" y="80"/>
                      </a:lnTo>
                      <a:lnTo>
                        <a:pt x="1082" y="83"/>
                      </a:lnTo>
                      <a:lnTo>
                        <a:pt x="1109" y="85"/>
                      </a:lnTo>
                      <a:lnTo>
                        <a:pt x="1137" y="87"/>
                      </a:lnTo>
                      <a:lnTo>
                        <a:pt x="1163" y="89"/>
                      </a:lnTo>
                      <a:lnTo>
                        <a:pt x="1169" y="89"/>
                      </a:lnTo>
                      <a:lnTo>
                        <a:pt x="1173" y="90"/>
                      </a:lnTo>
                      <a:lnTo>
                        <a:pt x="1179" y="89"/>
                      </a:lnTo>
                      <a:lnTo>
                        <a:pt x="1184" y="89"/>
                      </a:lnTo>
                      <a:lnTo>
                        <a:pt x="1190" y="87"/>
                      </a:lnTo>
                      <a:lnTo>
                        <a:pt x="1194" y="87"/>
                      </a:lnTo>
                      <a:lnTo>
                        <a:pt x="1200" y="87"/>
                      </a:lnTo>
                      <a:lnTo>
                        <a:pt x="1204" y="87"/>
                      </a:lnTo>
                      <a:lnTo>
                        <a:pt x="1203" y="122"/>
                      </a:lnTo>
                      <a:lnTo>
                        <a:pt x="1201" y="156"/>
                      </a:lnTo>
                      <a:lnTo>
                        <a:pt x="1196" y="191"/>
                      </a:lnTo>
                      <a:lnTo>
                        <a:pt x="1191" y="224"/>
                      </a:lnTo>
                      <a:lnTo>
                        <a:pt x="1184" y="259"/>
                      </a:lnTo>
                      <a:lnTo>
                        <a:pt x="1177" y="292"/>
                      </a:lnTo>
                      <a:lnTo>
                        <a:pt x="1169" y="327"/>
                      </a:lnTo>
                      <a:lnTo>
                        <a:pt x="1162" y="360"/>
                      </a:lnTo>
                      <a:lnTo>
                        <a:pt x="1146" y="458"/>
                      </a:lnTo>
                      <a:lnTo>
                        <a:pt x="1125" y="555"/>
                      </a:lnTo>
                      <a:lnTo>
                        <a:pt x="1102" y="652"/>
                      </a:lnTo>
                      <a:lnTo>
                        <a:pt x="1078" y="747"/>
                      </a:lnTo>
                      <a:lnTo>
                        <a:pt x="1052" y="843"/>
                      </a:lnTo>
                      <a:lnTo>
                        <a:pt x="1027" y="939"/>
                      </a:lnTo>
                      <a:lnTo>
                        <a:pt x="1002" y="1034"/>
                      </a:lnTo>
                      <a:lnTo>
                        <a:pt x="979" y="1129"/>
                      </a:lnTo>
                      <a:lnTo>
                        <a:pt x="966" y="1184"/>
                      </a:lnTo>
                      <a:lnTo>
                        <a:pt x="956" y="1239"/>
                      </a:lnTo>
                      <a:lnTo>
                        <a:pt x="945" y="1295"/>
                      </a:lnTo>
                      <a:lnTo>
                        <a:pt x="935" y="1350"/>
                      </a:lnTo>
                      <a:lnTo>
                        <a:pt x="927" y="1405"/>
                      </a:lnTo>
                      <a:lnTo>
                        <a:pt x="918" y="1460"/>
                      </a:lnTo>
                      <a:lnTo>
                        <a:pt x="910" y="1517"/>
                      </a:lnTo>
                      <a:lnTo>
                        <a:pt x="902" y="1572"/>
                      </a:lnTo>
                      <a:lnTo>
                        <a:pt x="875" y="1572"/>
                      </a:lnTo>
                      <a:lnTo>
                        <a:pt x="850" y="1572"/>
                      </a:lnTo>
                      <a:lnTo>
                        <a:pt x="823" y="1572"/>
                      </a:lnTo>
                      <a:lnTo>
                        <a:pt x="798" y="1571"/>
                      </a:lnTo>
                      <a:lnTo>
                        <a:pt x="773" y="1570"/>
                      </a:lnTo>
                      <a:lnTo>
                        <a:pt x="746" y="1568"/>
                      </a:lnTo>
                      <a:lnTo>
                        <a:pt x="721" y="1566"/>
                      </a:lnTo>
                      <a:lnTo>
                        <a:pt x="695" y="1564"/>
                      </a:lnTo>
                      <a:lnTo>
                        <a:pt x="670" y="1561"/>
                      </a:lnTo>
                      <a:lnTo>
                        <a:pt x="645" y="1558"/>
                      </a:lnTo>
                      <a:lnTo>
                        <a:pt x="618" y="1555"/>
                      </a:lnTo>
                      <a:lnTo>
                        <a:pt x="593" y="1551"/>
                      </a:lnTo>
                      <a:lnTo>
                        <a:pt x="568" y="1548"/>
                      </a:lnTo>
                      <a:lnTo>
                        <a:pt x="542" y="1545"/>
                      </a:lnTo>
                      <a:lnTo>
                        <a:pt x="517" y="1541"/>
                      </a:lnTo>
                      <a:lnTo>
                        <a:pt x="492" y="1537"/>
                      </a:lnTo>
                      <a:lnTo>
                        <a:pt x="466" y="1533"/>
                      </a:lnTo>
                      <a:lnTo>
                        <a:pt x="441" y="1530"/>
                      </a:lnTo>
                      <a:lnTo>
                        <a:pt x="416" y="1525"/>
                      </a:lnTo>
                      <a:lnTo>
                        <a:pt x="390" y="1522"/>
                      </a:lnTo>
                      <a:lnTo>
                        <a:pt x="365" y="1518"/>
                      </a:lnTo>
                      <a:lnTo>
                        <a:pt x="338" y="1515"/>
                      </a:lnTo>
                      <a:lnTo>
                        <a:pt x="313" y="1511"/>
                      </a:lnTo>
                      <a:lnTo>
                        <a:pt x="288" y="1508"/>
                      </a:lnTo>
                      <a:lnTo>
                        <a:pt x="262" y="1504"/>
                      </a:lnTo>
                      <a:lnTo>
                        <a:pt x="236" y="1502"/>
                      </a:lnTo>
                      <a:lnTo>
                        <a:pt x="211" y="1500"/>
                      </a:lnTo>
                      <a:lnTo>
                        <a:pt x="184" y="1497"/>
                      </a:lnTo>
                      <a:lnTo>
                        <a:pt x="158" y="1496"/>
                      </a:lnTo>
                      <a:lnTo>
                        <a:pt x="132" y="1494"/>
                      </a:lnTo>
                      <a:lnTo>
                        <a:pt x="106" y="1493"/>
                      </a:lnTo>
                      <a:lnTo>
                        <a:pt x="79" y="1493"/>
                      </a:lnTo>
                      <a:lnTo>
                        <a:pt x="69" y="1492"/>
                      </a:lnTo>
                      <a:lnTo>
                        <a:pt x="60" y="1490"/>
                      </a:lnTo>
                      <a:lnTo>
                        <a:pt x="49" y="1489"/>
                      </a:lnTo>
                      <a:lnTo>
                        <a:pt x="40" y="1488"/>
                      </a:lnTo>
                      <a:lnTo>
                        <a:pt x="30" y="1488"/>
                      </a:lnTo>
                      <a:lnTo>
                        <a:pt x="19" y="1487"/>
                      </a:lnTo>
                      <a:lnTo>
                        <a:pt x="10" y="1486"/>
                      </a:lnTo>
                      <a:lnTo>
                        <a:pt x="0" y="1485"/>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90" name="Freeform 124">
                  <a:extLst>
                    <a:ext uri="{FF2B5EF4-FFF2-40B4-BE49-F238E27FC236}">
                      <a16:creationId xmlns:a16="http://schemas.microsoft.com/office/drawing/2014/main" id="{B2E7A4DB-DC89-4F92-B3F7-B3B2FEC5198F}"/>
                    </a:ext>
                  </a:extLst>
                </p:cNvPr>
                <p:cNvSpPr>
                  <a:spLocks/>
                </p:cNvSpPr>
                <p:nvPr/>
              </p:nvSpPr>
              <p:spPr bwMode="auto">
                <a:xfrm>
                  <a:off x="6979148" y="951925"/>
                  <a:ext cx="170303" cy="150960"/>
                </a:xfrm>
                <a:custGeom>
                  <a:avLst/>
                  <a:gdLst>
                    <a:gd name="T0" fmla="*/ 2147483646 w 1158"/>
                    <a:gd name="T1" fmla="*/ 2147483646 h 1504"/>
                    <a:gd name="T2" fmla="*/ 2147483646 w 1158"/>
                    <a:gd name="T3" fmla="*/ 2147483646 h 1504"/>
                    <a:gd name="T4" fmla="*/ 2147483646 w 1158"/>
                    <a:gd name="T5" fmla="*/ 2147483646 h 1504"/>
                    <a:gd name="T6" fmla="*/ 2147483646 w 1158"/>
                    <a:gd name="T7" fmla="*/ 2147483646 h 1504"/>
                    <a:gd name="T8" fmla="*/ 2147483646 w 1158"/>
                    <a:gd name="T9" fmla="*/ 2147483646 h 1504"/>
                    <a:gd name="T10" fmla="*/ 2147483646 w 1158"/>
                    <a:gd name="T11" fmla="*/ 2147483646 h 1504"/>
                    <a:gd name="T12" fmla="*/ 2147483646 w 1158"/>
                    <a:gd name="T13" fmla="*/ 2147483646 h 1504"/>
                    <a:gd name="T14" fmla="*/ 2147483646 w 1158"/>
                    <a:gd name="T15" fmla="*/ 2147483646 h 1504"/>
                    <a:gd name="T16" fmla="*/ 2147483646 w 1158"/>
                    <a:gd name="T17" fmla="*/ 2147483646 h 1504"/>
                    <a:gd name="T18" fmla="*/ 2147483646 w 1158"/>
                    <a:gd name="T19" fmla="*/ 2147483646 h 1504"/>
                    <a:gd name="T20" fmla="*/ 2147483646 w 1158"/>
                    <a:gd name="T21" fmla="*/ 2147483646 h 1504"/>
                    <a:gd name="T22" fmla="*/ 2147483646 w 1158"/>
                    <a:gd name="T23" fmla="*/ 2147483646 h 1504"/>
                    <a:gd name="T24" fmla="*/ 2147483646 w 1158"/>
                    <a:gd name="T25" fmla="*/ 2147483646 h 1504"/>
                    <a:gd name="T26" fmla="*/ 2147483646 w 1158"/>
                    <a:gd name="T27" fmla="*/ 2147483646 h 1504"/>
                    <a:gd name="T28" fmla="*/ 2147483646 w 1158"/>
                    <a:gd name="T29" fmla="*/ 0 h 1504"/>
                    <a:gd name="T30" fmla="*/ 2147483646 w 1158"/>
                    <a:gd name="T31" fmla="*/ 2147483646 h 1504"/>
                    <a:gd name="T32" fmla="*/ 2147483646 w 1158"/>
                    <a:gd name="T33" fmla="*/ 2147483646 h 1504"/>
                    <a:gd name="T34" fmla="*/ 2147483646 w 1158"/>
                    <a:gd name="T35" fmla="*/ 2147483646 h 1504"/>
                    <a:gd name="T36" fmla="*/ 2147483646 w 1158"/>
                    <a:gd name="T37" fmla="*/ 2147483646 h 1504"/>
                    <a:gd name="T38" fmla="*/ 2147483646 w 1158"/>
                    <a:gd name="T39" fmla="*/ 2147483646 h 1504"/>
                    <a:gd name="T40" fmla="*/ 2147483646 w 1158"/>
                    <a:gd name="T41" fmla="*/ 2147483646 h 1504"/>
                    <a:gd name="T42" fmla="*/ 2147483646 w 1158"/>
                    <a:gd name="T43" fmla="*/ 2147483646 h 1504"/>
                    <a:gd name="T44" fmla="*/ 2147483646 w 1158"/>
                    <a:gd name="T45" fmla="*/ 2147483646 h 1504"/>
                    <a:gd name="T46" fmla="*/ 2147483646 w 1158"/>
                    <a:gd name="T47" fmla="*/ 2147483646 h 1504"/>
                    <a:gd name="T48" fmla="*/ 2147483646 w 1158"/>
                    <a:gd name="T49" fmla="*/ 2147483646 h 1504"/>
                    <a:gd name="T50" fmla="*/ 2147483646 w 1158"/>
                    <a:gd name="T51" fmla="*/ 2147483646 h 1504"/>
                    <a:gd name="T52" fmla="*/ 2147483646 w 1158"/>
                    <a:gd name="T53" fmla="*/ 2147483646 h 1504"/>
                    <a:gd name="T54" fmla="*/ 2147483646 w 1158"/>
                    <a:gd name="T55" fmla="*/ 2147483646 h 1504"/>
                    <a:gd name="T56" fmla="*/ 2147483646 w 1158"/>
                    <a:gd name="T57" fmla="*/ 2147483646 h 1504"/>
                    <a:gd name="T58" fmla="*/ 2147483646 w 1158"/>
                    <a:gd name="T59" fmla="*/ 2147483646 h 1504"/>
                    <a:gd name="T60" fmla="*/ 2147483646 w 1158"/>
                    <a:gd name="T61" fmla="*/ 2147483646 h 1504"/>
                    <a:gd name="T62" fmla="*/ 2147483646 w 1158"/>
                    <a:gd name="T63" fmla="*/ 2147483646 h 1504"/>
                    <a:gd name="T64" fmla="*/ 2147483646 w 1158"/>
                    <a:gd name="T65" fmla="*/ 2147483646 h 1504"/>
                    <a:gd name="T66" fmla="*/ 2147483646 w 1158"/>
                    <a:gd name="T67" fmla="*/ 2147483646 h 1504"/>
                    <a:gd name="T68" fmla="*/ 2147483646 w 1158"/>
                    <a:gd name="T69" fmla="*/ 2147483646 h 1504"/>
                    <a:gd name="T70" fmla="*/ 2147483646 w 1158"/>
                    <a:gd name="T71" fmla="*/ 2147483646 h 1504"/>
                    <a:gd name="T72" fmla="*/ 2147483646 w 1158"/>
                    <a:gd name="T73" fmla="*/ 2147483646 h 1504"/>
                    <a:gd name="T74" fmla="*/ 2147483646 w 1158"/>
                    <a:gd name="T75" fmla="*/ 2147483646 h 1504"/>
                    <a:gd name="T76" fmla="*/ 2147483646 w 1158"/>
                    <a:gd name="T77" fmla="*/ 2147483646 h 1504"/>
                    <a:gd name="T78" fmla="*/ 2147483646 w 1158"/>
                    <a:gd name="T79" fmla="*/ 2147483646 h 1504"/>
                    <a:gd name="T80" fmla="*/ 2147483646 w 1158"/>
                    <a:gd name="T81" fmla="*/ 2147483646 h 1504"/>
                    <a:gd name="T82" fmla="*/ 2147483646 w 1158"/>
                    <a:gd name="T83" fmla="*/ 2147483646 h 1504"/>
                    <a:gd name="T84" fmla="*/ 2147483646 w 1158"/>
                    <a:gd name="T85" fmla="*/ 2147483646 h 1504"/>
                    <a:gd name="T86" fmla="*/ 2147483646 w 1158"/>
                    <a:gd name="T87" fmla="*/ 2147483646 h 1504"/>
                    <a:gd name="T88" fmla="*/ 2147483646 w 1158"/>
                    <a:gd name="T89" fmla="*/ 2147483646 h 1504"/>
                    <a:gd name="T90" fmla="*/ 2147483646 w 1158"/>
                    <a:gd name="T91" fmla="*/ 2147483646 h 1504"/>
                    <a:gd name="T92" fmla="*/ 2147483646 w 1158"/>
                    <a:gd name="T93" fmla="*/ 2147483646 h 1504"/>
                    <a:gd name="T94" fmla="*/ 2147483646 w 1158"/>
                    <a:gd name="T95" fmla="*/ 2147483646 h 1504"/>
                    <a:gd name="T96" fmla="*/ 2147483646 w 1158"/>
                    <a:gd name="T97" fmla="*/ 2147483646 h 1504"/>
                    <a:gd name="T98" fmla="*/ 2147483646 w 1158"/>
                    <a:gd name="T99" fmla="*/ 2147483646 h 1504"/>
                    <a:gd name="T100" fmla="*/ 2147483646 w 1158"/>
                    <a:gd name="T101" fmla="*/ 2147483646 h 1504"/>
                    <a:gd name="T102" fmla="*/ 2147483646 w 1158"/>
                    <a:gd name="T103" fmla="*/ 2147483646 h 1504"/>
                    <a:gd name="T104" fmla="*/ 2147483646 w 1158"/>
                    <a:gd name="T105" fmla="*/ 2147483646 h 1504"/>
                    <a:gd name="T106" fmla="*/ 2147483646 w 1158"/>
                    <a:gd name="T107" fmla="*/ 2147483646 h 1504"/>
                    <a:gd name="T108" fmla="*/ 2147483646 w 1158"/>
                    <a:gd name="T109" fmla="*/ 2147483646 h 1504"/>
                    <a:gd name="T110" fmla="*/ 2147483646 w 1158"/>
                    <a:gd name="T111" fmla="*/ 2147483646 h 1504"/>
                    <a:gd name="T112" fmla="*/ 2147483646 w 1158"/>
                    <a:gd name="T113" fmla="*/ 2147483646 h 1504"/>
                    <a:gd name="T114" fmla="*/ 2147483646 w 1158"/>
                    <a:gd name="T115" fmla="*/ 2147483646 h 1504"/>
                    <a:gd name="T116" fmla="*/ 2147483646 w 1158"/>
                    <a:gd name="T117" fmla="*/ 2147483646 h 1504"/>
                    <a:gd name="T118" fmla="*/ 2147483646 w 1158"/>
                    <a:gd name="T119" fmla="*/ 2147483646 h 1504"/>
                    <a:gd name="T120" fmla="*/ 2147483646 w 1158"/>
                    <a:gd name="T121" fmla="*/ 2147483646 h 1504"/>
                    <a:gd name="T122" fmla="*/ 2147483646 w 1158"/>
                    <a:gd name="T123" fmla="*/ 2147483646 h 1504"/>
                    <a:gd name="T124" fmla="*/ 0 w 1158"/>
                    <a:gd name="T125" fmla="*/ 2147483646 h 15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58"/>
                    <a:gd name="T190" fmla="*/ 0 h 1504"/>
                    <a:gd name="T191" fmla="*/ 1158 w 1158"/>
                    <a:gd name="T192" fmla="*/ 1504 h 15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58" h="1504">
                      <a:moveTo>
                        <a:pt x="0" y="1410"/>
                      </a:moveTo>
                      <a:lnTo>
                        <a:pt x="9" y="1335"/>
                      </a:lnTo>
                      <a:lnTo>
                        <a:pt x="21" y="1259"/>
                      </a:lnTo>
                      <a:lnTo>
                        <a:pt x="35" y="1184"/>
                      </a:lnTo>
                      <a:lnTo>
                        <a:pt x="50" y="1108"/>
                      </a:lnTo>
                      <a:lnTo>
                        <a:pt x="66" y="1033"/>
                      </a:lnTo>
                      <a:lnTo>
                        <a:pt x="83" y="958"/>
                      </a:lnTo>
                      <a:lnTo>
                        <a:pt x="100" y="883"/>
                      </a:lnTo>
                      <a:lnTo>
                        <a:pt x="119" y="810"/>
                      </a:lnTo>
                      <a:lnTo>
                        <a:pt x="126" y="782"/>
                      </a:lnTo>
                      <a:lnTo>
                        <a:pt x="134" y="753"/>
                      </a:lnTo>
                      <a:lnTo>
                        <a:pt x="141" y="725"/>
                      </a:lnTo>
                      <a:lnTo>
                        <a:pt x="149" y="697"/>
                      </a:lnTo>
                      <a:lnTo>
                        <a:pt x="157" y="668"/>
                      </a:lnTo>
                      <a:lnTo>
                        <a:pt x="164" y="640"/>
                      </a:lnTo>
                      <a:lnTo>
                        <a:pt x="172" y="611"/>
                      </a:lnTo>
                      <a:lnTo>
                        <a:pt x="179" y="584"/>
                      </a:lnTo>
                      <a:lnTo>
                        <a:pt x="196" y="520"/>
                      </a:lnTo>
                      <a:lnTo>
                        <a:pt x="213" y="457"/>
                      </a:lnTo>
                      <a:lnTo>
                        <a:pt x="229" y="394"/>
                      </a:lnTo>
                      <a:lnTo>
                        <a:pt x="244" y="330"/>
                      </a:lnTo>
                      <a:lnTo>
                        <a:pt x="257" y="266"/>
                      </a:lnTo>
                      <a:lnTo>
                        <a:pt x="270" y="202"/>
                      </a:lnTo>
                      <a:lnTo>
                        <a:pt x="281" y="138"/>
                      </a:lnTo>
                      <a:lnTo>
                        <a:pt x="292" y="75"/>
                      </a:lnTo>
                      <a:lnTo>
                        <a:pt x="294" y="56"/>
                      </a:lnTo>
                      <a:lnTo>
                        <a:pt x="297" y="37"/>
                      </a:lnTo>
                      <a:lnTo>
                        <a:pt x="298" y="18"/>
                      </a:lnTo>
                      <a:lnTo>
                        <a:pt x="298" y="0"/>
                      </a:lnTo>
                      <a:lnTo>
                        <a:pt x="318" y="0"/>
                      </a:lnTo>
                      <a:lnTo>
                        <a:pt x="338" y="0"/>
                      </a:lnTo>
                      <a:lnTo>
                        <a:pt x="357" y="1"/>
                      </a:lnTo>
                      <a:lnTo>
                        <a:pt x="376" y="2"/>
                      </a:lnTo>
                      <a:lnTo>
                        <a:pt x="395" y="3"/>
                      </a:lnTo>
                      <a:lnTo>
                        <a:pt x="414" y="4"/>
                      </a:lnTo>
                      <a:lnTo>
                        <a:pt x="433" y="5"/>
                      </a:lnTo>
                      <a:lnTo>
                        <a:pt x="452" y="8"/>
                      </a:lnTo>
                      <a:lnTo>
                        <a:pt x="470" y="9"/>
                      </a:lnTo>
                      <a:lnTo>
                        <a:pt x="490" y="11"/>
                      </a:lnTo>
                      <a:lnTo>
                        <a:pt x="508" y="14"/>
                      </a:lnTo>
                      <a:lnTo>
                        <a:pt x="526" y="16"/>
                      </a:lnTo>
                      <a:lnTo>
                        <a:pt x="546" y="18"/>
                      </a:lnTo>
                      <a:lnTo>
                        <a:pt x="566" y="19"/>
                      </a:lnTo>
                      <a:lnTo>
                        <a:pt x="584" y="22"/>
                      </a:lnTo>
                      <a:lnTo>
                        <a:pt x="604" y="24"/>
                      </a:lnTo>
                      <a:lnTo>
                        <a:pt x="638" y="30"/>
                      </a:lnTo>
                      <a:lnTo>
                        <a:pt x="673" y="35"/>
                      </a:lnTo>
                      <a:lnTo>
                        <a:pt x="707" y="40"/>
                      </a:lnTo>
                      <a:lnTo>
                        <a:pt x="741" y="46"/>
                      </a:lnTo>
                      <a:lnTo>
                        <a:pt x="775" y="52"/>
                      </a:lnTo>
                      <a:lnTo>
                        <a:pt x="810" y="56"/>
                      </a:lnTo>
                      <a:lnTo>
                        <a:pt x="844" y="62"/>
                      </a:lnTo>
                      <a:lnTo>
                        <a:pt x="879" y="67"/>
                      </a:lnTo>
                      <a:lnTo>
                        <a:pt x="913" y="71"/>
                      </a:lnTo>
                      <a:lnTo>
                        <a:pt x="947" y="75"/>
                      </a:lnTo>
                      <a:lnTo>
                        <a:pt x="983" y="79"/>
                      </a:lnTo>
                      <a:lnTo>
                        <a:pt x="1017" y="81"/>
                      </a:lnTo>
                      <a:lnTo>
                        <a:pt x="1052" y="85"/>
                      </a:lnTo>
                      <a:lnTo>
                        <a:pt x="1087" y="86"/>
                      </a:lnTo>
                      <a:lnTo>
                        <a:pt x="1122" y="87"/>
                      </a:lnTo>
                      <a:lnTo>
                        <a:pt x="1158" y="88"/>
                      </a:lnTo>
                      <a:lnTo>
                        <a:pt x="1144" y="178"/>
                      </a:lnTo>
                      <a:lnTo>
                        <a:pt x="1129" y="268"/>
                      </a:lnTo>
                      <a:lnTo>
                        <a:pt x="1113" y="358"/>
                      </a:lnTo>
                      <a:lnTo>
                        <a:pt x="1094" y="448"/>
                      </a:lnTo>
                      <a:lnTo>
                        <a:pt x="1075" y="538"/>
                      </a:lnTo>
                      <a:lnTo>
                        <a:pt x="1054" y="627"/>
                      </a:lnTo>
                      <a:lnTo>
                        <a:pt x="1031" y="717"/>
                      </a:lnTo>
                      <a:lnTo>
                        <a:pt x="1007" y="808"/>
                      </a:lnTo>
                      <a:lnTo>
                        <a:pt x="998" y="839"/>
                      </a:lnTo>
                      <a:lnTo>
                        <a:pt x="988" y="871"/>
                      </a:lnTo>
                      <a:lnTo>
                        <a:pt x="980" y="902"/>
                      </a:lnTo>
                      <a:lnTo>
                        <a:pt x="971" y="932"/>
                      </a:lnTo>
                      <a:lnTo>
                        <a:pt x="963" y="962"/>
                      </a:lnTo>
                      <a:lnTo>
                        <a:pt x="955" y="993"/>
                      </a:lnTo>
                      <a:lnTo>
                        <a:pt x="947" y="1024"/>
                      </a:lnTo>
                      <a:lnTo>
                        <a:pt x="939" y="1055"/>
                      </a:lnTo>
                      <a:lnTo>
                        <a:pt x="926" y="1110"/>
                      </a:lnTo>
                      <a:lnTo>
                        <a:pt x="913" y="1167"/>
                      </a:lnTo>
                      <a:lnTo>
                        <a:pt x="902" y="1223"/>
                      </a:lnTo>
                      <a:lnTo>
                        <a:pt x="890" y="1279"/>
                      </a:lnTo>
                      <a:lnTo>
                        <a:pt x="880" y="1336"/>
                      </a:lnTo>
                      <a:lnTo>
                        <a:pt x="871" y="1392"/>
                      </a:lnTo>
                      <a:lnTo>
                        <a:pt x="863" y="1448"/>
                      </a:lnTo>
                      <a:lnTo>
                        <a:pt x="856" y="1504"/>
                      </a:lnTo>
                      <a:lnTo>
                        <a:pt x="844" y="1503"/>
                      </a:lnTo>
                      <a:lnTo>
                        <a:pt x="833" y="1502"/>
                      </a:lnTo>
                      <a:lnTo>
                        <a:pt x="821" y="1501"/>
                      </a:lnTo>
                      <a:lnTo>
                        <a:pt x="810" y="1500"/>
                      </a:lnTo>
                      <a:lnTo>
                        <a:pt x="797" y="1498"/>
                      </a:lnTo>
                      <a:lnTo>
                        <a:pt x="786" y="1497"/>
                      </a:lnTo>
                      <a:lnTo>
                        <a:pt x="774" y="1496"/>
                      </a:lnTo>
                      <a:lnTo>
                        <a:pt x="763" y="1495"/>
                      </a:lnTo>
                      <a:lnTo>
                        <a:pt x="738" y="1494"/>
                      </a:lnTo>
                      <a:lnTo>
                        <a:pt x="714" y="1493"/>
                      </a:lnTo>
                      <a:lnTo>
                        <a:pt x="690" y="1491"/>
                      </a:lnTo>
                      <a:lnTo>
                        <a:pt x="666" y="1489"/>
                      </a:lnTo>
                      <a:lnTo>
                        <a:pt x="642" y="1488"/>
                      </a:lnTo>
                      <a:lnTo>
                        <a:pt x="619" y="1486"/>
                      </a:lnTo>
                      <a:lnTo>
                        <a:pt x="594" y="1482"/>
                      </a:lnTo>
                      <a:lnTo>
                        <a:pt x="570" y="1480"/>
                      </a:lnTo>
                      <a:lnTo>
                        <a:pt x="546" y="1476"/>
                      </a:lnTo>
                      <a:lnTo>
                        <a:pt x="523" y="1474"/>
                      </a:lnTo>
                      <a:lnTo>
                        <a:pt x="499" y="1471"/>
                      </a:lnTo>
                      <a:lnTo>
                        <a:pt x="476" y="1467"/>
                      </a:lnTo>
                      <a:lnTo>
                        <a:pt x="452" y="1464"/>
                      </a:lnTo>
                      <a:lnTo>
                        <a:pt x="429" y="1460"/>
                      </a:lnTo>
                      <a:lnTo>
                        <a:pt x="404" y="1457"/>
                      </a:lnTo>
                      <a:lnTo>
                        <a:pt x="381" y="1452"/>
                      </a:lnTo>
                      <a:lnTo>
                        <a:pt x="357" y="1449"/>
                      </a:lnTo>
                      <a:lnTo>
                        <a:pt x="334" y="1445"/>
                      </a:lnTo>
                      <a:lnTo>
                        <a:pt x="310" y="1442"/>
                      </a:lnTo>
                      <a:lnTo>
                        <a:pt x="287" y="1438"/>
                      </a:lnTo>
                      <a:lnTo>
                        <a:pt x="263" y="1435"/>
                      </a:lnTo>
                      <a:lnTo>
                        <a:pt x="239" y="1432"/>
                      </a:lnTo>
                      <a:lnTo>
                        <a:pt x="216" y="1428"/>
                      </a:lnTo>
                      <a:lnTo>
                        <a:pt x="191" y="1426"/>
                      </a:lnTo>
                      <a:lnTo>
                        <a:pt x="168" y="1422"/>
                      </a:lnTo>
                      <a:lnTo>
                        <a:pt x="144" y="1420"/>
                      </a:lnTo>
                      <a:lnTo>
                        <a:pt x="120" y="1418"/>
                      </a:lnTo>
                      <a:lnTo>
                        <a:pt x="97" y="1415"/>
                      </a:lnTo>
                      <a:lnTo>
                        <a:pt x="73" y="1413"/>
                      </a:lnTo>
                      <a:lnTo>
                        <a:pt x="49" y="1412"/>
                      </a:lnTo>
                      <a:lnTo>
                        <a:pt x="24" y="1411"/>
                      </a:lnTo>
                      <a:lnTo>
                        <a:pt x="0" y="14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91" name="Freeform 125">
                  <a:extLst>
                    <a:ext uri="{FF2B5EF4-FFF2-40B4-BE49-F238E27FC236}">
                      <a16:creationId xmlns:a16="http://schemas.microsoft.com/office/drawing/2014/main" id="{8110FA7A-9255-483A-BB4F-CDED74DEDBC2}"/>
                    </a:ext>
                  </a:extLst>
                </p:cNvPr>
                <p:cNvSpPr>
                  <a:spLocks/>
                </p:cNvSpPr>
                <p:nvPr/>
              </p:nvSpPr>
              <p:spPr bwMode="auto">
                <a:xfrm>
                  <a:off x="7029444" y="985806"/>
                  <a:ext cx="92064" cy="6415"/>
                </a:xfrm>
                <a:custGeom>
                  <a:avLst/>
                  <a:gdLst>
                    <a:gd name="T0" fmla="*/ 2147483646 w 628"/>
                    <a:gd name="T1" fmla="*/ 2147483646 h 66"/>
                    <a:gd name="T2" fmla="*/ 2147483646 w 628"/>
                    <a:gd name="T3" fmla="*/ 2147483646 h 66"/>
                    <a:gd name="T4" fmla="*/ 2147483646 w 628"/>
                    <a:gd name="T5" fmla="*/ 2147483646 h 66"/>
                    <a:gd name="T6" fmla="*/ 2147483646 w 628"/>
                    <a:gd name="T7" fmla="*/ 2147483646 h 66"/>
                    <a:gd name="T8" fmla="*/ 2147483646 w 628"/>
                    <a:gd name="T9" fmla="*/ 2147483646 h 66"/>
                    <a:gd name="T10" fmla="*/ 2147483646 w 628"/>
                    <a:gd name="T11" fmla="*/ 2147483646 h 66"/>
                    <a:gd name="T12" fmla="*/ 2147483646 w 628"/>
                    <a:gd name="T13" fmla="*/ 2147483646 h 66"/>
                    <a:gd name="T14" fmla="*/ 2147483646 w 628"/>
                    <a:gd name="T15" fmla="*/ 2147483646 h 66"/>
                    <a:gd name="T16" fmla="*/ 2147483646 w 628"/>
                    <a:gd name="T17" fmla="*/ 2147483646 h 66"/>
                    <a:gd name="T18" fmla="*/ 2147483646 w 628"/>
                    <a:gd name="T19" fmla="*/ 2147483646 h 66"/>
                    <a:gd name="T20" fmla="*/ 2147483646 w 628"/>
                    <a:gd name="T21" fmla="*/ 2147483646 h 66"/>
                    <a:gd name="T22" fmla="*/ 2147483646 w 628"/>
                    <a:gd name="T23" fmla="*/ 2147483646 h 66"/>
                    <a:gd name="T24" fmla="*/ 2147483646 w 628"/>
                    <a:gd name="T25" fmla="*/ 2147483646 h 66"/>
                    <a:gd name="T26" fmla="*/ 2147483646 w 628"/>
                    <a:gd name="T27" fmla="*/ 2147483646 h 66"/>
                    <a:gd name="T28" fmla="*/ 2147483646 w 628"/>
                    <a:gd name="T29" fmla="*/ 2147483646 h 66"/>
                    <a:gd name="T30" fmla="*/ 2147483646 w 628"/>
                    <a:gd name="T31" fmla="*/ 2147483646 h 66"/>
                    <a:gd name="T32" fmla="*/ 2147483646 w 628"/>
                    <a:gd name="T33" fmla="*/ 2147483646 h 66"/>
                    <a:gd name="T34" fmla="*/ 2147483646 w 628"/>
                    <a:gd name="T35" fmla="*/ 2147483646 h 66"/>
                    <a:gd name="T36" fmla="*/ 2147483646 w 628"/>
                    <a:gd name="T37" fmla="*/ 2147483646 h 66"/>
                    <a:gd name="T38" fmla="*/ 2147483646 w 628"/>
                    <a:gd name="T39" fmla="*/ 0 h 66"/>
                    <a:gd name="T40" fmla="*/ 2147483646 w 628"/>
                    <a:gd name="T41" fmla="*/ 0 h 66"/>
                    <a:gd name="T42" fmla="*/ 2147483646 w 628"/>
                    <a:gd name="T43" fmla="*/ 2147483646 h 66"/>
                    <a:gd name="T44" fmla="*/ 2147483646 w 628"/>
                    <a:gd name="T45" fmla="*/ 2147483646 h 66"/>
                    <a:gd name="T46" fmla="*/ 2147483646 w 628"/>
                    <a:gd name="T47" fmla="*/ 2147483646 h 66"/>
                    <a:gd name="T48" fmla="*/ 2147483646 w 628"/>
                    <a:gd name="T49" fmla="*/ 2147483646 h 66"/>
                    <a:gd name="T50" fmla="*/ 0 w 628"/>
                    <a:gd name="T51" fmla="*/ 2147483646 h 66"/>
                    <a:gd name="T52" fmla="*/ 2147483646 w 628"/>
                    <a:gd name="T53" fmla="*/ 2147483646 h 66"/>
                    <a:gd name="T54" fmla="*/ 2147483646 w 628"/>
                    <a:gd name="T55" fmla="*/ 2147483646 h 66"/>
                    <a:gd name="T56" fmla="*/ 2147483646 w 628"/>
                    <a:gd name="T57" fmla="*/ 2147483646 h 66"/>
                    <a:gd name="T58" fmla="*/ 2147483646 w 628"/>
                    <a:gd name="T59" fmla="*/ 2147483646 h 66"/>
                    <a:gd name="T60" fmla="*/ 2147483646 w 628"/>
                    <a:gd name="T61" fmla="*/ 2147483646 h 66"/>
                    <a:gd name="T62" fmla="*/ 2147483646 w 628"/>
                    <a:gd name="T63" fmla="*/ 2147483646 h 66"/>
                    <a:gd name="T64" fmla="*/ 2147483646 w 628"/>
                    <a:gd name="T65" fmla="*/ 2147483646 h 66"/>
                    <a:gd name="T66" fmla="*/ 2147483646 w 628"/>
                    <a:gd name="T67" fmla="*/ 2147483646 h 66"/>
                    <a:gd name="T68" fmla="*/ 2147483646 w 628"/>
                    <a:gd name="T69" fmla="*/ 2147483646 h 66"/>
                    <a:gd name="T70" fmla="*/ 2147483646 w 628"/>
                    <a:gd name="T71" fmla="*/ 2147483646 h 66"/>
                    <a:gd name="T72" fmla="*/ 2147483646 w 628"/>
                    <a:gd name="T73" fmla="*/ 2147483646 h 66"/>
                    <a:gd name="T74" fmla="*/ 2147483646 w 628"/>
                    <a:gd name="T75" fmla="*/ 2147483646 h 66"/>
                    <a:gd name="T76" fmla="*/ 2147483646 w 628"/>
                    <a:gd name="T77" fmla="*/ 2147483646 h 66"/>
                    <a:gd name="T78" fmla="*/ 2147483646 w 628"/>
                    <a:gd name="T79" fmla="*/ 2147483646 h 66"/>
                    <a:gd name="T80" fmla="*/ 2147483646 w 628"/>
                    <a:gd name="T81" fmla="*/ 2147483646 h 66"/>
                    <a:gd name="T82" fmla="*/ 2147483646 w 628"/>
                    <a:gd name="T83" fmla="*/ 2147483646 h 66"/>
                    <a:gd name="T84" fmla="*/ 2147483646 w 628"/>
                    <a:gd name="T85" fmla="*/ 2147483646 h 66"/>
                    <a:gd name="T86" fmla="*/ 2147483646 w 628"/>
                    <a:gd name="T87" fmla="*/ 2147483646 h 66"/>
                    <a:gd name="T88" fmla="*/ 2147483646 w 628"/>
                    <a:gd name="T89" fmla="*/ 2147483646 h 66"/>
                    <a:gd name="T90" fmla="*/ 2147483646 w 628"/>
                    <a:gd name="T91" fmla="*/ 2147483646 h 66"/>
                    <a:gd name="T92" fmla="*/ 2147483646 w 628"/>
                    <a:gd name="T93" fmla="*/ 2147483646 h 66"/>
                    <a:gd name="T94" fmla="*/ 2147483646 w 628"/>
                    <a:gd name="T95" fmla="*/ 2147483646 h 66"/>
                    <a:gd name="T96" fmla="*/ 2147483646 w 628"/>
                    <a:gd name="T97" fmla="*/ 2147483646 h 66"/>
                    <a:gd name="T98" fmla="*/ 2147483646 w 628"/>
                    <a:gd name="T99" fmla="*/ 2147483646 h 66"/>
                    <a:gd name="T100" fmla="*/ 2147483646 w 628"/>
                    <a:gd name="T101" fmla="*/ 2147483646 h 6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8"/>
                    <a:gd name="T154" fmla="*/ 0 h 66"/>
                    <a:gd name="T155" fmla="*/ 628 w 628"/>
                    <a:gd name="T156" fmla="*/ 66 h 6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8" h="66">
                      <a:moveTo>
                        <a:pt x="628" y="45"/>
                      </a:moveTo>
                      <a:lnTo>
                        <a:pt x="623" y="45"/>
                      </a:lnTo>
                      <a:lnTo>
                        <a:pt x="610" y="44"/>
                      </a:lnTo>
                      <a:lnTo>
                        <a:pt x="590" y="42"/>
                      </a:lnTo>
                      <a:lnTo>
                        <a:pt x="562" y="39"/>
                      </a:lnTo>
                      <a:lnTo>
                        <a:pt x="531" y="36"/>
                      </a:lnTo>
                      <a:lnTo>
                        <a:pt x="494" y="32"/>
                      </a:lnTo>
                      <a:lnTo>
                        <a:pt x="456" y="29"/>
                      </a:lnTo>
                      <a:lnTo>
                        <a:pt x="415" y="25"/>
                      </a:lnTo>
                      <a:lnTo>
                        <a:pt x="374" y="22"/>
                      </a:lnTo>
                      <a:lnTo>
                        <a:pt x="333" y="17"/>
                      </a:lnTo>
                      <a:lnTo>
                        <a:pt x="294" y="14"/>
                      </a:lnTo>
                      <a:lnTo>
                        <a:pt x="258" y="10"/>
                      </a:lnTo>
                      <a:lnTo>
                        <a:pt x="226" y="8"/>
                      </a:lnTo>
                      <a:lnTo>
                        <a:pt x="198" y="6"/>
                      </a:lnTo>
                      <a:lnTo>
                        <a:pt x="177" y="4"/>
                      </a:lnTo>
                      <a:lnTo>
                        <a:pt x="164" y="2"/>
                      </a:lnTo>
                      <a:lnTo>
                        <a:pt x="142" y="1"/>
                      </a:lnTo>
                      <a:lnTo>
                        <a:pt x="118" y="1"/>
                      </a:lnTo>
                      <a:lnTo>
                        <a:pt x="92" y="0"/>
                      </a:lnTo>
                      <a:lnTo>
                        <a:pt x="67" y="0"/>
                      </a:lnTo>
                      <a:lnTo>
                        <a:pt x="45" y="1"/>
                      </a:lnTo>
                      <a:lnTo>
                        <a:pt x="27" y="1"/>
                      </a:lnTo>
                      <a:lnTo>
                        <a:pt x="14" y="1"/>
                      </a:lnTo>
                      <a:lnTo>
                        <a:pt x="9" y="1"/>
                      </a:lnTo>
                      <a:lnTo>
                        <a:pt x="0" y="16"/>
                      </a:lnTo>
                      <a:lnTo>
                        <a:pt x="5" y="16"/>
                      </a:lnTo>
                      <a:lnTo>
                        <a:pt x="16" y="16"/>
                      </a:lnTo>
                      <a:lnTo>
                        <a:pt x="35" y="16"/>
                      </a:lnTo>
                      <a:lnTo>
                        <a:pt x="57" y="17"/>
                      </a:lnTo>
                      <a:lnTo>
                        <a:pt x="81" y="17"/>
                      </a:lnTo>
                      <a:lnTo>
                        <a:pt x="105" y="18"/>
                      </a:lnTo>
                      <a:lnTo>
                        <a:pt x="127" y="18"/>
                      </a:lnTo>
                      <a:lnTo>
                        <a:pt x="146" y="20"/>
                      </a:lnTo>
                      <a:lnTo>
                        <a:pt x="159" y="21"/>
                      </a:lnTo>
                      <a:lnTo>
                        <a:pt x="180" y="22"/>
                      </a:lnTo>
                      <a:lnTo>
                        <a:pt x="206" y="24"/>
                      </a:lnTo>
                      <a:lnTo>
                        <a:pt x="238" y="28"/>
                      </a:lnTo>
                      <a:lnTo>
                        <a:pt x="275" y="31"/>
                      </a:lnTo>
                      <a:lnTo>
                        <a:pt x="316" y="35"/>
                      </a:lnTo>
                      <a:lnTo>
                        <a:pt x="357" y="39"/>
                      </a:lnTo>
                      <a:lnTo>
                        <a:pt x="400" y="43"/>
                      </a:lnTo>
                      <a:lnTo>
                        <a:pt x="442" y="47"/>
                      </a:lnTo>
                      <a:lnTo>
                        <a:pt x="483" y="52"/>
                      </a:lnTo>
                      <a:lnTo>
                        <a:pt x="519" y="55"/>
                      </a:lnTo>
                      <a:lnTo>
                        <a:pt x="553" y="59"/>
                      </a:lnTo>
                      <a:lnTo>
                        <a:pt x="581" y="61"/>
                      </a:lnTo>
                      <a:lnTo>
                        <a:pt x="602" y="63"/>
                      </a:lnTo>
                      <a:lnTo>
                        <a:pt x="616" y="66"/>
                      </a:lnTo>
                      <a:lnTo>
                        <a:pt x="621" y="66"/>
                      </a:lnTo>
                      <a:lnTo>
                        <a:pt x="628"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92" name="Freeform 126">
                  <a:extLst>
                    <a:ext uri="{FF2B5EF4-FFF2-40B4-BE49-F238E27FC236}">
                      <a16:creationId xmlns:a16="http://schemas.microsoft.com/office/drawing/2014/main" id="{569E776E-069D-4C16-AE9E-E0FD5EE961BD}"/>
                    </a:ext>
                  </a:extLst>
                </p:cNvPr>
                <p:cNvSpPr>
                  <a:spLocks/>
                </p:cNvSpPr>
                <p:nvPr/>
              </p:nvSpPr>
              <p:spPr bwMode="auto">
                <a:xfrm>
                  <a:off x="7052975" y="1001243"/>
                  <a:ext cx="63239" cy="6014"/>
                </a:xfrm>
                <a:custGeom>
                  <a:avLst/>
                  <a:gdLst>
                    <a:gd name="T0" fmla="*/ 2147483646 w 431"/>
                    <a:gd name="T1" fmla="*/ 0 h 60"/>
                    <a:gd name="T2" fmla="*/ 2147483646 w 431"/>
                    <a:gd name="T3" fmla="*/ 2147483646 h 60"/>
                    <a:gd name="T4" fmla="*/ 2147483646 w 431"/>
                    <a:gd name="T5" fmla="*/ 2147483646 h 60"/>
                    <a:gd name="T6" fmla="*/ 2147483646 w 431"/>
                    <a:gd name="T7" fmla="*/ 2147483646 h 60"/>
                    <a:gd name="T8" fmla="*/ 2147483646 w 431"/>
                    <a:gd name="T9" fmla="*/ 2147483646 h 60"/>
                    <a:gd name="T10" fmla="*/ 2147483646 w 431"/>
                    <a:gd name="T11" fmla="*/ 2147483646 h 60"/>
                    <a:gd name="T12" fmla="*/ 2147483646 w 431"/>
                    <a:gd name="T13" fmla="*/ 2147483646 h 60"/>
                    <a:gd name="T14" fmla="*/ 2147483646 w 431"/>
                    <a:gd name="T15" fmla="*/ 2147483646 h 60"/>
                    <a:gd name="T16" fmla="*/ 2147483646 w 431"/>
                    <a:gd name="T17" fmla="*/ 2147483646 h 60"/>
                    <a:gd name="T18" fmla="*/ 2147483646 w 431"/>
                    <a:gd name="T19" fmla="*/ 2147483646 h 60"/>
                    <a:gd name="T20" fmla="*/ 2147483646 w 431"/>
                    <a:gd name="T21" fmla="*/ 2147483646 h 60"/>
                    <a:gd name="T22" fmla="*/ 2147483646 w 431"/>
                    <a:gd name="T23" fmla="*/ 2147483646 h 60"/>
                    <a:gd name="T24" fmla="*/ 2147483646 w 431"/>
                    <a:gd name="T25" fmla="*/ 2147483646 h 60"/>
                    <a:gd name="T26" fmla="*/ 2147483646 w 431"/>
                    <a:gd name="T27" fmla="*/ 2147483646 h 60"/>
                    <a:gd name="T28" fmla="*/ 2147483646 w 431"/>
                    <a:gd name="T29" fmla="*/ 2147483646 h 60"/>
                    <a:gd name="T30" fmla="*/ 2147483646 w 431"/>
                    <a:gd name="T31" fmla="*/ 2147483646 h 60"/>
                    <a:gd name="T32" fmla="*/ 2147483646 w 431"/>
                    <a:gd name="T33" fmla="*/ 2147483646 h 60"/>
                    <a:gd name="T34" fmla="*/ 2147483646 w 431"/>
                    <a:gd name="T35" fmla="*/ 2147483646 h 60"/>
                    <a:gd name="T36" fmla="*/ 2147483646 w 431"/>
                    <a:gd name="T37" fmla="*/ 2147483646 h 60"/>
                    <a:gd name="T38" fmla="*/ 2147483646 w 431"/>
                    <a:gd name="T39" fmla="*/ 2147483646 h 60"/>
                    <a:gd name="T40" fmla="*/ 2147483646 w 431"/>
                    <a:gd name="T41" fmla="*/ 2147483646 h 60"/>
                    <a:gd name="T42" fmla="*/ 2147483646 w 431"/>
                    <a:gd name="T43" fmla="*/ 2147483646 h 60"/>
                    <a:gd name="T44" fmla="*/ 2147483646 w 431"/>
                    <a:gd name="T45" fmla="*/ 2147483646 h 60"/>
                    <a:gd name="T46" fmla="*/ 2147483646 w 431"/>
                    <a:gd name="T47" fmla="*/ 2147483646 h 60"/>
                    <a:gd name="T48" fmla="*/ 2147483646 w 431"/>
                    <a:gd name="T49" fmla="*/ 2147483646 h 60"/>
                    <a:gd name="T50" fmla="*/ 2147483646 w 431"/>
                    <a:gd name="T51" fmla="*/ 2147483646 h 60"/>
                    <a:gd name="T52" fmla="*/ 2147483646 w 431"/>
                    <a:gd name="T53" fmla="*/ 2147483646 h 60"/>
                    <a:gd name="T54" fmla="*/ 2147483646 w 431"/>
                    <a:gd name="T55" fmla="*/ 2147483646 h 60"/>
                    <a:gd name="T56" fmla="*/ 2147483646 w 431"/>
                    <a:gd name="T57" fmla="*/ 2147483646 h 60"/>
                    <a:gd name="T58" fmla="*/ 2147483646 w 431"/>
                    <a:gd name="T59" fmla="*/ 2147483646 h 60"/>
                    <a:gd name="T60" fmla="*/ 2147483646 w 431"/>
                    <a:gd name="T61" fmla="*/ 2147483646 h 60"/>
                    <a:gd name="T62" fmla="*/ 2147483646 w 431"/>
                    <a:gd name="T63" fmla="*/ 2147483646 h 60"/>
                    <a:gd name="T64" fmla="*/ 2147483646 w 431"/>
                    <a:gd name="T65" fmla="*/ 2147483646 h 60"/>
                    <a:gd name="T66" fmla="*/ 0 w 431"/>
                    <a:gd name="T67" fmla="*/ 2147483646 h 60"/>
                    <a:gd name="T68" fmla="*/ 2147483646 w 431"/>
                    <a:gd name="T69" fmla="*/ 0 h 6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31"/>
                    <a:gd name="T106" fmla="*/ 0 h 60"/>
                    <a:gd name="T107" fmla="*/ 431 w 431"/>
                    <a:gd name="T108" fmla="*/ 60 h 6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31" h="60">
                      <a:moveTo>
                        <a:pt x="7" y="0"/>
                      </a:moveTo>
                      <a:lnTo>
                        <a:pt x="31" y="3"/>
                      </a:lnTo>
                      <a:lnTo>
                        <a:pt x="59" y="5"/>
                      </a:lnTo>
                      <a:lnTo>
                        <a:pt x="90" y="7"/>
                      </a:lnTo>
                      <a:lnTo>
                        <a:pt x="123" y="11"/>
                      </a:lnTo>
                      <a:lnTo>
                        <a:pt x="158" y="14"/>
                      </a:lnTo>
                      <a:lnTo>
                        <a:pt x="192" y="18"/>
                      </a:lnTo>
                      <a:lnTo>
                        <a:pt x="228" y="21"/>
                      </a:lnTo>
                      <a:lnTo>
                        <a:pt x="263" y="23"/>
                      </a:lnTo>
                      <a:lnTo>
                        <a:pt x="296" y="27"/>
                      </a:lnTo>
                      <a:lnTo>
                        <a:pt x="327" y="30"/>
                      </a:lnTo>
                      <a:lnTo>
                        <a:pt x="356" y="33"/>
                      </a:lnTo>
                      <a:lnTo>
                        <a:pt x="381" y="35"/>
                      </a:lnTo>
                      <a:lnTo>
                        <a:pt x="402" y="37"/>
                      </a:lnTo>
                      <a:lnTo>
                        <a:pt x="417" y="38"/>
                      </a:lnTo>
                      <a:lnTo>
                        <a:pt x="427" y="40"/>
                      </a:lnTo>
                      <a:lnTo>
                        <a:pt x="431" y="40"/>
                      </a:lnTo>
                      <a:lnTo>
                        <a:pt x="424" y="60"/>
                      </a:lnTo>
                      <a:lnTo>
                        <a:pt x="421" y="60"/>
                      </a:lnTo>
                      <a:lnTo>
                        <a:pt x="411" y="59"/>
                      </a:lnTo>
                      <a:lnTo>
                        <a:pt x="395" y="57"/>
                      </a:lnTo>
                      <a:lnTo>
                        <a:pt x="376" y="56"/>
                      </a:lnTo>
                      <a:lnTo>
                        <a:pt x="351" y="52"/>
                      </a:lnTo>
                      <a:lnTo>
                        <a:pt x="324" y="50"/>
                      </a:lnTo>
                      <a:lnTo>
                        <a:pt x="293" y="46"/>
                      </a:lnTo>
                      <a:lnTo>
                        <a:pt x="259" y="43"/>
                      </a:lnTo>
                      <a:lnTo>
                        <a:pt x="225" y="40"/>
                      </a:lnTo>
                      <a:lnTo>
                        <a:pt x="190" y="36"/>
                      </a:lnTo>
                      <a:lnTo>
                        <a:pt x="154" y="33"/>
                      </a:lnTo>
                      <a:lnTo>
                        <a:pt x="120" y="29"/>
                      </a:lnTo>
                      <a:lnTo>
                        <a:pt x="87" y="26"/>
                      </a:lnTo>
                      <a:lnTo>
                        <a:pt x="54" y="22"/>
                      </a:lnTo>
                      <a:lnTo>
                        <a:pt x="25" y="20"/>
                      </a:lnTo>
                      <a:lnTo>
                        <a:pt x="0" y="18"/>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93" name="Freeform 127">
                  <a:extLst>
                    <a:ext uri="{FF2B5EF4-FFF2-40B4-BE49-F238E27FC236}">
                      <a16:creationId xmlns:a16="http://schemas.microsoft.com/office/drawing/2014/main" id="{56CFE809-0AA4-4C31-B828-7E2F3EC442BD}"/>
                    </a:ext>
                  </a:extLst>
                </p:cNvPr>
                <p:cNvSpPr>
                  <a:spLocks/>
                </p:cNvSpPr>
                <p:nvPr/>
              </p:nvSpPr>
              <p:spPr bwMode="auto">
                <a:xfrm>
                  <a:off x="7053858" y="1062188"/>
                  <a:ext cx="44120" cy="4210"/>
                </a:xfrm>
                <a:custGeom>
                  <a:avLst/>
                  <a:gdLst>
                    <a:gd name="T0" fmla="*/ 2147483646 w 301"/>
                    <a:gd name="T1" fmla="*/ 0 h 41"/>
                    <a:gd name="T2" fmla="*/ 2147483646 w 301"/>
                    <a:gd name="T3" fmla="*/ 2147483646 h 41"/>
                    <a:gd name="T4" fmla="*/ 2147483646 w 301"/>
                    <a:gd name="T5" fmla="*/ 2147483646 h 41"/>
                    <a:gd name="T6" fmla="*/ 2147483646 w 301"/>
                    <a:gd name="T7" fmla="*/ 2147483646 h 41"/>
                    <a:gd name="T8" fmla="*/ 2147483646 w 301"/>
                    <a:gd name="T9" fmla="*/ 2147483646 h 41"/>
                    <a:gd name="T10" fmla="*/ 2147483646 w 301"/>
                    <a:gd name="T11" fmla="*/ 2147483646 h 41"/>
                    <a:gd name="T12" fmla="*/ 2147483646 w 301"/>
                    <a:gd name="T13" fmla="*/ 2147483646 h 41"/>
                    <a:gd name="T14" fmla="*/ 2147483646 w 301"/>
                    <a:gd name="T15" fmla="*/ 2147483646 h 41"/>
                    <a:gd name="T16" fmla="*/ 2147483646 w 301"/>
                    <a:gd name="T17" fmla="*/ 2147483646 h 41"/>
                    <a:gd name="T18" fmla="*/ 2147483646 w 301"/>
                    <a:gd name="T19" fmla="*/ 2147483646 h 41"/>
                    <a:gd name="T20" fmla="*/ 2147483646 w 301"/>
                    <a:gd name="T21" fmla="*/ 2147483646 h 41"/>
                    <a:gd name="T22" fmla="*/ 2147483646 w 301"/>
                    <a:gd name="T23" fmla="*/ 2147483646 h 41"/>
                    <a:gd name="T24" fmla="*/ 2147483646 w 301"/>
                    <a:gd name="T25" fmla="*/ 2147483646 h 41"/>
                    <a:gd name="T26" fmla="*/ 2147483646 w 301"/>
                    <a:gd name="T27" fmla="*/ 2147483646 h 41"/>
                    <a:gd name="T28" fmla="*/ 2147483646 w 301"/>
                    <a:gd name="T29" fmla="*/ 2147483646 h 41"/>
                    <a:gd name="T30" fmla="*/ 2147483646 w 301"/>
                    <a:gd name="T31" fmla="*/ 2147483646 h 41"/>
                    <a:gd name="T32" fmla="*/ 2147483646 w 301"/>
                    <a:gd name="T33" fmla="*/ 2147483646 h 41"/>
                    <a:gd name="T34" fmla="*/ 2147483646 w 301"/>
                    <a:gd name="T35" fmla="*/ 2147483646 h 41"/>
                    <a:gd name="T36" fmla="*/ 2147483646 w 301"/>
                    <a:gd name="T37" fmla="*/ 2147483646 h 41"/>
                    <a:gd name="T38" fmla="*/ 2147483646 w 301"/>
                    <a:gd name="T39" fmla="*/ 2147483646 h 41"/>
                    <a:gd name="T40" fmla="*/ 2147483646 w 301"/>
                    <a:gd name="T41" fmla="*/ 2147483646 h 41"/>
                    <a:gd name="T42" fmla="*/ 2147483646 w 301"/>
                    <a:gd name="T43" fmla="*/ 2147483646 h 41"/>
                    <a:gd name="T44" fmla="*/ 2147483646 w 301"/>
                    <a:gd name="T45" fmla="*/ 2147483646 h 41"/>
                    <a:gd name="T46" fmla="*/ 2147483646 w 301"/>
                    <a:gd name="T47" fmla="*/ 2147483646 h 41"/>
                    <a:gd name="T48" fmla="*/ 2147483646 w 301"/>
                    <a:gd name="T49" fmla="*/ 2147483646 h 41"/>
                    <a:gd name="T50" fmla="*/ 2147483646 w 301"/>
                    <a:gd name="T51" fmla="*/ 2147483646 h 41"/>
                    <a:gd name="T52" fmla="*/ 2147483646 w 301"/>
                    <a:gd name="T53" fmla="*/ 2147483646 h 41"/>
                    <a:gd name="T54" fmla="*/ 2147483646 w 301"/>
                    <a:gd name="T55" fmla="*/ 2147483646 h 41"/>
                    <a:gd name="T56" fmla="*/ 2147483646 w 301"/>
                    <a:gd name="T57" fmla="*/ 2147483646 h 41"/>
                    <a:gd name="T58" fmla="*/ 2147483646 w 301"/>
                    <a:gd name="T59" fmla="*/ 2147483646 h 41"/>
                    <a:gd name="T60" fmla="*/ 2147483646 w 301"/>
                    <a:gd name="T61" fmla="*/ 2147483646 h 41"/>
                    <a:gd name="T62" fmla="*/ 2147483646 w 301"/>
                    <a:gd name="T63" fmla="*/ 2147483646 h 41"/>
                    <a:gd name="T64" fmla="*/ 2147483646 w 301"/>
                    <a:gd name="T65" fmla="*/ 2147483646 h 41"/>
                    <a:gd name="T66" fmla="*/ 0 w 301"/>
                    <a:gd name="T67" fmla="*/ 2147483646 h 41"/>
                    <a:gd name="T68" fmla="*/ 2147483646 w 301"/>
                    <a:gd name="T69" fmla="*/ 0 h 4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01"/>
                    <a:gd name="T106" fmla="*/ 0 h 41"/>
                    <a:gd name="T107" fmla="*/ 301 w 301"/>
                    <a:gd name="T108" fmla="*/ 41 h 4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01" h="41">
                      <a:moveTo>
                        <a:pt x="4" y="0"/>
                      </a:moveTo>
                      <a:lnTo>
                        <a:pt x="21" y="1"/>
                      </a:lnTo>
                      <a:lnTo>
                        <a:pt x="40" y="3"/>
                      </a:lnTo>
                      <a:lnTo>
                        <a:pt x="62" y="4"/>
                      </a:lnTo>
                      <a:lnTo>
                        <a:pt x="85" y="7"/>
                      </a:lnTo>
                      <a:lnTo>
                        <a:pt x="109" y="9"/>
                      </a:lnTo>
                      <a:lnTo>
                        <a:pt x="134" y="11"/>
                      </a:lnTo>
                      <a:lnTo>
                        <a:pt x="159" y="14"/>
                      </a:lnTo>
                      <a:lnTo>
                        <a:pt x="183" y="16"/>
                      </a:lnTo>
                      <a:lnTo>
                        <a:pt x="206" y="18"/>
                      </a:lnTo>
                      <a:lnTo>
                        <a:pt x="228" y="19"/>
                      </a:lnTo>
                      <a:lnTo>
                        <a:pt x="249" y="22"/>
                      </a:lnTo>
                      <a:lnTo>
                        <a:pt x="266" y="23"/>
                      </a:lnTo>
                      <a:lnTo>
                        <a:pt x="280" y="24"/>
                      </a:lnTo>
                      <a:lnTo>
                        <a:pt x="291" y="25"/>
                      </a:lnTo>
                      <a:lnTo>
                        <a:pt x="298" y="26"/>
                      </a:lnTo>
                      <a:lnTo>
                        <a:pt x="301" y="26"/>
                      </a:lnTo>
                      <a:lnTo>
                        <a:pt x="296" y="41"/>
                      </a:lnTo>
                      <a:lnTo>
                        <a:pt x="294" y="41"/>
                      </a:lnTo>
                      <a:lnTo>
                        <a:pt x="287" y="40"/>
                      </a:lnTo>
                      <a:lnTo>
                        <a:pt x="276" y="39"/>
                      </a:lnTo>
                      <a:lnTo>
                        <a:pt x="263" y="38"/>
                      </a:lnTo>
                      <a:lnTo>
                        <a:pt x="245" y="36"/>
                      </a:lnTo>
                      <a:lnTo>
                        <a:pt x="226" y="34"/>
                      </a:lnTo>
                      <a:lnTo>
                        <a:pt x="204" y="32"/>
                      </a:lnTo>
                      <a:lnTo>
                        <a:pt x="181" y="30"/>
                      </a:lnTo>
                      <a:lnTo>
                        <a:pt x="157" y="26"/>
                      </a:lnTo>
                      <a:lnTo>
                        <a:pt x="133" y="24"/>
                      </a:lnTo>
                      <a:lnTo>
                        <a:pt x="107" y="22"/>
                      </a:lnTo>
                      <a:lnTo>
                        <a:pt x="83" y="19"/>
                      </a:lnTo>
                      <a:lnTo>
                        <a:pt x="60" y="17"/>
                      </a:lnTo>
                      <a:lnTo>
                        <a:pt x="38" y="15"/>
                      </a:lnTo>
                      <a:lnTo>
                        <a:pt x="17" y="12"/>
                      </a:lnTo>
                      <a:lnTo>
                        <a:pt x="0" y="11"/>
                      </a:lnTo>
                      <a:lnTo>
                        <a:pt x="4" y="0"/>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94" name="Freeform 128">
                  <a:extLst>
                    <a:ext uri="{FF2B5EF4-FFF2-40B4-BE49-F238E27FC236}">
                      <a16:creationId xmlns:a16="http://schemas.microsoft.com/office/drawing/2014/main" id="{D6C875E1-B41F-4198-AA0A-9EAE68608192}"/>
                    </a:ext>
                  </a:extLst>
                </p:cNvPr>
                <p:cNvSpPr>
                  <a:spLocks/>
                </p:cNvSpPr>
                <p:nvPr/>
              </p:nvSpPr>
              <p:spPr bwMode="auto">
                <a:xfrm>
                  <a:off x="7048563" y="1072012"/>
                  <a:ext cx="44120" cy="4210"/>
                </a:xfrm>
                <a:custGeom>
                  <a:avLst/>
                  <a:gdLst>
                    <a:gd name="T0" fmla="*/ 2147483646 w 301"/>
                    <a:gd name="T1" fmla="*/ 0 h 41"/>
                    <a:gd name="T2" fmla="*/ 2147483646 w 301"/>
                    <a:gd name="T3" fmla="*/ 2147483646 h 41"/>
                    <a:gd name="T4" fmla="*/ 2147483646 w 301"/>
                    <a:gd name="T5" fmla="*/ 2147483646 h 41"/>
                    <a:gd name="T6" fmla="*/ 2147483646 w 301"/>
                    <a:gd name="T7" fmla="*/ 2147483646 h 41"/>
                    <a:gd name="T8" fmla="*/ 2147483646 w 301"/>
                    <a:gd name="T9" fmla="*/ 2147483646 h 41"/>
                    <a:gd name="T10" fmla="*/ 2147483646 w 301"/>
                    <a:gd name="T11" fmla="*/ 2147483646 h 41"/>
                    <a:gd name="T12" fmla="*/ 2147483646 w 301"/>
                    <a:gd name="T13" fmla="*/ 2147483646 h 41"/>
                    <a:gd name="T14" fmla="*/ 2147483646 w 301"/>
                    <a:gd name="T15" fmla="*/ 2147483646 h 41"/>
                    <a:gd name="T16" fmla="*/ 2147483646 w 301"/>
                    <a:gd name="T17" fmla="*/ 2147483646 h 41"/>
                    <a:gd name="T18" fmla="*/ 2147483646 w 301"/>
                    <a:gd name="T19" fmla="*/ 2147483646 h 41"/>
                    <a:gd name="T20" fmla="*/ 2147483646 w 301"/>
                    <a:gd name="T21" fmla="*/ 2147483646 h 41"/>
                    <a:gd name="T22" fmla="*/ 2147483646 w 301"/>
                    <a:gd name="T23" fmla="*/ 2147483646 h 41"/>
                    <a:gd name="T24" fmla="*/ 2147483646 w 301"/>
                    <a:gd name="T25" fmla="*/ 2147483646 h 41"/>
                    <a:gd name="T26" fmla="*/ 2147483646 w 301"/>
                    <a:gd name="T27" fmla="*/ 2147483646 h 41"/>
                    <a:gd name="T28" fmla="*/ 2147483646 w 301"/>
                    <a:gd name="T29" fmla="*/ 2147483646 h 41"/>
                    <a:gd name="T30" fmla="*/ 2147483646 w 301"/>
                    <a:gd name="T31" fmla="*/ 2147483646 h 41"/>
                    <a:gd name="T32" fmla="*/ 2147483646 w 301"/>
                    <a:gd name="T33" fmla="*/ 2147483646 h 41"/>
                    <a:gd name="T34" fmla="*/ 2147483646 w 301"/>
                    <a:gd name="T35" fmla="*/ 2147483646 h 41"/>
                    <a:gd name="T36" fmla="*/ 2147483646 w 301"/>
                    <a:gd name="T37" fmla="*/ 2147483646 h 41"/>
                    <a:gd name="T38" fmla="*/ 2147483646 w 301"/>
                    <a:gd name="T39" fmla="*/ 2147483646 h 41"/>
                    <a:gd name="T40" fmla="*/ 2147483646 w 301"/>
                    <a:gd name="T41" fmla="*/ 2147483646 h 41"/>
                    <a:gd name="T42" fmla="*/ 2147483646 w 301"/>
                    <a:gd name="T43" fmla="*/ 2147483646 h 41"/>
                    <a:gd name="T44" fmla="*/ 2147483646 w 301"/>
                    <a:gd name="T45" fmla="*/ 2147483646 h 41"/>
                    <a:gd name="T46" fmla="*/ 2147483646 w 301"/>
                    <a:gd name="T47" fmla="*/ 2147483646 h 41"/>
                    <a:gd name="T48" fmla="*/ 2147483646 w 301"/>
                    <a:gd name="T49" fmla="*/ 2147483646 h 41"/>
                    <a:gd name="T50" fmla="*/ 2147483646 w 301"/>
                    <a:gd name="T51" fmla="*/ 2147483646 h 41"/>
                    <a:gd name="T52" fmla="*/ 2147483646 w 301"/>
                    <a:gd name="T53" fmla="*/ 2147483646 h 41"/>
                    <a:gd name="T54" fmla="*/ 2147483646 w 301"/>
                    <a:gd name="T55" fmla="*/ 2147483646 h 41"/>
                    <a:gd name="T56" fmla="*/ 2147483646 w 301"/>
                    <a:gd name="T57" fmla="*/ 2147483646 h 41"/>
                    <a:gd name="T58" fmla="*/ 2147483646 w 301"/>
                    <a:gd name="T59" fmla="*/ 2147483646 h 41"/>
                    <a:gd name="T60" fmla="*/ 2147483646 w 301"/>
                    <a:gd name="T61" fmla="*/ 2147483646 h 41"/>
                    <a:gd name="T62" fmla="*/ 2147483646 w 301"/>
                    <a:gd name="T63" fmla="*/ 2147483646 h 41"/>
                    <a:gd name="T64" fmla="*/ 2147483646 w 301"/>
                    <a:gd name="T65" fmla="*/ 2147483646 h 41"/>
                    <a:gd name="T66" fmla="*/ 0 w 301"/>
                    <a:gd name="T67" fmla="*/ 2147483646 h 41"/>
                    <a:gd name="T68" fmla="*/ 2147483646 w 301"/>
                    <a:gd name="T69" fmla="*/ 0 h 4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01"/>
                    <a:gd name="T106" fmla="*/ 0 h 41"/>
                    <a:gd name="T107" fmla="*/ 301 w 301"/>
                    <a:gd name="T108" fmla="*/ 41 h 4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01" h="41">
                      <a:moveTo>
                        <a:pt x="5" y="0"/>
                      </a:moveTo>
                      <a:lnTo>
                        <a:pt x="22" y="1"/>
                      </a:lnTo>
                      <a:lnTo>
                        <a:pt x="41" y="3"/>
                      </a:lnTo>
                      <a:lnTo>
                        <a:pt x="63" y="5"/>
                      </a:lnTo>
                      <a:lnTo>
                        <a:pt x="86" y="8"/>
                      </a:lnTo>
                      <a:lnTo>
                        <a:pt x="110" y="10"/>
                      </a:lnTo>
                      <a:lnTo>
                        <a:pt x="135" y="12"/>
                      </a:lnTo>
                      <a:lnTo>
                        <a:pt x="159" y="15"/>
                      </a:lnTo>
                      <a:lnTo>
                        <a:pt x="183" y="17"/>
                      </a:lnTo>
                      <a:lnTo>
                        <a:pt x="207" y="18"/>
                      </a:lnTo>
                      <a:lnTo>
                        <a:pt x="228" y="20"/>
                      </a:lnTo>
                      <a:lnTo>
                        <a:pt x="249" y="23"/>
                      </a:lnTo>
                      <a:lnTo>
                        <a:pt x="266" y="24"/>
                      </a:lnTo>
                      <a:lnTo>
                        <a:pt x="280" y="25"/>
                      </a:lnTo>
                      <a:lnTo>
                        <a:pt x="292" y="26"/>
                      </a:lnTo>
                      <a:lnTo>
                        <a:pt x="299" y="27"/>
                      </a:lnTo>
                      <a:lnTo>
                        <a:pt x="301" y="27"/>
                      </a:lnTo>
                      <a:lnTo>
                        <a:pt x="296" y="41"/>
                      </a:lnTo>
                      <a:lnTo>
                        <a:pt x="294" y="41"/>
                      </a:lnTo>
                      <a:lnTo>
                        <a:pt x="287" y="40"/>
                      </a:lnTo>
                      <a:lnTo>
                        <a:pt x="277" y="39"/>
                      </a:lnTo>
                      <a:lnTo>
                        <a:pt x="263" y="38"/>
                      </a:lnTo>
                      <a:lnTo>
                        <a:pt x="246" y="36"/>
                      </a:lnTo>
                      <a:lnTo>
                        <a:pt x="226" y="34"/>
                      </a:lnTo>
                      <a:lnTo>
                        <a:pt x="204" y="32"/>
                      </a:lnTo>
                      <a:lnTo>
                        <a:pt x="181" y="30"/>
                      </a:lnTo>
                      <a:lnTo>
                        <a:pt x="158" y="27"/>
                      </a:lnTo>
                      <a:lnTo>
                        <a:pt x="133" y="25"/>
                      </a:lnTo>
                      <a:lnTo>
                        <a:pt x="109" y="23"/>
                      </a:lnTo>
                      <a:lnTo>
                        <a:pt x="84" y="20"/>
                      </a:lnTo>
                      <a:lnTo>
                        <a:pt x="60" y="18"/>
                      </a:lnTo>
                      <a:lnTo>
                        <a:pt x="38" y="16"/>
                      </a:lnTo>
                      <a:lnTo>
                        <a:pt x="19" y="13"/>
                      </a:lnTo>
                      <a:lnTo>
                        <a:pt x="0" y="12"/>
                      </a:lnTo>
                      <a:lnTo>
                        <a:pt x="5" y="0"/>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95" name="Freeform 129">
                  <a:extLst>
                    <a:ext uri="{FF2B5EF4-FFF2-40B4-BE49-F238E27FC236}">
                      <a16:creationId xmlns:a16="http://schemas.microsoft.com/office/drawing/2014/main" id="{C3F2C67D-DB45-4332-9E2E-FCAC756EE5A2}"/>
                    </a:ext>
                  </a:extLst>
                </p:cNvPr>
                <p:cNvSpPr>
                  <a:spLocks/>
                </p:cNvSpPr>
                <p:nvPr/>
              </p:nvSpPr>
              <p:spPr bwMode="auto">
                <a:xfrm>
                  <a:off x="7045622" y="1083439"/>
                  <a:ext cx="44414" cy="4210"/>
                </a:xfrm>
                <a:custGeom>
                  <a:avLst/>
                  <a:gdLst>
                    <a:gd name="T0" fmla="*/ 2147483646 w 300"/>
                    <a:gd name="T1" fmla="*/ 0 h 41"/>
                    <a:gd name="T2" fmla="*/ 2147483646 w 300"/>
                    <a:gd name="T3" fmla="*/ 2147483646 h 41"/>
                    <a:gd name="T4" fmla="*/ 2147483646 w 300"/>
                    <a:gd name="T5" fmla="*/ 2147483646 h 41"/>
                    <a:gd name="T6" fmla="*/ 2147483646 w 300"/>
                    <a:gd name="T7" fmla="*/ 2147483646 h 41"/>
                    <a:gd name="T8" fmla="*/ 2147483646 w 300"/>
                    <a:gd name="T9" fmla="*/ 2147483646 h 41"/>
                    <a:gd name="T10" fmla="*/ 2147483646 w 300"/>
                    <a:gd name="T11" fmla="*/ 2147483646 h 41"/>
                    <a:gd name="T12" fmla="*/ 2147483646 w 300"/>
                    <a:gd name="T13" fmla="*/ 2147483646 h 41"/>
                    <a:gd name="T14" fmla="*/ 2147483646 w 300"/>
                    <a:gd name="T15" fmla="*/ 2147483646 h 41"/>
                    <a:gd name="T16" fmla="*/ 2147483646 w 300"/>
                    <a:gd name="T17" fmla="*/ 2147483646 h 41"/>
                    <a:gd name="T18" fmla="*/ 2147483646 w 300"/>
                    <a:gd name="T19" fmla="*/ 2147483646 h 41"/>
                    <a:gd name="T20" fmla="*/ 2147483646 w 300"/>
                    <a:gd name="T21" fmla="*/ 2147483646 h 41"/>
                    <a:gd name="T22" fmla="*/ 2147483646 w 300"/>
                    <a:gd name="T23" fmla="*/ 2147483646 h 41"/>
                    <a:gd name="T24" fmla="*/ 2147483646 w 300"/>
                    <a:gd name="T25" fmla="*/ 2147483646 h 41"/>
                    <a:gd name="T26" fmla="*/ 2147483646 w 300"/>
                    <a:gd name="T27" fmla="*/ 2147483646 h 41"/>
                    <a:gd name="T28" fmla="*/ 2147483646 w 300"/>
                    <a:gd name="T29" fmla="*/ 2147483646 h 41"/>
                    <a:gd name="T30" fmla="*/ 2147483646 w 300"/>
                    <a:gd name="T31" fmla="*/ 2147483646 h 41"/>
                    <a:gd name="T32" fmla="*/ 2147483646 w 300"/>
                    <a:gd name="T33" fmla="*/ 2147483646 h 41"/>
                    <a:gd name="T34" fmla="*/ 2147483646 w 300"/>
                    <a:gd name="T35" fmla="*/ 2147483646 h 41"/>
                    <a:gd name="T36" fmla="*/ 2147483646 w 300"/>
                    <a:gd name="T37" fmla="*/ 2147483646 h 41"/>
                    <a:gd name="T38" fmla="*/ 2147483646 w 300"/>
                    <a:gd name="T39" fmla="*/ 2147483646 h 41"/>
                    <a:gd name="T40" fmla="*/ 2147483646 w 300"/>
                    <a:gd name="T41" fmla="*/ 2147483646 h 41"/>
                    <a:gd name="T42" fmla="*/ 2147483646 w 300"/>
                    <a:gd name="T43" fmla="*/ 2147483646 h 41"/>
                    <a:gd name="T44" fmla="*/ 2147483646 w 300"/>
                    <a:gd name="T45" fmla="*/ 2147483646 h 41"/>
                    <a:gd name="T46" fmla="*/ 2147483646 w 300"/>
                    <a:gd name="T47" fmla="*/ 2147483646 h 41"/>
                    <a:gd name="T48" fmla="*/ 2147483646 w 300"/>
                    <a:gd name="T49" fmla="*/ 2147483646 h 41"/>
                    <a:gd name="T50" fmla="*/ 2147483646 w 300"/>
                    <a:gd name="T51" fmla="*/ 2147483646 h 41"/>
                    <a:gd name="T52" fmla="*/ 2147483646 w 300"/>
                    <a:gd name="T53" fmla="*/ 2147483646 h 41"/>
                    <a:gd name="T54" fmla="*/ 2147483646 w 300"/>
                    <a:gd name="T55" fmla="*/ 2147483646 h 41"/>
                    <a:gd name="T56" fmla="*/ 2147483646 w 300"/>
                    <a:gd name="T57" fmla="*/ 2147483646 h 41"/>
                    <a:gd name="T58" fmla="*/ 2147483646 w 300"/>
                    <a:gd name="T59" fmla="*/ 2147483646 h 41"/>
                    <a:gd name="T60" fmla="*/ 2147483646 w 300"/>
                    <a:gd name="T61" fmla="*/ 2147483646 h 41"/>
                    <a:gd name="T62" fmla="*/ 2147483646 w 300"/>
                    <a:gd name="T63" fmla="*/ 2147483646 h 41"/>
                    <a:gd name="T64" fmla="*/ 2147483646 w 300"/>
                    <a:gd name="T65" fmla="*/ 2147483646 h 41"/>
                    <a:gd name="T66" fmla="*/ 0 w 300"/>
                    <a:gd name="T67" fmla="*/ 2147483646 h 41"/>
                    <a:gd name="T68" fmla="*/ 2147483646 w 300"/>
                    <a:gd name="T69" fmla="*/ 0 h 4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00"/>
                    <a:gd name="T106" fmla="*/ 0 h 41"/>
                    <a:gd name="T107" fmla="*/ 300 w 300"/>
                    <a:gd name="T108" fmla="*/ 41 h 4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00" h="41">
                      <a:moveTo>
                        <a:pt x="3" y="0"/>
                      </a:moveTo>
                      <a:lnTo>
                        <a:pt x="21" y="1"/>
                      </a:lnTo>
                      <a:lnTo>
                        <a:pt x="40" y="3"/>
                      </a:lnTo>
                      <a:lnTo>
                        <a:pt x="62" y="5"/>
                      </a:lnTo>
                      <a:lnTo>
                        <a:pt x="85" y="8"/>
                      </a:lnTo>
                      <a:lnTo>
                        <a:pt x="109" y="10"/>
                      </a:lnTo>
                      <a:lnTo>
                        <a:pt x="133" y="12"/>
                      </a:lnTo>
                      <a:lnTo>
                        <a:pt x="159" y="15"/>
                      </a:lnTo>
                      <a:lnTo>
                        <a:pt x="183" y="17"/>
                      </a:lnTo>
                      <a:lnTo>
                        <a:pt x="206" y="18"/>
                      </a:lnTo>
                      <a:lnTo>
                        <a:pt x="228" y="20"/>
                      </a:lnTo>
                      <a:lnTo>
                        <a:pt x="249" y="23"/>
                      </a:lnTo>
                      <a:lnTo>
                        <a:pt x="266" y="24"/>
                      </a:lnTo>
                      <a:lnTo>
                        <a:pt x="280" y="25"/>
                      </a:lnTo>
                      <a:lnTo>
                        <a:pt x="291" y="26"/>
                      </a:lnTo>
                      <a:lnTo>
                        <a:pt x="298" y="27"/>
                      </a:lnTo>
                      <a:lnTo>
                        <a:pt x="300" y="27"/>
                      </a:lnTo>
                      <a:lnTo>
                        <a:pt x="296" y="41"/>
                      </a:lnTo>
                      <a:lnTo>
                        <a:pt x="293" y="41"/>
                      </a:lnTo>
                      <a:lnTo>
                        <a:pt x="287" y="40"/>
                      </a:lnTo>
                      <a:lnTo>
                        <a:pt x="276" y="39"/>
                      </a:lnTo>
                      <a:lnTo>
                        <a:pt x="262" y="38"/>
                      </a:lnTo>
                      <a:lnTo>
                        <a:pt x="245" y="36"/>
                      </a:lnTo>
                      <a:lnTo>
                        <a:pt x="226" y="34"/>
                      </a:lnTo>
                      <a:lnTo>
                        <a:pt x="204" y="32"/>
                      </a:lnTo>
                      <a:lnTo>
                        <a:pt x="181" y="30"/>
                      </a:lnTo>
                      <a:lnTo>
                        <a:pt x="156" y="27"/>
                      </a:lnTo>
                      <a:lnTo>
                        <a:pt x="132" y="25"/>
                      </a:lnTo>
                      <a:lnTo>
                        <a:pt x="107" y="23"/>
                      </a:lnTo>
                      <a:lnTo>
                        <a:pt x="83" y="20"/>
                      </a:lnTo>
                      <a:lnTo>
                        <a:pt x="60" y="18"/>
                      </a:lnTo>
                      <a:lnTo>
                        <a:pt x="38" y="16"/>
                      </a:lnTo>
                      <a:lnTo>
                        <a:pt x="17" y="13"/>
                      </a:lnTo>
                      <a:lnTo>
                        <a:pt x="0" y="12"/>
                      </a:lnTo>
                      <a:lnTo>
                        <a:pt x="3" y="0"/>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96" name="Freeform 130">
                  <a:extLst>
                    <a:ext uri="{FF2B5EF4-FFF2-40B4-BE49-F238E27FC236}">
                      <a16:creationId xmlns:a16="http://schemas.microsoft.com/office/drawing/2014/main" id="{20DD7BE2-4A6E-45E6-8C73-A84674717B43}"/>
                    </a:ext>
                  </a:extLst>
                </p:cNvPr>
                <p:cNvSpPr>
                  <a:spLocks/>
                </p:cNvSpPr>
                <p:nvPr/>
              </p:nvSpPr>
              <p:spPr bwMode="auto">
                <a:xfrm>
                  <a:off x="7025327" y="994427"/>
                  <a:ext cx="92358" cy="6415"/>
                </a:xfrm>
                <a:custGeom>
                  <a:avLst/>
                  <a:gdLst>
                    <a:gd name="T0" fmla="*/ 2147483646 w 627"/>
                    <a:gd name="T1" fmla="*/ 2147483646 h 65"/>
                    <a:gd name="T2" fmla="*/ 2147483646 w 627"/>
                    <a:gd name="T3" fmla="*/ 2147483646 h 65"/>
                    <a:gd name="T4" fmla="*/ 2147483646 w 627"/>
                    <a:gd name="T5" fmla="*/ 2147483646 h 65"/>
                    <a:gd name="T6" fmla="*/ 2147483646 w 627"/>
                    <a:gd name="T7" fmla="*/ 2147483646 h 65"/>
                    <a:gd name="T8" fmla="*/ 2147483646 w 627"/>
                    <a:gd name="T9" fmla="*/ 2147483646 h 65"/>
                    <a:gd name="T10" fmla="*/ 2147483646 w 627"/>
                    <a:gd name="T11" fmla="*/ 2147483646 h 65"/>
                    <a:gd name="T12" fmla="*/ 2147483646 w 627"/>
                    <a:gd name="T13" fmla="*/ 2147483646 h 65"/>
                    <a:gd name="T14" fmla="*/ 2147483646 w 627"/>
                    <a:gd name="T15" fmla="*/ 2147483646 h 65"/>
                    <a:gd name="T16" fmla="*/ 2147483646 w 627"/>
                    <a:gd name="T17" fmla="*/ 2147483646 h 65"/>
                    <a:gd name="T18" fmla="*/ 2147483646 w 627"/>
                    <a:gd name="T19" fmla="*/ 2147483646 h 65"/>
                    <a:gd name="T20" fmla="*/ 2147483646 w 627"/>
                    <a:gd name="T21" fmla="*/ 2147483646 h 65"/>
                    <a:gd name="T22" fmla="*/ 2147483646 w 627"/>
                    <a:gd name="T23" fmla="*/ 2147483646 h 65"/>
                    <a:gd name="T24" fmla="*/ 2147483646 w 627"/>
                    <a:gd name="T25" fmla="*/ 2147483646 h 65"/>
                    <a:gd name="T26" fmla="*/ 2147483646 w 627"/>
                    <a:gd name="T27" fmla="*/ 2147483646 h 65"/>
                    <a:gd name="T28" fmla="*/ 2147483646 w 627"/>
                    <a:gd name="T29" fmla="*/ 2147483646 h 65"/>
                    <a:gd name="T30" fmla="*/ 2147483646 w 627"/>
                    <a:gd name="T31" fmla="*/ 2147483646 h 65"/>
                    <a:gd name="T32" fmla="*/ 2147483646 w 627"/>
                    <a:gd name="T33" fmla="*/ 2147483646 h 65"/>
                    <a:gd name="T34" fmla="*/ 2147483646 w 627"/>
                    <a:gd name="T35" fmla="*/ 2147483646 h 65"/>
                    <a:gd name="T36" fmla="*/ 2147483646 w 627"/>
                    <a:gd name="T37" fmla="*/ 0 h 65"/>
                    <a:gd name="T38" fmla="*/ 2147483646 w 627"/>
                    <a:gd name="T39" fmla="*/ 0 h 65"/>
                    <a:gd name="T40" fmla="*/ 2147483646 w 627"/>
                    <a:gd name="T41" fmla="*/ 0 h 65"/>
                    <a:gd name="T42" fmla="*/ 2147483646 w 627"/>
                    <a:gd name="T43" fmla="*/ 0 h 65"/>
                    <a:gd name="T44" fmla="*/ 2147483646 w 627"/>
                    <a:gd name="T45" fmla="*/ 0 h 65"/>
                    <a:gd name="T46" fmla="*/ 2147483646 w 627"/>
                    <a:gd name="T47" fmla="*/ 0 h 65"/>
                    <a:gd name="T48" fmla="*/ 2147483646 w 627"/>
                    <a:gd name="T49" fmla="*/ 0 h 65"/>
                    <a:gd name="T50" fmla="*/ 0 w 627"/>
                    <a:gd name="T51" fmla="*/ 2147483646 h 65"/>
                    <a:gd name="T52" fmla="*/ 2147483646 w 627"/>
                    <a:gd name="T53" fmla="*/ 2147483646 h 65"/>
                    <a:gd name="T54" fmla="*/ 2147483646 w 627"/>
                    <a:gd name="T55" fmla="*/ 2147483646 h 65"/>
                    <a:gd name="T56" fmla="*/ 2147483646 w 627"/>
                    <a:gd name="T57" fmla="*/ 2147483646 h 65"/>
                    <a:gd name="T58" fmla="*/ 2147483646 w 627"/>
                    <a:gd name="T59" fmla="*/ 2147483646 h 65"/>
                    <a:gd name="T60" fmla="*/ 2147483646 w 627"/>
                    <a:gd name="T61" fmla="*/ 2147483646 h 65"/>
                    <a:gd name="T62" fmla="*/ 2147483646 w 627"/>
                    <a:gd name="T63" fmla="*/ 2147483646 h 65"/>
                    <a:gd name="T64" fmla="*/ 2147483646 w 627"/>
                    <a:gd name="T65" fmla="*/ 2147483646 h 65"/>
                    <a:gd name="T66" fmla="*/ 2147483646 w 627"/>
                    <a:gd name="T67" fmla="*/ 2147483646 h 65"/>
                    <a:gd name="T68" fmla="*/ 2147483646 w 627"/>
                    <a:gd name="T69" fmla="*/ 2147483646 h 65"/>
                    <a:gd name="T70" fmla="*/ 2147483646 w 627"/>
                    <a:gd name="T71" fmla="*/ 2147483646 h 65"/>
                    <a:gd name="T72" fmla="*/ 2147483646 w 627"/>
                    <a:gd name="T73" fmla="*/ 2147483646 h 65"/>
                    <a:gd name="T74" fmla="*/ 2147483646 w 627"/>
                    <a:gd name="T75" fmla="*/ 2147483646 h 65"/>
                    <a:gd name="T76" fmla="*/ 2147483646 w 627"/>
                    <a:gd name="T77" fmla="*/ 2147483646 h 65"/>
                    <a:gd name="T78" fmla="*/ 2147483646 w 627"/>
                    <a:gd name="T79" fmla="*/ 2147483646 h 65"/>
                    <a:gd name="T80" fmla="*/ 2147483646 w 627"/>
                    <a:gd name="T81" fmla="*/ 2147483646 h 65"/>
                    <a:gd name="T82" fmla="*/ 2147483646 w 627"/>
                    <a:gd name="T83" fmla="*/ 2147483646 h 65"/>
                    <a:gd name="T84" fmla="*/ 2147483646 w 627"/>
                    <a:gd name="T85" fmla="*/ 2147483646 h 65"/>
                    <a:gd name="T86" fmla="*/ 2147483646 w 627"/>
                    <a:gd name="T87" fmla="*/ 2147483646 h 65"/>
                    <a:gd name="T88" fmla="*/ 2147483646 w 627"/>
                    <a:gd name="T89" fmla="*/ 2147483646 h 65"/>
                    <a:gd name="T90" fmla="*/ 2147483646 w 627"/>
                    <a:gd name="T91" fmla="*/ 2147483646 h 65"/>
                    <a:gd name="T92" fmla="*/ 2147483646 w 627"/>
                    <a:gd name="T93" fmla="*/ 2147483646 h 65"/>
                    <a:gd name="T94" fmla="*/ 2147483646 w 627"/>
                    <a:gd name="T95" fmla="*/ 2147483646 h 65"/>
                    <a:gd name="T96" fmla="*/ 2147483646 w 627"/>
                    <a:gd name="T97" fmla="*/ 2147483646 h 65"/>
                    <a:gd name="T98" fmla="*/ 2147483646 w 627"/>
                    <a:gd name="T99" fmla="*/ 2147483646 h 65"/>
                    <a:gd name="T100" fmla="*/ 2147483646 w 627"/>
                    <a:gd name="T101" fmla="*/ 2147483646 h 6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7"/>
                    <a:gd name="T154" fmla="*/ 0 h 65"/>
                    <a:gd name="T155" fmla="*/ 627 w 627"/>
                    <a:gd name="T156" fmla="*/ 65 h 6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7" h="65">
                      <a:moveTo>
                        <a:pt x="627" y="45"/>
                      </a:moveTo>
                      <a:lnTo>
                        <a:pt x="623" y="45"/>
                      </a:lnTo>
                      <a:lnTo>
                        <a:pt x="610" y="44"/>
                      </a:lnTo>
                      <a:lnTo>
                        <a:pt x="589" y="42"/>
                      </a:lnTo>
                      <a:lnTo>
                        <a:pt x="562" y="40"/>
                      </a:lnTo>
                      <a:lnTo>
                        <a:pt x="531" y="36"/>
                      </a:lnTo>
                      <a:lnTo>
                        <a:pt x="494" y="33"/>
                      </a:lnTo>
                      <a:lnTo>
                        <a:pt x="456" y="29"/>
                      </a:lnTo>
                      <a:lnTo>
                        <a:pt x="414" y="26"/>
                      </a:lnTo>
                      <a:lnTo>
                        <a:pt x="374" y="21"/>
                      </a:lnTo>
                      <a:lnTo>
                        <a:pt x="332" y="18"/>
                      </a:lnTo>
                      <a:lnTo>
                        <a:pt x="293" y="14"/>
                      </a:lnTo>
                      <a:lnTo>
                        <a:pt x="258" y="11"/>
                      </a:lnTo>
                      <a:lnTo>
                        <a:pt x="225" y="9"/>
                      </a:lnTo>
                      <a:lnTo>
                        <a:pt x="198" y="5"/>
                      </a:lnTo>
                      <a:lnTo>
                        <a:pt x="177" y="4"/>
                      </a:lnTo>
                      <a:lnTo>
                        <a:pt x="163" y="3"/>
                      </a:lnTo>
                      <a:lnTo>
                        <a:pt x="142" y="2"/>
                      </a:lnTo>
                      <a:lnTo>
                        <a:pt x="118" y="0"/>
                      </a:lnTo>
                      <a:lnTo>
                        <a:pt x="92" y="0"/>
                      </a:lnTo>
                      <a:lnTo>
                        <a:pt x="68" y="0"/>
                      </a:lnTo>
                      <a:lnTo>
                        <a:pt x="45" y="0"/>
                      </a:lnTo>
                      <a:lnTo>
                        <a:pt x="26" y="0"/>
                      </a:lnTo>
                      <a:lnTo>
                        <a:pt x="13" y="0"/>
                      </a:lnTo>
                      <a:lnTo>
                        <a:pt x="9" y="0"/>
                      </a:lnTo>
                      <a:lnTo>
                        <a:pt x="0" y="15"/>
                      </a:lnTo>
                      <a:lnTo>
                        <a:pt x="4" y="15"/>
                      </a:lnTo>
                      <a:lnTo>
                        <a:pt x="16" y="15"/>
                      </a:lnTo>
                      <a:lnTo>
                        <a:pt x="34" y="17"/>
                      </a:lnTo>
                      <a:lnTo>
                        <a:pt x="56" y="17"/>
                      </a:lnTo>
                      <a:lnTo>
                        <a:pt x="80" y="18"/>
                      </a:lnTo>
                      <a:lnTo>
                        <a:pt x="104" y="18"/>
                      </a:lnTo>
                      <a:lnTo>
                        <a:pt x="126" y="19"/>
                      </a:lnTo>
                      <a:lnTo>
                        <a:pt x="146" y="19"/>
                      </a:lnTo>
                      <a:lnTo>
                        <a:pt x="159" y="20"/>
                      </a:lnTo>
                      <a:lnTo>
                        <a:pt x="179" y="21"/>
                      </a:lnTo>
                      <a:lnTo>
                        <a:pt x="207" y="23"/>
                      </a:lnTo>
                      <a:lnTo>
                        <a:pt x="239" y="27"/>
                      </a:lnTo>
                      <a:lnTo>
                        <a:pt x="276" y="30"/>
                      </a:lnTo>
                      <a:lnTo>
                        <a:pt x="315" y="35"/>
                      </a:lnTo>
                      <a:lnTo>
                        <a:pt x="358" y="38"/>
                      </a:lnTo>
                      <a:lnTo>
                        <a:pt x="400" y="43"/>
                      </a:lnTo>
                      <a:lnTo>
                        <a:pt x="442" y="47"/>
                      </a:lnTo>
                      <a:lnTo>
                        <a:pt x="482" y="51"/>
                      </a:lnTo>
                      <a:lnTo>
                        <a:pt x="519" y="55"/>
                      </a:lnTo>
                      <a:lnTo>
                        <a:pt x="552" y="58"/>
                      </a:lnTo>
                      <a:lnTo>
                        <a:pt x="580" y="60"/>
                      </a:lnTo>
                      <a:lnTo>
                        <a:pt x="602" y="63"/>
                      </a:lnTo>
                      <a:lnTo>
                        <a:pt x="616" y="65"/>
                      </a:lnTo>
                      <a:lnTo>
                        <a:pt x="620" y="65"/>
                      </a:lnTo>
                      <a:lnTo>
                        <a:pt x="627"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97" name="Freeform 131">
                  <a:extLst>
                    <a:ext uri="{FF2B5EF4-FFF2-40B4-BE49-F238E27FC236}">
                      <a16:creationId xmlns:a16="http://schemas.microsoft.com/office/drawing/2014/main" id="{904534DD-6BE6-42B0-8D83-748153342AE9}"/>
                    </a:ext>
                  </a:extLst>
                </p:cNvPr>
                <p:cNvSpPr>
                  <a:spLocks/>
                </p:cNvSpPr>
                <p:nvPr/>
              </p:nvSpPr>
              <p:spPr bwMode="auto">
                <a:xfrm>
                  <a:off x="7017679" y="1015677"/>
                  <a:ext cx="92358" cy="6616"/>
                </a:xfrm>
                <a:custGeom>
                  <a:avLst/>
                  <a:gdLst>
                    <a:gd name="T0" fmla="*/ 2147483646 w 627"/>
                    <a:gd name="T1" fmla="*/ 2147483646 h 65"/>
                    <a:gd name="T2" fmla="*/ 2147483646 w 627"/>
                    <a:gd name="T3" fmla="*/ 2147483646 h 65"/>
                    <a:gd name="T4" fmla="*/ 2147483646 w 627"/>
                    <a:gd name="T5" fmla="*/ 2147483646 h 65"/>
                    <a:gd name="T6" fmla="*/ 2147483646 w 627"/>
                    <a:gd name="T7" fmla="*/ 2147483646 h 65"/>
                    <a:gd name="T8" fmla="*/ 2147483646 w 627"/>
                    <a:gd name="T9" fmla="*/ 2147483646 h 65"/>
                    <a:gd name="T10" fmla="*/ 2147483646 w 627"/>
                    <a:gd name="T11" fmla="*/ 2147483646 h 65"/>
                    <a:gd name="T12" fmla="*/ 2147483646 w 627"/>
                    <a:gd name="T13" fmla="*/ 2147483646 h 65"/>
                    <a:gd name="T14" fmla="*/ 2147483646 w 627"/>
                    <a:gd name="T15" fmla="*/ 2147483646 h 65"/>
                    <a:gd name="T16" fmla="*/ 2147483646 w 627"/>
                    <a:gd name="T17" fmla="*/ 2147483646 h 65"/>
                    <a:gd name="T18" fmla="*/ 2147483646 w 627"/>
                    <a:gd name="T19" fmla="*/ 2147483646 h 65"/>
                    <a:gd name="T20" fmla="*/ 2147483646 w 627"/>
                    <a:gd name="T21" fmla="*/ 2147483646 h 65"/>
                    <a:gd name="T22" fmla="*/ 2147483646 w 627"/>
                    <a:gd name="T23" fmla="*/ 2147483646 h 65"/>
                    <a:gd name="T24" fmla="*/ 2147483646 w 627"/>
                    <a:gd name="T25" fmla="*/ 2147483646 h 65"/>
                    <a:gd name="T26" fmla="*/ 2147483646 w 627"/>
                    <a:gd name="T27" fmla="*/ 2147483646 h 65"/>
                    <a:gd name="T28" fmla="*/ 2147483646 w 627"/>
                    <a:gd name="T29" fmla="*/ 2147483646 h 65"/>
                    <a:gd name="T30" fmla="*/ 2147483646 w 627"/>
                    <a:gd name="T31" fmla="*/ 2147483646 h 65"/>
                    <a:gd name="T32" fmla="*/ 2147483646 w 627"/>
                    <a:gd name="T33" fmla="*/ 2147483646 h 65"/>
                    <a:gd name="T34" fmla="*/ 2147483646 w 627"/>
                    <a:gd name="T35" fmla="*/ 2147483646 h 65"/>
                    <a:gd name="T36" fmla="*/ 2147483646 w 627"/>
                    <a:gd name="T37" fmla="*/ 2147483646 h 65"/>
                    <a:gd name="T38" fmla="*/ 2147483646 w 627"/>
                    <a:gd name="T39" fmla="*/ 0 h 65"/>
                    <a:gd name="T40" fmla="*/ 2147483646 w 627"/>
                    <a:gd name="T41" fmla="*/ 0 h 65"/>
                    <a:gd name="T42" fmla="*/ 2147483646 w 627"/>
                    <a:gd name="T43" fmla="*/ 2147483646 h 65"/>
                    <a:gd name="T44" fmla="*/ 2147483646 w 627"/>
                    <a:gd name="T45" fmla="*/ 2147483646 h 65"/>
                    <a:gd name="T46" fmla="*/ 2147483646 w 627"/>
                    <a:gd name="T47" fmla="*/ 2147483646 h 65"/>
                    <a:gd name="T48" fmla="*/ 2147483646 w 627"/>
                    <a:gd name="T49" fmla="*/ 2147483646 h 65"/>
                    <a:gd name="T50" fmla="*/ 0 w 627"/>
                    <a:gd name="T51" fmla="*/ 2147483646 h 65"/>
                    <a:gd name="T52" fmla="*/ 2147483646 w 627"/>
                    <a:gd name="T53" fmla="*/ 2147483646 h 65"/>
                    <a:gd name="T54" fmla="*/ 2147483646 w 627"/>
                    <a:gd name="T55" fmla="*/ 2147483646 h 65"/>
                    <a:gd name="T56" fmla="*/ 2147483646 w 627"/>
                    <a:gd name="T57" fmla="*/ 2147483646 h 65"/>
                    <a:gd name="T58" fmla="*/ 2147483646 w 627"/>
                    <a:gd name="T59" fmla="*/ 2147483646 h 65"/>
                    <a:gd name="T60" fmla="*/ 2147483646 w 627"/>
                    <a:gd name="T61" fmla="*/ 2147483646 h 65"/>
                    <a:gd name="T62" fmla="*/ 2147483646 w 627"/>
                    <a:gd name="T63" fmla="*/ 2147483646 h 65"/>
                    <a:gd name="T64" fmla="*/ 2147483646 w 627"/>
                    <a:gd name="T65" fmla="*/ 2147483646 h 65"/>
                    <a:gd name="T66" fmla="*/ 2147483646 w 627"/>
                    <a:gd name="T67" fmla="*/ 2147483646 h 65"/>
                    <a:gd name="T68" fmla="*/ 2147483646 w 627"/>
                    <a:gd name="T69" fmla="*/ 2147483646 h 65"/>
                    <a:gd name="T70" fmla="*/ 2147483646 w 627"/>
                    <a:gd name="T71" fmla="*/ 2147483646 h 65"/>
                    <a:gd name="T72" fmla="*/ 2147483646 w 627"/>
                    <a:gd name="T73" fmla="*/ 2147483646 h 65"/>
                    <a:gd name="T74" fmla="*/ 2147483646 w 627"/>
                    <a:gd name="T75" fmla="*/ 2147483646 h 65"/>
                    <a:gd name="T76" fmla="*/ 2147483646 w 627"/>
                    <a:gd name="T77" fmla="*/ 2147483646 h 65"/>
                    <a:gd name="T78" fmla="*/ 2147483646 w 627"/>
                    <a:gd name="T79" fmla="*/ 2147483646 h 65"/>
                    <a:gd name="T80" fmla="*/ 2147483646 w 627"/>
                    <a:gd name="T81" fmla="*/ 2147483646 h 65"/>
                    <a:gd name="T82" fmla="*/ 2147483646 w 627"/>
                    <a:gd name="T83" fmla="*/ 2147483646 h 65"/>
                    <a:gd name="T84" fmla="*/ 2147483646 w 627"/>
                    <a:gd name="T85" fmla="*/ 2147483646 h 65"/>
                    <a:gd name="T86" fmla="*/ 2147483646 w 627"/>
                    <a:gd name="T87" fmla="*/ 2147483646 h 65"/>
                    <a:gd name="T88" fmla="*/ 2147483646 w 627"/>
                    <a:gd name="T89" fmla="*/ 2147483646 h 65"/>
                    <a:gd name="T90" fmla="*/ 2147483646 w 627"/>
                    <a:gd name="T91" fmla="*/ 2147483646 h 65"/>
                    <a:gd name="T92" fmla="*/ 2147483646 w 627"/>
                    <a:gd name="T93" fmla="*/ 2147483646 h 65"/>
                    <a:gd name="T94" fmla="*/ 2147483646 w 627"/>
                    <a:gd name="T95" fmla="*/ 2147483646 h 65"/>
                    <a:gd name="T96" fmla="*/ 2147483646 w 627"/>
                    <a:gd name="T97" fmla="*/ 2147483646 h 65"/>
                    <a:gd name="T98" fmla="*/ 2147483646 w 627"/>
                    <a:gd name="T99" fmla="*/ 2147483646 h 65"/>
                    <a:gd name="T100" fmla="*/ 2147483646 w 627"/>
                    <a:gd name="T101" fmla="*/ 2147483646 h 6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7"/>
                    <a:gd name="T154" fmla="*/ 0 h 65"/>
                    <a:gd name="T155" fmla="*/ 627 w 627"/>
                    <a:gd name="T156" fmla="*/ 65 h 6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7" h="65">
                      <a:moveTo>
                        <a:pt x="627" y="44"/>
                      </a:moveTo>
                      <a:lnTo>
                        <a:pt x="623" y="44"/>
                      </a:lnTo>
                      <a:lnTo>
                        <a:pt x="610" y="43"/>
                      </a:lnTo>
                      <a:lnTo>
                        <a:pt x="589" y="41"/>
                      </a:lnTo>
                      <a:lnTo>
                        <a:pt x="562" y="39"/>
                      </a:lnTo>
                      <a:lnTo>
                        <a:pt x="531" y="35"/>
                      </a:lnTo>
                      <a:lnTo>
                        <a:pt x="494" y="32"/>
                      </a:lnTo>
                      <a:lnTo>
                        <a:pt x="456" y="28"/>
                      </a:lnTo>
                      <a:lnTo>
                        <a:pt x="414" y="25"/>
                      </a:lnTo>
                      <a:lnTo>
                        <a:pt x="374" y="21"/>
                      </a:lnTo>
                      <a:lnTo>
                        <a:pt x="333" y="17"/>
                      </a:lnTo>
                      <a:lnTo>
                        <a:pt x="293" y="13"/>
                      </a:lnTo>
                      <a:lnTo>
                        <a:pt x="258" y="10"/>
                      </a:lnTo>
                      <a:lnTo>
                        <a:pt x="225" y="8"/>
                      </a:lnTo>
                      <a:lnTo>
                        <a:pt x="198" y="5"/>
                      </a:lnTo>
                      <a:lnTo>
                        <a:pt x="177" y="3"/>
                      </a:lnTo>
                      <a:lnTo>
                        <a:pt x="163" y="2"/>
                      </a:lnTo>
                      <a:lnTo>
                        <a:pt x="143" y="1"/>
                      </a:lnTo>
                      <a:lnTo>
                        <a:pt x="118" y="1"/>
                      </a:lnTo>
                      <a:lnTo>
                        <a:pt x="92" y="0"/>
                      </a:lnTo>
                      <a:lnTo>
                        <a:pt x="68" y="0"/>
                      </a:lnTo>
                      <a:lnTo>
                        <a:pt x="45" y="1"/>
                      </a:lnTo>
                      <a:lnTo>
                        <a:pt x="26" y="1"/>
                      </a:lnTo>
                      <a:lnTo>
                        <a:pt x="14" y="1"/>
                      </a:lnTo>
                      <a:lnTo>
                        <a:pt x="9" y="1"/>
                      </a:lnTo>
                      <a:lnTo>
                        <a:pt x="0" y="16"/>
                      </a:lnTo>
                      <a:lnTo>
                        <a:pt x="4" y="16"/>
                      </a:lnTo>
                      <a:lnTo>
                        <a:pt x="16" y="16"/>
                      </a:lnTo>
                      <a:lnTo>
                        <a:pt x="34" y="16"/>
                      </a:lnTo>
                      <a:lnTo>
                        <a:pt x="56" y="17"/>
                      </a:lnTo>
                      <a:lnTo>
                        <a:pt x="80" y="17"/>
                      </a:lnTo>
                      <a:lnTo>
                        <a:pt x="105" y="18"/>
                      </a:lnTo>
                      <a:lnTo>
                        <a:pt x="126" y="18"/>
                      </a:lnTo>
                      <a:lnTo>
                        <a:pt x="146" y="19"/>
                      </a:lnTo>
                      <a:lnTo>
                        <a:pt x="159" y="20"/>
                      </a:lnTo>
                      <a:lnTo>
                        <a:pt x="179" y="21"/>
                      </a:lnTo>
                      <a:lnTo>
                        <a:pt x="207" y="24"/>
                      </a:lnTo>
                      <a:lnTo>
                        <a:pt x="239" y="27"/>
                      </a:lnTo>
                      <a:lnTo>
                        <a:pt x="276" y="31"/>
                      </a:lnTo>
                      <a:lnTo>
                        <a:pt x="315" y="34"/>
                      </a:lnTo>
                      <a:lnTo>
                        <a:pt x="358" y="39"/>
                      </a:lnTo>
                      <a:lnTo>
                        <a:pt x="401" y="42"/>
                      </a:lnTo>
                      <a:lnTo>
                        <a:pt x="442" y="47"/>
                      </a:lnTo>
                      <a:lnTo>
                        <a:pt x="482" y="51"/>
                      </a:lnTo>
                      <a:lnTo>
                        <a:pt x="519" y="55"/>
                      </a:lnTo>
                      <a:lnTo>
                        <a:pt x="553" y="58"/>
                      </a:lnTo>
                      <a:lnTo>
                        <a:pt x="580" y="61"/>
                      </a:lnTo>
                      <a:lnTo>
                        <a:pt x="602" y="63"/>
                      </a:lnTo>
                      <a:lnTo>
                        <a:pt x="616" y="65"/>
                      </a:lnTo>
                      <a:lnTo>
                        <a:pt x="621" y="65"/>
                      </a:lnTo>
                      <a:lnTo>
                        <a:pt x="627"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98" name="Freeform 132">
                  <a:extLst>
                    <a:ext uri="{FF2B5EF4-FFF2-40B4-BE49-F238E27FC236}">
                      <a16:creationId xmlns:a16="http://schemas.microsoft.com/office/drawing/2014/main" id="{3BD36D0D-897C-4636-BCFB-5822FDF436D8}"/>
                    </a:ext>
                  </a:extLst>
                </p:cNvPr>
                <p:cNvSpPr>
                  <a:spLocks/>
                </p:cNvSpPr>
                <p:nvPr/>
              </p:nvSpPr>
              <p:spPr bwMode="auto">
                <a:xfrm>
                  <a:off x="7012973" y="1029510"/>
                  <a:ext cx="92358" cy="6616"/>
                </a:xfrm>
                <a:custGeom>
                  <a:avLst/>
                  <a:gdLst>
                    <a:gd name="T0" fmla="*/ 2147483646 w 627"/>
                    <a:gd name="T1" fmla="*/ 2147483646 h 65"/>
                    <a:gd name="T2" fmla="*/ 2147483646 w 627"/>
                    <a:gd name="T3" fmla="*/ 2147483646 h 65"/>
                    <a:gd name="T4" fmla="*/ 2147483646 w 627"/>
                    <a:gd name="T5" fmla="*/ 2147483646 h 65"/>
                    <a:gd name="T6" fmla="*/ 2147483646 w 627"/>
                    <a:gd name="T7" fmla="*/ 2147483646 h 65"/>
                    <a:gd name="T8" fmla="*/ 2147483646 w 627"/>
                    <a:gd name="T9" fmla="*/ 2147483646 h 65"/>
                    <a:gd name="T10" fmla="*/ 2147483646 w 627"/>
                    <a:gd name="T11" fmla="*/ 2147483646 h 65"/>
                    <a:gd name="T12" fmla="*/ 2147483646 w 627"/>
                    <a:gd name="T13" fmla="*/ 2147483646 h 65"/>
                    <a:gd name="T14" fmla="*/ 2147483646 w 627"/>
                    <a:gd name="T15" fmla="*/ 2147483646 h 65"/>
                    <a:gd name="T16" fmla="*/ 2147483646 w 627"/>
                    <a:gd name="T17" fmla="*/ 2147483646 h 65"/>
                    <a:gd name="T18" fmla="*/ 2147483646 w 627"/>
                    <a:gd name="T19" fmla="*/ 2147483646 h 65"/>
                    <a:gd name="T20" fmla="*/ 2147483646 w 627"/>
                    <a:gd name="T21" fmla="*/ 2147483646 h 65"/>
                    <a:gd name="T22" fmla="*/ 2147483646 w 627"/>
                    <a:gd name="T23" fmla="*/ 2147483646 h 65"/>
                    <a:gd name="T24" fmla="*/ 2147483646 w 627"/>
                    <a:gd name="T25" fmla="*/ 2147483646 h 65"/>
                    <a:gd name="T26" fmla="*/ 2147483646 w 627"/>
                    <a:gd name="T27" fmla="*/ 2147483646 h 65"/>
                    <a:gd name="T28" fmla="*/ 2147483646 w 627"/>
                    <a:gd name="T29" fmla="*/ 2147483646 h 65"/>
                    <a:gd name="T30" fmla="*/ 2147483646 w 627"/>
                    <a:gd name="T31" fmla="*/ 2147483646 h 65"/>
                    <a:gd name="T32" fmla="*/ 2147483646 w 627"/>
                    <a:gd name="T33" fmla="*/ 2147483646 h 65"/>
                    <a:gd name="T34" fmla="*/ 2147483646 w 627"/>
                    <a:gd name="T35" fmla="*/ 2147483646 h 65"/>
                    <a:gd name="T36" fmla="*/ 2147483646 w 627"/>
                    <a:gd name="T37" fmla="*/ 2147483646 h 65"/>
                    <a:gd name="T38" fmla="*/ 2147483646 w 627"/>
                    <a:gd name="T39" fmla="*/ 0 h 65"/>
                    <a:gd name="T40" fmla="*/ 2147483646 w 627"/>
                    <a:gd name="T41" fmla="*/ 0 h 65"/>
                    <a:gd name="T42" fmla="*/ 2147483646 w 627"/>
                    <a:gd name="T43" fmla="*/ 2147483646 h 65"/>
                    <a:gd name="T44" fmla="*/ 2147483646 w 627"/>
                    <a:gd name="T45" fmla="*/ 2147483646 h 65"/>
                    <a:gd name="T46" fmla="*/ 2147483646 w 627"/>
                    <a:gd name="T47" fmla="*/ 2147483646 h 65"/>
                    <a:gd name="T48" fmla="*/ 2147483646 w 627"/>
                    <a:gd name="T49" fmla="*/ 2147483646 h 65"/>
                    <a:gd name="T50" fmla="*/ 0 w 627"/>
                    <a:gd name="T51" fmla="*/ 2147483646 h 65"/>
                    <a:gd name="T52" fmla="*/ 2147483646 w 627"/>
                    <a:gd name="T53" fmla="*/ 2147483646 h 65"/>
                    <a:gd name="T54" fmla="*/ 2147483646 w 627"/>
                    <a:gd name="T55" fmla="*/ 2147483646 h 65"/>
                    <a:gd name="T56" fmla="*/ 2147483646 w 627"/>
                    <a:gd name="T57" fmla="*/ 2147483646 h 65"/>
                    <a:gd name="T58" fmla="*/ 2147483646 w 627"/>
                    <a:gd name="T59" fmla="*/ 2147483646 h 65"/>
                    <a:gd name="T60" fmla="*/ 2147483646 w 627"/>
                    <a:gd name="T61" fmla="*/ 2147483646 h 65"/>
                    <a:gd name="T62" fmla="*/ 2147483646 w 627"/>
                    <a:gd name="T63" fmla="*/ 2147483646 h 65"/>
                    <a:gd name="T64" fmla="*/ 2147483646 w 627"/>
                    <a:gd name="T65" fmla="*/ 2147483646 h 65"/>
                    <a:gd name="T66" fmla="*/ 2147483646 w 627"/>
                    <a:gd name="T67" fmla="*/ 2147483646 h 65"/>
                    <a:gd name="T68" fmla="*/ 2147483646 w 627"/>
                    <a:gd name="T69" fmla="*/ 2147483646 h 65"/>
                    <a:gd name="T70" fmla="*/ 2147483646 w 627"/>
                    <a:gd name="T71" fmla="*/ 2147483646 h 65"/>
                    <a:gd name="T72" fmla="*/ 2147483646 w 627"/>
                    <a:gd name="T73" fmla="*/ 2147483646 h 65"/>
                    <a:gd name="T74" fmla="*/ 2147483646 w 627"/>
                    <a:gd name="T75" fmla="*/ 2147483646 h 65"/>
                    <a:gd name="T76" fmla="*/ 2147483646 w 627"/>
                    <a:gd name="T77" fmla="*/ 2147483646 h 65"/>
                    <a:gd name="T78" fmla="*/ 2147483646 w 627"/>
                    <a:gd name="T79" fmla="*/ 2147483646 h 65"/>
                    <a:gd name="T80" fmla="*/ 2147483646 w 627"/>
                    <a:gd name="T81" fmla="*/ 2147483646 h 65"/>
                    <a:gd name="T82" fmla="*/ 2147483646 w 627"/>
                    <a:gd name="T83" fmla="*/ 2147483646 h 65"/>
                    <a:gd name="T84" fmla="*/ 2147483646 w 627"/>
                    <a:gd name="T85" fmla="*/ 2147483646 h 65"/>
                    <a:gd name="T86" fmla="*/ 2147483646 w 627"/>
                    <a:gd name="T87" fmla="*/ 2147483646 h 65"/>
                    <a:gd name="T88" fmla="*/ 2147483646 w 627"/>
                    <a:gd name="T89" fmla="*/ 2147483646 h 65"/>
                    <a:gd name="T90" fmla="*/ 2147483646 w 627"/>
                    <a:gd name="T91" fmla="*/ 2147483646 h 65"/>
                    <a:gd name="T92" fmla="*/ 2147483646 w 627"/>
                    <a:gd name="T93" fmla="*/ 2147483646 h 65"/>
                    <a:gd name="T94" fmla="*/ 2147483646 w 627"/>
                    <a:gd name="T95" fmla="*/ 2147483646 h 65"/>
                    <a:gd name="T96" fmla="*/ 2147483646 w 627"/>
                    <a:gd name="T97" fmla="*/ 2147483646 h 65"/>
                    <a:gd name="T98" fmla="*/ 2147483646 w 627"/>
                    <a:gd name="T99" fmla="*/ 2147483646 h 65"/>
                    <a:gd name="T100" fmla="*/ 2147483646 w 627"/>
                    <a:gd name="T101" fmla="*/ 2147483646 h 6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7"/>
                    <a:gd name="T154" fmla="*/ 0 h 65"/>
                    <a:gd name="T155" fmla="*/ 627 w 627"/>
                    <a:gd name="T156" fmla="*/ 65 h 6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7" h="65">
                      <a:moveTo>
                        <a:pt x="627" y="45"/>
                      </a:moveTo>
                      <a:lnTo>
                        <a:pt x="623" y="45"/>
                      </a:lnTo>
                      <a:lnTo>
                        <a:pt x="610" y="43"/>
                      </a:lnTo>
                      <a:lnTo>
                        <a:pt x="589" y="41"/>
                      </a:lnTo>
                      <a:lnTo>
                        <a:pt x="562" y="39"/>
                      </a:lnTo>
                      <a:lnTo>
                        <a:pt x="530" y="35"/>
                      </a:lnTo>
                      <a:lnTo>
                        <a:pt x="494" y="32"/>
                      </a:lnTo>
                      <a:lnTo>
                        <a:pt x="456" y="28"/>
                      </a:lnTo>
                      <a:lnTo>
                        <a:pt x="414" y="25"/>
                      </a:lnTo>
                      <a:lnTo>
                        <a:pt x="374" y="22"/>
                      </a:lnTo>
                      <a:lnTo>
                        <a:pt x="332" y="17"/>
                      </a:lnTo>
                      <a:lnTo>
                        <a:pt x="293" y="13"/>
                      </a:lnTo>
                      <a:lnTo>
                        <a:pt x="257" y="10"/>
                      </a:lnTo>
                      <a:lnTo>
                        <a:pt x="225" y="8"/>
                      </a:lnTo>
                      <a:lnTo>
                        <a:pt x="198" y="5"/>
                      </a:lnTo>
                      <a:lnTo>
                        <a:pt x="177" y="3"/>
                      </a:lnTo>
                      <a:lnTo>
                        <a:pt x="163" y="2"/>
                      </a:lnTo>
                      <a:lnTo>
                        <a:pt x="141" y="1"/>
                      </a:lnTo>
                      <a:lnTo>
                        <a:pt x="117" y="1"/>
                      </a:lnTo>
                      <a:lnTo>
                        <a:pt x="92" y="0"/>
                      </a:lnTo>
                      <a:lnTo>
                        <a:pt x="66" y="0"/>
                      </a:lnTo>
                      <a:lnTo>
                        <a:pt x="44" y="1"/>
                      </a:lnTo>
                      <a:lnTo>
                        <a:pt x="26" y="1"/>
                      </a:lnTo>
                      <a:lnTo>
                        <a:pt x="13" y="1"/>
                      </a:lnTo>
                      <a:lnTo>
                        <a:pt x="9" y="1"/>
                      </a:lnTo>
                      <a:lnTo>
                        <a:pt x="0" y="16"/>
                      </a:lnTo>
                      <a:lnTo>
                        <a:pt x="4" y="16"/>
                      </a:lnTo>
                      <a:lnTo>
                        <a:pt x="16" y="16"/>
                      </a:lnTo>
                      <a:lnTo>
                        <a:pt x="34" y="16"/>
                      </a:lnTo>
                      <a:lnTo>
                        <a:pt x="56" y="17"/>
                      </a:lnTo>
                      <a:lnTo>
                        <a:pt x="80" y="17"/>
                      </a:lnTo>
                      <a:lnTo>
                        <a:pt x="104" y="18"/>
                      </a:lnTo>
                      <a:lnTo>
                        <a:pt x="126" y="18"/>
                      </a:lnTo>
                      <a:lnTo>
                        <a:pt x="146" y="19"/>
                      </a:lnTo>
                      <a:lnTo>
                        <a:pt x="158" y="20"/>
                      </a:lnTo>
                      <a:lnTo>
                        <a:pt x="179" y="22"/>
                      </a:lnTo>
                      <a:lnTo>
                        <a:pt x="206" y="24"/>
                      </a:lnTo>
                      <a:lnTo>
                        <a:pt x="238" y="27"/>
                      </a:lnTo>
                      <a:lnTo>
                        <a:pt x="275" y="31"/>
                      </a:lnTo>
                      <a:lnTo>
                        <a:pt x="315" y="34"/>
                      </a:lnTo>
                      <a:lnTo>
                        <a:pt x="357" y="39"/>
                      </a:lnTo>
                      <a:lnTo>
                        <a:pt x="399" y="42"/>
                      </a:lnTo>
                      <a:lnTo>
                        <a:pt x="442" y="47"/>
                      </a:lnTo>
                      <a:lnTo>
                        <a:pt x="482" y="51"/>
                      </a:lnTo>
                      <a:lnTo>
                        <a:pt x="519" y="55"/>
                      </a:lnTo>
                      <a:lnTo>
                        <a:pt x="552" y="58"/>
                      </a:lnTo>
                      <a:lnTo>
                        <a:pt x="580" y="61"/>
                      </a:lnTo>
                      <a:lnTo>
                        <a:pt x="602" y="63"/>
                      </a:lnTo>
                      <a:lnTo>
                        <a:pt x="616" y="65"/>
                      </a:lnTo>
                      <a:lnTo>
                        <a:pt x="620" y="65"/>
                      </a:lnTo>
                      <a:lnTo>
                        <a:pt x="627"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99" name="Freeform 133">
                  <a:extLst>
                    <a:ext uri="{FF2B5EF4-FFF2-40B4-BE49-F238E27FC236}">
                      <a16:creationId xmlns:a16="http://schemas.microsoft.com/office/drawing/2014/main" id="{DA87FE40-1AB9-46A5-BF53-81C0863815A1}"/>
                    </a:ext>
                  </a:extLst>
                </p:cNvPr>
                <p:cNvSpPr>
                  <a:spLocks/>
                </p:cNvSpPr>
                <p:nvPr/>
              </p:nvSpPr>
              <p:spPr bwMode="auto">
                <a:xfrm>
                  <a:off x="7009149" y="1035525"/>
                  <a:ext cx="92064" cy="6616"/>
                </a:xfrm>
                <a:custGeom>
                  <a:avLst/>
                  <a:gdLst>
                    <a:gd name="T0" fmla="*/ 2147483646 w 627"/>
                    <a:gd name="T1" fmla="*/ 2147483646 h 65"/>
                    <a:gd name="T2" fmla="*/ 2147483646 w 627"/>
                    <a:gd name="T3" fmla="*/ 2147483646 h 65"/>
                    <a:gd name="T4" fmla="*/ 2147483646 w 627"/>
                    <a:gd name="T5" fmla="*/ 2147483646 h 65"/>
                    <a:gd name="T6" fmla="*/ 2147483646 w 627"/>
                    <a:gd name="T7" fmla="*/ 2147483646 h 65"/>
                    <a:gd name="T8" fmla="*/ 2147483646 w 627"/>
                    <a:gd name="T9" fmla="*/ 2147483646 h 65"/>
                    <a:gd name="T10" fmla="*/ 2147483646 w 627"/>
                    <a:gd name="T11" fmla="*/ 2147483646 h 65"/>
                    <a:gd name="T12" fmla="*/ 2147483646 w 627"/>
                    <a:gd name="T13" fmla="*/ 2147483646 h 65"/>
                    <a:gd name="T14" fmla="*/ 2147483646 w 627"/>
                    <a:gd name="T15" fmla="*/ 2147483646 h 65"/>
                    <a:gd name="T16" fmla="*/ 2147483646 w 627"/>
                    <a:gd name="T17" fmla="*/ 2147483646 h 65"/>
                    <a:gd name="T18" fmla="*/ 2147483646 w 627"/>
                    <a:gd name="T19" fmla="*/ 2147483646 h 65"/>
                    <a:gd name="T20" fmla="*/ 2147483646 w 627"/>
                    <a:gd name="T21" fmla="*/ 2147483646 h 65"/>
                    <a:gd name="T22" fmla="*/ 2147483646 w 627"/>
                    <a:gd name="T23" fmla="*/ 2147483646 h 65"/>
                    <a:gd name="T24" fmla="*/ 2147483646 w 627"/>
                    <a:gd name="T25" fmla="*/ 2147483646 h 65"/>
                    <a:gd name="T26" fmla="*/ 2147483646 w 627"/>
                    <a:gd name="T27" fmla="*/ 2147483646 h 65"/>
                    <a:gd name="T28" fmla="*/ 2147483646 w 627"/>
                    <a:gd name="T29" fmla="*/ 2147483646 h 65"/>
                    <a:gd name="T30" fmla="*/ 2147483646 w 627"/>
                    <a:gd name="T31" fmla="*/ 2147483646 h 65"/>
                    <a:gd name="T32" fmla="*/ 2147483646 w 627"/>
                    <a:gd name="T33" fmla="*/ 2147483646 h 65"/>
                    <a:gd name="T34" fmla="*/ 2147483646 w 627"/>
                    <a:gd name="T35" fmla="*/ 2147483646 h 65"/>
                    <a:gd name="T36" fmla="*/ 2147483646 w 627"/>
                    <a:gd name="T37" fmla="*/ 2147483646 h 65"/>
                    <a:gd name="T38" fmla="*/ 2147483646 w 627"/>
                    <a:gd name="T39" fmla="*/ 0 h 65"/>
                    <a:gd name="T40" fmla="*/ 2147483646 w 627"/>
                    <a:gd name="T41" fmla="*/ 0 h 65"/>
                    <a:gd name="T42" fmla="*/ 2147483646 w 627"/>
                    <a:gd name="T43" fmla="*/ 2147483646 h 65"/>
                    <a:gd name="T44" fmla="*/ 2147483646 w 627"/>
                    <a:gd name="T45" fmla="*/ 2147483646 h 65"/>
                    <a:gd name="T46" fmla="*/ 2147483646 w 627"/>
                    <a:gd name="T47" fmla="*/ 2147483646 h 65"/>
                    <a:gd name="T48" fmla="*/ 2147483646 w 627"/>
                    <a:gd name="T49" fmla="*/ 2147483646 h 65"/>
                    <a:gd name="T50" fmla="*/ 0 w 627"/>
                    <a:gd name="T51" fmla="*/ 2147483646 h 65"/>
                    <a:gd name="T52" fmla="*/ 2147483646 w 627"/>
                    <a:gd name="T53" fmla="*/ 2147483646 h 65"/>
                    <a:gd name="T54" fmla="*/ 2147483646 w 627"/>
                    <a:gd name="T55" fmla="*/ 2147483646 h 65"/>
                    <a:gd name="T56" fmla="*/ 2147483646 w 627"/>
                    <a:gd name="T57" fmla="*/ 2147483646 h 65"/>
                    <a:gd name="T58" fmla="*/ 2147483646 w 627"/>
                    <a:gd name="T59" fmla="*/ 2147483646 h 65"/>
                    <a:gd name="T60" fmla="*/ 2147483646 w 627"/>
                    <a:gd name="T61" fmla="*/ 2147483646 h 65"/>
                    <a:gd name="T62" fmla="*/ 2147483646 w 627"/>
                    <a:gd name="T63" fmla="*/ 2147483646 h 65"/>
                    <a:gd name="T64" fmla="*/ 2147483646 w 627"/>
                    <a:gd name="T65" fmla="*/ 2147483646 h 65"/>
                    <a:gd name="T66" fmla="*/ 2147483646 w 627"/>
                    <a:gd name="T67" fmla="*/ 2147483646 h 65"/>
                    <a:gd name="T68" fmla="*/ 2147483646 w 627"/>
                    <a:gd name="T69" fmla="*/ 2147483646 h 65"/>
                    <a:gd name="T70" fmla="*/ 2147483646 w 627"/>
                    <a:gd name="T71" fmla="*/ 2147483646 h 65"/>
                    <a:gd name="T72" fmla="*/ 2147483646 w 627"/>
                    <a:gd name="T73" fmla="*/ 2147483646 h 65"/>
                    <a:gd name="T74" fmla="*/ 2147483646 w 627"/>
                    <a:gd name="T75" fmla="*/ 2147483646 h 65"/>
                    <a:gd name="T76" fmla="*/ 2147483646 w 627"/>
                    <a:gd name="T77" fmla="*/ 2147483646 h 65"/>
                    <a:gd name="T78" fmla="*/ 2147483646 w 627"/>
                    <a:gd name="T79" fmla="*/ 2147483646 h 65"/>
                    <a:gd name="T80" fmla="*/ 2147483646 w 627"/>
                    <a:gd name="T81" fmla="*/ 2147483646 h 65"/>
                    <a:gd name="T82" fmla="*/ 2147483646 w 627"/>
                    <a:gd name="T83" fmla="*/ 2147483646 h 65"/>
                    <a:gd name="T84" fmla="*/ 2147483646 w 627"/>
                    <a:gd name="T85" fmla="*/ 2147483646 h 65"/>
                    <a:gd name="T86" fmla="*/ 2147483646 w 627"/>
                    <a:gd name="T87" fmla="*/ 2147483646 h 65"/>
                    <a:gd name="T88" fmla="*/ 2147483646 w 627"/>
                    <a:gd name="T89" fmla="*/ 2147483646 h 65"/>
                    <a:gd name="T90" fmla="*/ 2147483646 w 627"/>
                    <a:gd name="T91" fmla="*/ 2147483646 h 65"/>
                    <a:gd name="T92" fmla="*/ 2147483646 w 627"/>
                    <a:gd name="T93" fmla="*/ 2147483646 h 65"/>
                    <a:gd name="T94" fmla="*/ 2147483646 w 627"/>
                    <a:gd name="T95" fmla="*/ 2147483646 h 65"/>
                    <a:gd name="T96" fmla="*/ 2147483646 w 627"/>
                    <a:gd name="T97" fmla="*/ 2147483646 h 65"/>
                    <a:gd name="T98" fmla="*/ 2147483646 w 627"/>
                    <a:gd name="T99" fmla="*/ 2147483646 h 65"/>
                    <a:gd name="T100" fmla="*/ 2147483646 w 627"/>
                    <a:gd name="T101" fmla="*/ 2147483646 h 6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7"/>
                    <a:gd name="T154" fmla="*/ 0 h 65"/>
                    <a:gd name="T155" fmla="*/ 627 w 627"/>
                    <a:gd name="T156" fmla="*/ 65 h 6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7" h="65">
                      <a:moveTo>
                        <a:pt x="627" y="44"/>
                      </a:moveTo>
                      <a:lnTo>
                        <a:pt x="622" y="44"/>
                      </a:lnTo>
                      <a:lnTo>
                        <a:pt x="609" y="43"/>
                      </a:lnTo>
                      <a:lnTo>
                        <a:pt x="589" y="41"/>
                      </a:lnTo>
                      <a:lnTo>
                        <a:pt x="562" y="39"/>
                      </a:lnTo>
                      <a:lnTo>
                        <a:pt x="530" y="35"/>
                      </a:lnTo>
                      <a:lnTo>
                        <a:pt x="494" y="32"/>
                      </a:lnTo>
                      <a:lnTo>
                        <a:pt x="455" y="28"/>
                      </a:lnTo>
                      <a:lnTo>
                        <a:pt x="415" y="25"/>
                      </a:lnTo>
                      <a:lnTo>
                        <a:pt x="373" y="21"/>
                      </a:lnTo>
                      <a:lnTo>
                        <a:pt x="333" y="17"/>
                      </a:lnTo>
                      <a:lnTo>
                        <a:pt x="294" y="13"/>
                      </a:lnTo>
                      <a:lnTo>
                        <a:pt x="258" y="10"/>
                      </a:lnTo>
                      <a:lnTo>
                        <a:pt x="226" y="8"/>
                      </a:lnTo>
                      <a:lnTo>
                        <a:pt x="198" y="5"/>
                      </a:lnTo>
                      <a:lnTo>
                        <a:pt x="177" y="3"/>
                      </a:lnTo>
                      <a:lnTo>
                        <a:pt x="164" y="2"/>
                      </a:lnTo>
                      <a:lnTo>
                        <a:pt x="142" y="1"/>
                      </a:lnTo>
                      <a:lnTo>
                        <a:pt x="118" y="1"/>
                      </a:lnTo>
                      <a:lnTo>
                        <a:pt x="92" y="0"/>
                      </a:lnTo>
                      <a:lnTo>
                        <a:pt x="67" y="0"/>
                      </a:lnTo>
                      <a:lnTo>
                        <a:pt x="45" y="1"/>
                      </a:lnTo>
                      <a:lnTo>
                        <a:pt x="27" y="1"/>
                      </a:lnTo>
                      <a:lnTo>
                        <a:pt x="14" y="1"/>
                      </a:lnTo>
                      <a:lnTo>
                        <a:pt x="9" y="1"/>
                      </a:lnTo>
                      <a:lnTo>
                        <a:pt x="0" y="16"/>
                      </a:lnTo>
                      <a:lnTo>
                        <a:pt x="5" y="16"/>
                      </a:lnTo>
                      <a:lnTo>
                        <a:pt x="16" y="16"/>
                      </a:lnTo>
                      <a:lnTo>
                        <a:pt x="35" y="16"/>
                      </a:lnTo>
                      <a:lnTo>
                        <a:pt x="55" y="17"/>
                      </a:lnTo>
                      <a:lnTo>
                        <a:pt x="80" y="17"/>
                      </a:lnTo>
                      <a:lnTo>
                        <a:pt x="104" y="18"/>
                      </a:lnTo>
                      <a:lnTo>
                        <a:pt x="126" y="18"/>
                      </a:lnTo>
                      <a:lnTo>
                        <a:pt x="145" y="19"/>
                      </a:lnTo>
                      <a:lnTo>
                        <a:pt x="158" y="20"/>
                      </a:lnTo>
                      <a:lnTo>
                        <a:pt x="179" y="21"/>
                      </a:lnTo>
                      <a:lnTo>
                        <a:pt x="206" y="24"/>
                      </a:lnTo>
                      <a:lnTo>
                        <a:pt x="238" y="27"/>
                      </a:lnTo>
                      <a:lnTo>
                        <a:pt x="275" y="31"/>
                      </a:lnTo>
                      <a:lnTo>
                        <a:pt x="316" y="34"/>
                      </a:lnTo>
                      <a:lnTo>
                        <a:pt x="357" y="39"/>
                      </a:lnTo>
                      <a:lnTo>
                        <a:pt x="400" y="42"/>
                      </a:lnTo>
                      <a:lnTo>
                        <a:pt x="442" y="47"/>
                      </a:lnTo>
                      <a:lnTo>
                        <a:pt x="483" y="51"/>
                      </a:lnTo>
                      <a:lnTo>
                        <a:pt x="519" y="55"/>
                      </a:lnTo>
                      <a:lnTo>
                        <a:pt x="553" y="58"/>
                      </a:lnTo>
                      <a:lnTo>
                        <a:pt x="580" y="61"/>
                      </a:lnTo>
                      <a:lnTo>
                        <a:pt x="602" y="63"/>
                      </a:lnTo>
                      <a:lnTo>
                        <a:pt x="616" y="65"/>
                      </a:lnTo>
                      <a:lnTo>
                        <a:pt x="621" y="65"/>
                      </a:lnTo>
                      <a:lnTo>
                        <a:pt x="627"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00" name="Freeform 134">
                  <a:extLst>
                    <a:ext uri="{FF2B5EF4-FFF2-40B4-BE49-F238E27FC236}">
                      <a16:creationId xmlns:a16="http://schemas.microsoft.com/office/drawing/2014/main" id="{7E520C8A-BD25-4BDD-8C8E-AF4878DE9C9A}"/>
                    </a:ext>
                  </a:extLst>
                </p:cNvPr>
                <p:cNvSpPr>
                  <a:spLocks/>
                </p:cNvSpPr>
                <p:nvPr/>
              </p:nvSpPr>
              <p:spPr bwMode="auto">
                <a:xfrm>
                  <a:off x="7005914" y="1044546"/>
                  <a:ext cx="92064" cy="6415"/>
                </a:xfrm>
                <a:custGeom>
                  <a:avLst/>
                  <a:gdLst>
                    <a:gd name="T0" fmla="*/ 2147483646 w 627"/>
                    <a:gd name="T1" fmla="*/ 2147483646 h 65"/>
                    <a:gd name="T2" fmla="*/ 2147483646 w 627"/>
                    <a:gd name="T3" fmla="*/ 2147483646 h 65"/>
                    <a:gd name="T4" fmla="*/ 2147483646 w 627"/>
                    <a:gd name="T5" fmla="*/ 2147483646 h 65"/>
                    <a:gd name="T6" fmla="*/ 2147483646 w 627"/>
                    <a:gd name="T7" fmla="*/ 2147483646 h 65"/>
                    <a:gd name="T8" fmla="*/ 2147483646 w 627"/>
                    <a:gd name="T9" fmla="*/ 2147483646 h 65"/>
                    <a:gd name="T10" fmla="*/ 2147483646 w 627"/>
                    <a:gd name="T11" fmla="*/ 2147483646 h 65"/>
                    <a:gd name="T12" fmla="*/ 2147483646 w 627"/>
                    <a:gd name="T13" fmla="*/ 2147483646 h 65"/>
                    <a:gd name="T14" fmla="*/ 2147483646 w 627"/>
                    <a:gd name="T15" fmla="*/ 2147483646 h 65"/>
                    <a:gd name="T16" fmla="*/ 2147483646 w 627"/>
                    <a:gd name="T17" fmla="*/ 2147483646 h 65"/>
                    <a:gd name="T18" fmla="*/ 2147483646 w 627"/>
                    <a:gd name="T19" fmla="*/ 2147483646 h 65"/>
                    <a:gd name="T20" fmla="*/ 2147483646 w 627"/>
                    <a:gd name="T21" fmla="*/ 2147483646 h 65"/>
                    <a:gd name="T22" fmla="*/ 2147483646 w 627"/>
                    <a:gd name="T23" fmla="*/ 2147483646 h 65"/>
                    <a:gd name="T24" fmla="*/ 2147483646 w 627"/>
                    <a:gd name="T25" fmla="*/ 2147483646 h 65"/>
                    <a:gd name="T26" fmla="*/ 2147483646 w 627"/>
                    <a:gd name="T27" fmla="*/ 2147483646 h 65"/>
                    <a:gd name="T28" fmla="*/ 2147483646 w 627"/>
                    <a:gd name="T29" fmla="*/ 2147483646 h 65"/>
                    <a:gd name="T30" fmla="*/ 2147483646 w 627"/>
                    <a:gd name="T31" fmla="*/ 2147483646 h 65"/>
                    <a:gd name="T32" fmla="*/ 2147483646 w 627"/>
                    <a:gd name="T33" fmla="*/ 2147483646 h 65"/>
                    <a:gd name="T34" fmla="*/ 2147483646 w 627"/>
                    <a:gd name="T35" fmla="*/ 2147483646 h 65"/>
                    <a:gd name="T36" fmla="*/ 2147483646 w 627"/>
                    <a:gd name="T37" fmla="*/ 0 h 65"/>
                    <a:gd name="T38" fmla="*/ 2147483646 w 627"/>
                    <a:gd name="T39" fmla="*/ 0 h 65"/>
                    <a:gd name="T40" fmla="*/ 2147483646 w 627"/>
                    <a:gd name="T41" fmla="*/ 0 h 65"/>
                    <a:gd name="T42" fmla="*/ 2147483646 w 627"/>
                    <a:gd name="T43" fmla="*/ 0 h 65"/>
                    <a:gd name="T44" fmla="*/ 2147483646 w 627"/>
                    <a:gd name="T45" fmla="*/ 0 h 65"/>
                    <a:gd name="T46" fmla="*/ 2147483646 w 627"/>
                    <a:gd name="T47" fmla="*/ 0 h 65"/>
                    <a:gd name="T48" fmla="*/ 2147483646 w 627"/>
                    <a:gd name="T49" fmla="*/ 0 h 65"/>
                    <a:gd name="T50" fmla="*/ 0 w 627"/>
                    <a:gd name="T51" fmla="*/ 2147483646 h 65"/>
                    <a:gd name="T52" fmla="*/ 2147483646 w 627"/>
                    <a:gd name="T53" fmla="*/ 2147483646 h 65"/>
                    <a:gd name="T54" fmla="*/ 2147483646 w 627"/>
                    <a:gd name="T55" fmla="*/ 2147483646 h 65"/>
                    <a:gd name="T56" fmla="*/ 2147483646 w 627"/>
                    <a:gd name="T57" fmla="*/ 2147483646 h 65"/>
                    <a:gd name="T58" fmla="*/ 2147483646 w 627"/>
                    <a:gd name="T59" fmla="*/ 2147483646 h 65"/>
                    <a:gd name="T60" fmla="*/ 2147483646 w 627"/>
                    <a:gd name="T61" fmla="*/ 2147483646 h 65"/>
                    <a:gd name="T62" fmla="*/ 2147483646 w 627"/>
                    <a:gd name="T63" fmla="*/ 2147483646 h 65"/>
                    <a:gd name="T64" fmla="*/ 2147483646 w 627"/>
                    <a:gd name="T65" fmla="*/ 2147483646 h 65"/>
                    <a:gd name="T66" fmla="*/ 2147483646 w 627"/>
                    <a:gd name="T67" fmla="*/ 2147483646 h 65"/>
                    <a:gd name="T68" fmla="*/ 2147483646 w 627"/>
                    <a:gd name="T69" fmla="*/ 2147483646 h 65"/>
                    <a:gd name="T70" fmla="*/ 2147483646 w 627"/>
                    <a:gd name="T71" fmla="*/ 2147483646 h 65"/>
                    <a:gd name="T72" fmla="*/ 2147483646 w 627"/>
                    <a:gd name="T73" fmla="*/ 2147483646 h 65"/>
                    <a:gd name="T74" fmla="*/ 2147483646 w 627"/>
                    <a:gd name="T75" fmla="*/ 2147483646 h 65"/>
                    <a:gd name="T76" fmla="*/ 2147483646 w 627"/>
                    <a:gd name="T77" fmla="*/ 2147483646 h 65"/>
                    <a:gd name="T78" fmla="*/ 2147483646 w 627"/>
                    <a:gd name="T79" fmla="*/ 2147483646 h 65"/>
                    <a:gd name="T80" fmla="*/ 2147483646 w 627"/>
                    <a:gd name="T81" fmla="*/ 2147483646 h 65"/>
                    <a:gd name="T82" fmla="*/ 2147483646 w 627"/>
                    <a:gd name="T83" fmla="*/ 2147483646 h 65"/>
                    <a:gd name="T84" fmla="*/ 2147483646 w 627"/>
                    <a:gd name="T85" fmla="*/ 2147483646 h 65"/>
                    <a:gd name="T86" fmla="*/ 2147483646 w 627"/>
                    <a:gd name="T87" fmla="*/ 2147483646 h 65"/>
                    <a:gd name="T88" fmla="*/ 2147483646 w 627"/>
                    <a:gd name="T89" fmla="*/ 2147483646 h 65"/>
                    <a:gd name="T90" fmla="*/ 2147483646 w 627"/>
                    <a:gd name="T91" fmla="*/ 2147483646 h 65"/>
                    <a:gd name="T92" fmla="*/ 2147483646 w 627"/>
                    <a:gd name="T93" fmla="*/ 2147483646 h 65"/>
                    <a:gd name="T94" fmla="*/ 2147483646 w 627"/>
                    <a:gd name="T95" fmla="*/ 2147483646 h 65"/>
                    <a:gd name="T96" fmla="*/ 2147483646 w 627"/>
                    <a:gd name="T97" fmla="*/ 2147483646 h 65"/>
                    <a:gd name="T98" fmla="*/ 2147483646 w 627"/>
                    <a:gd name="T99" fmla="*/ 2147483646 h 65"/>
                    <a:gd name="T100" fmla="*/ 2147483646 w 627"/>
                    <a:gd name="T101" fmla="*/ 2147483646 h 6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7"/>
                    <a:gd name="T154" fmla="*/ 0 h 65"/>
                    <a:gd name="T155" fmla="*/ 627 w 627"/>
                    <a:gd name="T156" fmla="*/ 65 h 6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7" h="65">
                      <a:moveTo>
                        <a:pt x="627" y="45"/>
                      </a:moveTo>
                      <a:lnTo>
                        <a:pt x="622" y="45"/>
                      </a:lnTo>
                      <a:lnTo>
                        <a:pt x="609" y="44"/>
                      </a:lnTo>
                      <a:lnTo>
                        <a:pt x="589" y="42"/>
                      </a:lnTo>
                      <a:lnTo>
                        <a:pt x="561" y="40"/>
                      </a:lnTo>
                      <a:lnTo>
                        <a:pt x="530" y="36"/>
                      </a:lnTo>
                      <a:lnTo>
                        <a:pt x="493" y="33"/>
                      </a:lnTo>
                      <a:lnTo>
                        <a:pt x="455" y="29"/>
                      </a:lnTo>
                      <a:lnTo>
                        <a:pt x="415" y="26"/>
                      </a:lnTo>
                      <a:lnTo>
                        <a:pt x="373" y="21"/>
                      </a:lnTo>
                      <a:lnTo>
                        <a:pt x="333" y="18"/>
                      </a:lnTo>
                      <a:lnTo>
                        <a:pt x="294" y="14"/>
                      </a:lnTo>
                      <a:lnTo>
                        <a:pt x="257" y="11"/>
                      </a:lnTo>
                      <a:lnTo>
                        <a:pt x="225" y="8"/>
                      </a:lnTo>
                      <a:lnTo>
                        <a:pt x="198" y="5"/>
                      </a:lnTo>
                      <a:lnTo>
                        <a:pt x="178" y="4"/>
                      </a:lnTo>
                      <a:lnTo>
                        <a:pt x="164" y="3"/>
                      </a:lnTo>
                      <a:lnTo>
                        <a:pt x="142" y="2"/>
                      </a:lnTo>
                      <a:lnTo>
                        <a:pt x="118" y="0"/>
                      </a:lnTo>
                      <a:lnTo>
                        <a:pt x="92" y="0"/>
                      </a:lnTo>
                      <a:lnTo>
                        <a:pt x="67" y="0"/>
                      </a:lnTo>
                      <a:lnTo>
                        <a:pt x="44" y="0"/>
                      </a:lnTo>
                      <a:lnTo>
                        <a:pt x="25" y="0"/>
                      </a:lnTo>
                      <a:lnTo>
                        <a:pt x="13" y="0"/>
                      </a:lnTo>
                      <a:lnTo>
                        <a:pt x="8" y="0"/>
                      </a:lnTo>
                      <a:lnTo>
                        <a:pt x="0" y="15"/>
                      </a:lnTo>
                      <a:lnTo>
                        <a:pt x="5" y="15"/>
                      </a:lnTo>
                      <a:lnTo>
                        <a:pt x="16" y="15"/>
                      </a:lnTo>
                      <a:lnTo>
                        <a:pt x="35" y="17"/>
                      </a:lnTo>
                      <a:lnTo>
                        <a:pt x="55" y="17"/>
                      </a:lnTo>
                      <a:lnTo>
                        <a:pt x="80" y="18"/>
                      </a:lnTo>
                      <a:lnTo>
                        <a:pt x="104" y="18"/>
                      </a:lnTo>
                      <a:lnTo>
                        <a:pt x="126" y="19"/>
                      </a:lnTo>
                      <a:lnTo>
                        <a:pt x="145" y="19"/>
                      </a:lnTo>
                      <a:lnTo>
                        <a:pt x="158" y="20"/>
                      </a:lnTo>
                      <a:lnTo>
                        <a:pt x="179" y="21"/>
                      </a:lnTo>
                      <a:lnTo>
                        <a:pt x="206" y="23"/>
                      </a:lnTo>
                      <a:lnTo>
                        <a:pt x="239" y="27"/>
                      </a:lnTo>
                      <a:lnTo>
                        <a:pt x="275" y="30"/>
                      </a:lnTo>
                      <a:lnTo>
                        <a:pt x="315" y="35"/>
                      </a:lnTo>
                      <a:lnTo>
                        <a:pt x="357" y="38"/>
                      </a:lnTo>
                      <a:lnTo>
                        <a:pt x="400" y="43"/>
                      </a:lnTo>
                      <a:lnTo>
                        <a:pt x="441" y="46"/>
                      </a:lnTo>
                      <a:lnTo>
                        <a:pt x="482" y="51"/>
                      </a:lnTo>
                      <a:lnTo>
                        <a:pt x="518" y="55"/>
                      </a:lnTo>
                      <a:lnTo>
                        <a:pt x="552" y="58"/>
                      </a:lnTo>
                      <a:lnTo>
                        <a:pt x="579" y="60"/>
                      </a:lnTo>
                      <a:lnTo>
                        <a:pt x="601" y="63"/>
                      </a:lnTo>
                      <a:lnTo>
                        <a:pt x="615" y="65"/>
                      </a:lnTo>
                      <a:lnTo>
                        <a:pt x="620" y="65"/>
                      </a:lnTo>
                      <a:lnTo>
                        <a:pt x="627"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01" name="Freeform 135">
                  <a:extLst>
                    <a:ext uri="{FF2B5EF4-FFF2-40B4-BE49-F238E27FC236}">
                      <a16:creationId xmlns:a16="http://schemas.microsoft.com/office/drawing/2014/main" id="{32368D67-CBB2-4042-9FD6-930B8FD4420C}"/>
                    </a:ext>
                  </a:extLst>
                </p:cNvPr>
                <p:cNvSpPr>
                  <a:spLocks/>
                </p:cNvSpPr>
                <p:nvPr/>
              </p:nvSpPr>
              <p:spPr bwMode="auto">
                <a:xfrm>
                  <a:off x="7026503" y="962751"/>
                  <a:ext cx="104123" cy="14835"/>
                </a:xfrm>
                <a:custGeom>
                  <a:avLst/>
                  <a:gdLst>
                    <a:gd name="T0" fmla="*/ 2147483646 w 708"/>
                    <a:gd name="T1" fmla="*/ 2147483646 h 147"/>
                    <a:gd name="T2" fmla="*/ 2147483646 w 708"/>
                    <a:gd name="T3" fmla="*/ 2147483646 h 147"/>
                    <a:gd name="T4" fmla="*/ 2147483646 w 708"/>
                    <a:gd name="T5" fmla="*/ 2147483646 h 147"/>
                    <a:gd name="T6" fmla="*/ 2147483646 w 708"/>
                    <a:gd name="T7" fmla="*/ 2147483646 h 147"/>
                    <a:gd name="T8" fmla="*/ 2147483646 w 708"/>
                    <a:gd name="T9" fmla="*/ 2147483646 h 147"/>
                    <a:gd name="T10" fmla="*/ 2147483646 w 708"/>
                    <a:gd name="T11" fmla="*/ 2147483646 h 147"/>
                    <a:gd name="T12" fmla="*/ 2147483646 w 708"/>
                    <a:gd name="T13" fmla="*/ 2147483646 h 147"/>
                    <a:gd name="T14" fmla="*/ 2147483646 w 708"/>
                    <a:gd name="T15" fmla="*/ 2147483646 h 147"/>
                    <a:gd name="T16" fmla="*/ 2147483646 w 708"/>
                    <a:gd name="T17" fmla="*/ 2147483646 h 147"/>
                    <a:gd name="T18" fmla="*/ 2147483646 w 708"/>
                    <a:gd name="T19" fmla="*/ 2147483646 h 147"/>
                    <a:gd name="T20" fmla="*/ 2147483646 w 708"/>
                    <a:gd name="T21" fmla="*/ 2147483646 h 147"/>
                    <a:gd name="T22" fmla="*/ 2147483646 w 708"/>
                    <a:gd name="T23" fmla="*/ 2147483646 h 147"/>
                    <a:gd name="T24" fmla="*/ 2147483646 w 708"/>
                    <a:gd name="T25" fmla="*/ 2147483646 h 147"/>
                    <a:gd name="T26" fmla="*/ 2147483646 w 708"/>
                    <a:gd name="T27" fmla="*/ 2147483646 h 147"/>
                    <a:gd name="T28" fmla="*/ 2147483646 w 708"/>
                    <a:gd name="T29" fmla="*/ 2147483646 h 147"/>
                    <a:gd name="T30" fmla="*/ 2147483646 w 708"/>
                    <a:gd name="T31" fmla="*/ 2147483646 h 147"/>
                    <a:gd name="T32" fmla="*/ 2147483646 w 708"/>
                    <a:gd name="T33" fmla="*/ 2147483646 h 147"/>
                    <a:gd name="T34" fmla="*/ 2147483646 w 708"/>
                    <a:gd name="T35" fmla="*/ 2147483646 h 147"/>
                    <a:gd name="T36" fmla="*/ 2147483646 w 708"/>
                    <a:gd name="T37" fmla="*/ 2147483646 h 147"/>
                    <a:gd name="T38" fmla="*/ 2147483646 w 708"/>
                    <a:gd name="T39" fmla="*/ 2147483646 h 147"/>
                    <a:gd name="T40" fmla="*/ 2147483646 w 708"/>
                    <a:gd name="T41" fmla="*/ 2147483646 h 147"/>
                    <a:gd name="T42" fmla="*/ 2147483646 w 708"/>
                    <a:gd name="T43" fmla="*/ 2147483646 h 147"/>
                    <a:gd name="T44" fmla="*/ 2147483646 w 708"/>
                    <a:gd name="T45" fmla="*/ 2147483646 h 147"/>
                    <a:gd name="T46" fmla="*/ 2147483646 w 708"/>
                    <a:gd name="T47" fmla="*/ 2147483646 h 147"/>
                    <a:gd name="T48" fmla="*/ 2147483646 w 708"/>
                    <a:gd name="T49" fmla="*/ 0 h 147"/>
                    <a:gd name="T50" fmla="*/ 0 w 708"/>
                    <a:gd name="T51" fmla="*/ 2147483646 h 147"/>
                    <a:gd name="T52" fmla="*/ 2147483646 w 708"/>
                    <a:gd name="T53" fmla="*/ 2147483646 h 147"/>
                    <a:gd name="T54" fmla="*/ 2147483646 w 708"/>
                    <a:gd name="T55" fmla="*/ 2147483646 h 147"/>
                    <a:gd name="T56" fmla="*/ 2147483646 w 708"/>
                    <a:gd name="T57" fmla="*/ 2147483646 h 147"/>
                    <a:gd name="T58" fmla="*/ 2147483646 w 708"/>
                    <a:gd name="T59" fmla="*/ 2147483646 h 147"/>
                    <a:gd name="T60" fmla="*/ 2147483646 w 708"/>
                    <a:gd name="T61" fmla="*/ 2147483646 h 147"/>
                    <a:gd name="T62" fmla="*/ 2147483646 w 708"/>
                    <a:gd name="T63" fmla="*/ 2147483646 h 147"/>
                    <a:gd name="T64" fmla="*/ 2147483646 w 708"/>
                    <a:gd name="T65" fmla="*/ 2147483646 h 147"/>
                    <a:gd name="T66" fmla="*/ 2147483646 w 708"/>
                    <a:gd name="T67" fmla="*/ 2147483646 h 147"/>
                    <a:gd name="T68" fmla="*/ 2147483646 w 708"/>
                    <a:gd name="T69" fmla="*/ 2147483646 h 147"/>
                    <a:gd name="T70" fmla="*/ 2147483646 w 708"/>
                    <a:gd name="T71" fmla="*/ 2147483646 h 147"/>
                    <a:gd name="T72" fmla="*/ 2147483646 w 708"/>
                    <a:gd name="T73" fmla="*/ 2147483646 h 147"/>
                    <a:gd name="T74" fmla="*/ 2147483646 w 708"/>
                    <a:gd name="T75" fmla="*/ 2147483646 h 147"/>
                    <a:gd name="T76" fmla="*/ 2147483646 w 708"/>
                    <a:gd name="T77" fmla="*/ 2147483646 h 147"/>
                    <a:gd name="T78" fmla="*/ 2147483646 w 708"/>
                    <a:gd name="T79" fmla="*/ 2147483646 h 147"/>
                    <a:gd name="T80" fmla="*/ 2147483646 w 708"/>
                    <a:gd name="T81" fmla="*/ 2147483646 h 147"/>
                    <a:gd name="T82" fmla="*/ 2147483646 w 708"/>
                    <a:gd name="T83" fmla="*/ 2147483646 h 147"/>
                    <a:gd name="T84" fmla="*/ 2147483646 w 708"/>
                    <a:gd name="T85" fmla="*/ 2147483646 h 147"/>
                    <a:gd name="T86" fmla="*/ 2147483646 w 708"/>
                    <a:gd name="T87" fmla="*/ 2147483646 h 147"/>
                    <a:gd name="T88" fmla="*/ 2147483646 w 708"/>
                    <a:gd name="T89" fmla="*/ 2147483646 h 147"/>
                    <a:gd name="T90" fmla="*/ 2147483646 w 708"/>
                    <a:gd name="T91" fmla="*/ 2147483646 h 147"/>
                    <a:gd name="T92" fmla="*/ 2147483646 w 708"/>
                    <a:gd name="T93" fmla="*/ 2147483646 h 147"/>
                    <a:gd name="T94" fmla="*/ 2147483646 w 708"/>
                    <a:gd name="T95" fmla="*/ 2147483646 h 147"/>
                    <a:gd name="T96" fmla="*/ 2147483646 w 708"/>
                    <a:gd name="T97" fmla="*/ 2147483646 h 147"/>
                    <a:gd name="T98" fmla="*/ 2147483646 w 708"/>
                    <a:gd name="T99" fmla="*/ 2147483646 h 147"/>
                    <a:gd name="T100" fmla="*/ 2147483646 w 708"/>
                    <a:gd name="T101" fmla="*/ 2147483646 h 14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08"/>
                    <a:gd name="T154" fmla="*/ 0 h 147"/>
                    <a:gd name="T155" fmla="*/ 708 w 708"/>
                    <a:gd name="T156" fmla="*/ 147 h 14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08" h="147">
                      <a:moveTo>
                        <a:pt x="708" y="68"/>
                      </a:moveTo>
                      <a:lnTo>
                        <a:pt x="703" y="68"/>
                      </a:lnTo>
                      <a:lnTo>
                        <a:pt x="689" y="67"/>
                      </a:lnTo>
                      <a:lnTo>
                        <a:pt x="668" y="64"/>
                      </a:lnTo>
                      <a:lnTo>
                        <a:pt x="640" y="62"/>
                      </a:lnTo>
                      <a:lnTo>
                        <a:pt x="605" y="59"/>
                      </a:lnTo>
                      <a:lnTo>
                        <a:pt x="567" y="55"/>
                      </a:lnTo>
                      <a:lnTo>
                        <a:pt x="526" y="52"/>
                      </a:lnTo>
                      <a:lnTo>
                        <a:pt x="483" y="48"/>
                      </a:lnTo>
                      <a:lnTo>
                        <a:pt x="438" y="45"/>
                      </a:lnTo>
                      <a:lnTo>
                        <a:pt x="395" y="40"/>
                      </a:lnTo>
                      <a:lnTo>
                        <a:pt x="351" y="37"/>
                      </a:lnTo>
                      <a:lnTo>
                        <a:pt x="311" y="33"/>
                      </a:lnTo>
                      <a:lnTo>
                        <a:pt x="274" y="31"/>
                      </a:lnTo>
                      <a:lnTo>
                        <a:pt x="240" y="29"/>
                      </a:lnTo>
                      <a:lnTo>
                        <a:pt x="214" y="26"/>
                      </a:lnTo>
                      <a:lnTo>
                        <a:pt x="194" y="25"/>
                      </a:lnTo>
                      <a:lnTo>
                        <a:pt x="162" y="23"/>
                      </a:lnTo>
                      <a:lnTo>
                        <a:pt x="131" y="19"/>
                      </a:lnTo>
                      <a:lnTo>
                        <a:pt x="102" y="16"/>
                      </a:lnTo>
                      <a:lnTo>
                        <a:pt x="75" y="11"/>
                      </a:lnTo>
                      <a:lnTo>
                        <a:pt x="51" y="7"/>
                      </a:lnTo>
                      <a:lnTo>
                        <a:pt x="34" y="3"/>
                      </a:lnTo>
                      <a:lnTo>
                        <a:pt x="23" y="1"/>
                      </a:lnTo>
                      <a:lnTo>
                        <a:pt x="18" y="0"/>
                      </a:lnTo>
                      <a:lnTo>
                        <a:pt x="0" y="90"/>
                      </a:lnTo>
                      <a:lnTo>
                        <a:pt x="5" y="90"/>
                      </a:lnTo>
                      <a:lnTo>
                        <a:pt x="20" y="91"/>
                      </a:lnTo>
                      <a:lnTo>
                        <a:pt x="45" y="93"/>
                      </a:lnTo>
                      <a:lnTo>
                        <a:pt x="77" y="94"/>
                      </a:lnTo>
                      <a:lnTo>
                        <a:pt x="114" y="98"/>
                      </a:lnTo>
                      <a:lnTo>
                        <a:pt x="156" y="100"/>
                      </a:lnTo>
                      <a:lnTo>
                        <a:pt x="202" y="103"/>
                      </a:lnTo>
                      <a:lnTo>
                        <a:pt x="251" y="107"/>
                      </a:lnTo>
                      <a:lnTo>
                        <a:pt x="300" y="110"/>
                      </a:lnTo>
                      <a:lnTo>
                        <a:pt x="350" y="114"/>
                      </a:lnTo>
                      <a:lnTo>
                        <a:pt x="397" y="117"/>
                      </a:lnTo>
                      <a:lnTo>
                        <a:pt x="441" y="121"/>
                      </a:lnTo>
                      <a:lnTo>
                        <a:pt x="481" y="123"/>
                      </a:lnTo>
                      <a:lnTo>
                        <a:pt x="517" y="127"/>
                      </a:lnTo>
                      <a:lnTo>
                        <a:pt x="544" y="129"/>
                      </a:lnTo>
                      <a:lnTo>
                        <a:pt x="564" y="131"/>
                      </a:lnTo>
                      <a:lnTo>
                        <a:pt x="588" y="135"/>
                      </a:lnTo>
                      <a:lnTo>
                        <a:pt x="611" y="137"/>
                      </a:lnTo>
                      <a:lnTo>
                        <a:pt x="634" y="140"/>
                      </a:lnTo>
                      <a:lnTo>
                        <a:pt x="654" y="143"/>
                      </a:lnTo>
                      <a:lnTo>
                        <a:pt x="671" y="144"/>
                      </a:lnTo>
                      <a:lnTo>
                        <a:pt x="685" y="146"/>
                      </a:lnTo>
                      <a:lnTo>
                        <a:pt x="693" y="147"/>
                      </a:lnTo>
                      <a:lnTo>
                        <a:pt x="696" y="147"/>
                      </a:lnTo>
                      <a:lnTo>
                        <a:pt x="708" y="68"/>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202" name="Freeform 136">
                  <a:extLst>
                    <a:ext uri="{FF2B5EF4-FFF2-40B4-BE49-F238E27FC236}">
                      <a16:creationId xmlns:a16="http://schemas.microsoft.com/office/drawing/2014/main" id="{4C8F725E-32C2-4420-8F0D-0A8D313FC76C}"/>
                    </a:ext>
                  </a:extLst>
                </p:cNvPr>
                <p:cNvSpPr>
                  <a:spLocks/>
                </p:cNvSpPr>
                <p:nvPr/>
              </p:nvSpPr>
              <p:spPr bwMode="auto">
                <a:xfrm>
                  <a:off x="6996796" y="1054570"/>
                  <a:ext cx="40590" cy="21852"/>
                </a:xfrm>
                <a:custGeom>
                  <a:avLst/>
                  <a:gdLst>
                    <a:gd name="T0" fmla="*/ 2147483646 w 275"/>
                    <a:gd name="T1" fmla="*/ 2147483646 h 216"/>
                    <a:gd name="T2" fmla="*/ 2147483646 w 275"/>
                    <a:gd name="T3" fmla="*/ 2147483646 h 216"/>
                    <a:gd name="T4" fmla="*/ 2147483646 w 275"/>
                    <a:gd name="T5" fmla="*/ 2147483646 h 216"/>
                    <a:gd name="T6" fmla="*/ 2147483646 w 275"/>
                    <a:gd name="T7" fmla="*/ 2147483646 h 216"/>
                    <a:gd name="T8" fmla="*/ 2147483646 w 275"/>
                    <a:gd name="T9" fmla="*/ 2147483646 h 216"/>
                    <a:gd name="T10" fmla="*/ 2147483646 w 275"/>
                    <a:gd name="T11" fmla="*/ 2147483646 h 216"/>
                    <a:gd name="T12" fmla="*/ 2147483646 w 275"/>
                    <a:gd name="T13" fmla="*/ 2147483646 h 216"/>
                    <a:gd name="T14" fmla="*/ 2147483646 w 275"/>
                    <a:gd name="T15" fmla="*/ 2147483646 h 216"/>
                    <a:gd name="T16" fmla="*/ 0 w 275"/>
                    <a:gd name="T17" fmla="*/ 2147483646 h 216"/>
                    <a:gd name="T18" fmla="*/ 2147483646 w 275"/>
                    <a:gd name="T19" fmla="*/ 2147483646 h 216"/>
                    <a:gd name="T20" fmla="*/ 2147483646 w 275"/>
                    <a:gd name="T21" fmla="*/ 2147483646 h 216"/>
                    <a:gd name="T22" fmla="*/ 2147483646 w 275"/>
                    <a:gd name="T23" fmla="*/ 2147483646 h 216"/>
                    <a:gd name="T24" fmla="*/ 2147483646 w 275"/>
                    <a:gd name="T25" fmla="*/ 2147483646 h 216"/>
                    <a:gd name="T26" fmla="*/ 2147483646 w 275"/>
                    <a:gd name="T27" fmla="*/ 2147483646 h 216"/>
                    <a:gd name="T28" fmla="*/ 2147483646 w 275"/>
                    <a:gd name="T29" fmla="*/ 2147483646 h 216"/>
                    <a:gd name="T30" fmla="*/ 2147483646 w 275"/>
                    <a:gd name="T31" fmla="*/ 2147483646 h 216"/>
                    <a:gd name="T32" fmla="*/ 2147483646 w 275"/>
                    <a:gd name="T33" fmla="*/ 0 h 216"/>
                    <a:gd name="T34" fmla="*/ 2147483646 w 275"/>
                    <a:gd name="T35" fmla="*/ 2147483646 h 216"/>
                    <a:gd name="T36" fmla="*/ 2147483646 w 275"/>
                    <a:gd name="T37" fmla="*/ 2147483646 h 216"/>
                    <a:gd name="T38" fmla="*/ 2147483646 w 275"/>
                    <a:gd name="T39" fmla="*/ 2147483646 h 216"/>
                    <a:gd name="T40" fmla="*/ 2147483646 w 275"/>
                    <a:gd name="T41" fmla="*/ 2147483646 h 216"/>
                    <a:gd name="T42" fmla="*/ 2147483646 w 275"/>
                    <a:gd name="T43" fmla="*/ 2147483646 h 216"/>
                    <a:gd name="T44" fmla="*/ 2147483646 w 275"/>
                    <a:gd name="T45" fmla="*/ 2147483646 h 216"/>
                    <a:gd name="T46" fmla="*/ 2147483646 w 275"/>
                    <a:gd name="T47" fmla="*/ 2147483646 h 216"/>
                    <a:gd name="T48" fmla="*/ 2147483646 w 275"/>
                    <a:gd name="T49" fmla="*/ 2147483646 h 216"/>
                    <a:gd name="T50" fmla="*/ 2147483646 w 275"/>
                    <a:gd name="T51" fmla="*/ 2147483646 h 216"/>
                    <a:gd name="T52" fmla="*/ 2147483646 w 275"/>
                    <a:gd name="T53" fmla="*/ 2147483646 h 216"/>
                    <a:gd name="T54" fmla="*/ 2147483646 w 275"/>
                    <a:gd name="T55" fmla="*/ 2147483646 h 216"/>
                    <a:gd name="T56" fmla="*/ 2147483646 w 275"/>
                    <a:gd name="T57" fmla="*/ 2147483646 h 216"/>
                    <a:gd name="T58" fmla="*/ 2147483646 w 275"/>
                    <a:gd name="T59" fmla="*/ 2147483646 h 216"/>
                    <a:gd name="T60" fmla="*/ 2147483646 w 275"/>
                    <a:gd name="T61" fmla="*/ 2147483646 h 216"/>
                    <a:gd name="T62" fmla="*/ 2147483646 w 275"/>
                    <a:gd name="T63" fmla="*/ 2147483646 h 216"/>
                    <a:gd name="T64" fmla="*/ 2147483646 w 275"/>
                    <a:gd name="T65" fmla="*/ 2147483646 h 21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5"/>
                    <a:gd name="T100" fmla="*/ 0 h 216"/>
                    <a:gd name="T101" fmla="*/ 275 w 275"/>
                    <a:gd name="T102" fmla="*/ 216 h 21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5" h="216">
                      <a:moveTo>
                        <a:pt x="137" y="216"/>
                      </a:moveTo>
                      <a:lnTo>
                        <a:pt x="109" y="214"/>
                      </a:lnTo>
                      <a:lnTo>
                        <a:pt x="84" y="208"/>
                      </a:lnTo>
                      <a:lnTo>
                        <a:pt x="61" y="198"/>
                      </a:lnTo>
                      <a:lnTo>
                        <a:pt x="40" y="184"/>
                      </a:lnTo>
                      <a:lnTo>
                        <a:pt x="24" y="169"/>
                      </a:lnTo>
                      <a:lnTo>
                        <a:pt x="10" y="151"/>
                      </a:lnTo>
                      <a:lnTo>
                        <a:pt x="2" y="130"/>
                      </a:lnTo>
                      <a:lnTo>
                        <a:pt x="0" y="108"/>
                      </a:lnTo>
                      <a:lnTo>
                        <a:pt x="2" y="86"/>
                      </a:lnTo>
                      <a:lnTo>
                        <a:pt x="10" y="65"/>
                      </a:lnTo>
                      <a:lnTo>
                        <a:pt x="24" y="47"/>
                      </a:lnTo>
                      <a:lnTo>
                        <a:pt x="40" y="31"/>
                      </a:lnTo>
                      <a:lnTo>
                        <a:pt x="61" y="18"/>
                      </a:lnTo>
                      <a:lnTo>
                        <a:pt x="84" y="8"/>
                      </a:lnTo>
                      <a:lnTo>
                        <a:pt x="109" y="2"/>
                      </a:lnTo>
                      <a:lnTo>
                        <a:pt x="137" y="0"/>
                      </a:lnTo>
                      <a:lnTo>
                        <a:pt x="165" y="2"/>
                      </a:lnTo>
                      <a:lnTo>
                        <a:pt x="191" y="8"/>
                      </a:lnTo>
                      <a:lnTo>
                        <a:pt x="214" y="18"/>
                      </a:lnTo>
                      <a:lnTo>
                        <a:pt x="235" y="31"/>
                      </a:lnTo>
                      <a:lnTo>
                        <a:pt x="251" y="47"/>
                      </a:lnTo>
                      <a:lnTo>
                        <a:pt x="265" y="65"/>
                      </a:lnTo>
                      <a:lnTo>
                        <a:pt x="273" y="86"/>
                      </a:lnTo>
                      <a:lnTo>
                        <a:pt x="275" y="108"/>
                      </a:lnTo>
                      <a:lnTo>
                        <a:pt x="273" y="130"/>
                      </a:lnTo>
                      <a:lnTo>
                        <a:pt x="265" y="151"/>
                      </a:lnTo>
                      <a:lnTo>
                        <a:pt x="251" y="169"/>
                      </a:lnTo>
                      <a:lnTo>
                        <a:pt x="235" y="184"/>
                      </a:lnTo>
                      <a:lnTo>
                        <a:pt x="214" y="198"/>
                      </a:lnTo>
                      <a:lnTo>
                        <a:pt x="191" y="208"/>
                      </a:lnTo>
                      <a:lnTo>
                        <a:pt x="165" y="214"/>
                      </a:lnTo>
                      <a:lnTo>
                        <a:pt x="137" y="216"/>
                      </a:lnTo>
                      <a:close/>
                    </a:path>
                  </a:pathLst>
                </a:custGeom>
                <a:solidFill>
                  <a:srgbClr val="7FB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87170" name="그룹 761">
                <a:extLst>
                  <a:ext uri="{FF2B5EF4-FFF2-40B4-BE49-F238E27FC236}">
                    <a16:creationId xmlns:a16="http://schemas.microsoft.com/office/drawing/2014/main" id="{A6621D6F-BFD1-4DC9-A1D4-A770A51E73D7}"/>
                  </a:ext>
                </a:extLst>
              </p:cNvPr>
              <p:cNvGrpSpPr>
                <a:grpSpLocks/>
              </p:cNvGrpSpPr>
              <p:nvPr/>
            </p:nvGrpSpPr>
            <p:grpSpPr bwMode="auto">
              <a:xfrm>
                <a:off x="7186761" y="1383976"/>
                <a:ext cx="295275" cy="269875"/>
                <a:chOff x="8104188" y="436563"/>
                <a:chExt cx="295275" cy="269875"/>
              </a:xfrm>
            </p:grpSpPr>
            <p:sp>
              <p:nvSpPr>
                <p:cNvPr id="87171" name="Freeform 26">
                  <a:extLst>
                    <a:ext uri="{FF2B5EF4-FFF2-40B4-BE49-F238E27FC236}">
                      <a16:creationId xmlns:a16="http://schemas.microsoft.com/office/drawing/2014/main" id="{8B24904E-2E76-4BD3-82FE-656292ABFD86}"/>
                    </a:ext>
                  </a:extLst>
                </p:cNvPr>
                <p:cNvSpPr>
                  <a:spLocks/>
                </p:cNvSpPr>
                <p:nvPr/>
              </p:nvSpPr>
              <p:spPr bwMode="auto">
                <a:xfrm>
                  <a:off x="8104188" y="436563"/>
                  <a:ext cx="295275" cy="269875"/>
                </a:xfrm>
                <a:custGeom>
                  <a:avLst/>
                  <a:gdLst>
                    <a:gd name="T0" fmla="*/ 2147483646 w 560"/>
                    <a:gd name="T1" fmla="*/ 2147483646 h 512"/>
                    <a:gd name="T2" fmla="*/ 2147483646 w 560"/>
                    <a:gd name="T3" fmla="*/ 2147483646 h 512"/>
                    <a:gd name="T4" fmla="*/ 2147483646 w 560"/>
                    <a:gd name="T5" fmla="*/ 2147483646 h 512"/>
                    <a:gd name="T6" fmla="*/ 2147483646 w 560"/>
                    <a:gd name="T7" fmla="*/ 2147483646 h 512"/>
                    <a:gd name="T8" fmla="*/ 2147483646 w 560"/>
                    <a:gd name="T9" fmla="*/ 2147483646 h 512"/>
                    <a:gd name="T10" fmla="*/ 2147483646 w 560"/>
                    <a:gd name="T11" fmla="*/ 2147483646 h 512"/>
                    <a:gd name="T12" fmla="*/ 2147483646 w 560"/>
                    <a:gd name="T13" fmla="*/ 2147483646 h 512"/>
                    <a:gd name="T14" fmla="*/ 2147483646 w 560"/>
                    <a:gd name="T15" fmla="*/ 2147483646 h 512"/>
                    <a:gd name="T16" fmla="*/ 2147483646 w 560"/>
                    <a:gd name="T17" fmla="*/ 2147483646 h 512"/>
                    <a:gd name="T18" fmla="*/ 2147483646 w 560"/>
                    <a:gd name="T19" fmla="*/ 2147483646 h 512"/>
                    <a:gd name="T20" fmla="*/ 2147483646 w 560"/>
                    <a:gd name="T21" fmla="*/ 2147483646 h 512"/>
                    <a:gd name="T22" fmla="*/ 2147483646 w 560"/>
                    <a:gd name="T23" fmla="*/ 2147483646 h 512"/>
                    <a:gd name="T24" fmla="*/ 2147483646 w 560"/>
                    <a:gd name="T25" fmla="*/ 2147483646 h 512"/>
                    <a:gd name="T26" fmla="*/ 2147483646 w 560"/>
                    <a:gd name="T27" fmla="*/ 2147483646 h 512"/>
                    <a:gd name="T28" fmla="*/ 2147483646 w 560"/>
                    <a:gd name="T29" fmla="*/ 2147483646 h 512"/>
                    <a:gd name="T30" fmla="*/ 2147483646 w 560"/>
                    <a:gd name="T31" fmla="*/ 2147483646 h 512"/>
                    <a:gd name="T32" fmla="*/ 2147483646 w 560"/>
                    <a:gd name="T33" fmla="*/ 2147483646 h 512"/>
                    <a:gd name="T34" fmla="*/ 2147483646 w 560"/>
                    <a:gd name="T35" fmla="*/ 2147483646 h 512"/>
                    <a:gd name="T36" fmla="*/ 2147483646 w 560"/>
                    <a:gd name="T37" fmla="*/ 0 h 512"/>
                    <a:gd name="T38" fmla="*/ 2147483646 w 560"/>
                    <a:gd name="T39" fmla="*/ 2147483646 h 512"/>
                    <a:gd name="T40" fmla="*/ 2147483646 w 560"/>
                    <a:gd name="T41" fmla="*/ 2147483646 h 512"/>
                    <a:gd name="T42" fmla="*/ 2147483646 w 560"/>
                    <a:gd name="T43" fmla="*/ 2147483646 h 512"/>
                    <a:gd name="T44" fmla="*/ 2147483646 w 560"/>
                    <a:gd name="T45" fmla="*/ 2147483646 h 512"/>
                    <a:gd name="T46" fmla="*/ 2147483646 w 560"/>
                    <a:gd name="T47" fmla="*/ 2147483646 h 512"/>
                    <a:gd name="T48" fmla="*/ 2147483646 w 560"/>
                    <a:gd name="T49" fmla="*/ 2147483646 h 512"/>
                    <a:gd name="T50" fmla="*/ 0 w 560"/>
                    <a:gd name="T51" fmla="*/ 2147483646 h 512"/>
                    <a:gd name="T52" fmla="*/ 0 w 560"/>
                    <a:gd name="T53" fmla="*/ 2147483646 h 512"/>
                    <a:gd name="T54" fmla="*/ 2147483646 w 560"/>
                    <a:gd name="T55" fmla="*/ 2147483646 h 512"/>
                    <a:gd name="T56" fmla="*/ 2147483646 w 560"/>
                    <a:gd name="T57" fmla="*/ 2147483646 h 512"/>
                    <a:gd name="T58" fmla="*/ 2147483646 w 560"/>
                    <a:gd name="T59" fmla="*/ 2147483646 h 512"/>
                    <a:gd name="T60" fmla="*/ 2147483646 w 560"/>
                    <a:gd name="T61" fmla="*/ 2147483646 h 512"/>
                    <a:gd name="T62" fmla="*/ 2147483646 w 560"/>
                    <a:gd name="T63" fmla="*/ 2147483646 h 512"/>
                    <a:gd name="T64" fmla="*/ 2147483646 w 560"/>
                    <a:gd name="T65" fmla="*/ 2147483646 h 512"/>
                    <a:gd name="T66" fmla="*/ 2147483646 w 560"/>
                    <a:gd name="T67" fmla="*/ 2147483646 h 512"/>
                    <a:gd name="T68" fmla="*/ 2147483646 w 560"/>
                    <a:gd name="T69" fmla="*/ 2147483646 h 512"/>
                    <a:gd name="T70" fmla="*/ 2147483646 w 560"/>
                    <a:gd name="T71" fmla="*/ 2147483646 h 512"/>
                    <a:gd name="T72" fmla="*/ 2147483646 w 560"/>
                    <a:gd name="T73" fmla="*/ 2147483646 h 512"/>
                    <a:gd name="T74" fmla="*/ 2147483646 w 560"/>
                    <a:gd name="T75" fmla="*/ 2147483646 h 512"/>
                    <a:gd name="T76" fmla="*/ 2147483646 w 560"/>
                    <a:gd name="T77" fmla="*/ 2147483646 h 5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60"/>
                    <a:gd name="T118" fmla="*/ 0 h 512"/>
                    <a:gd name="T119" fmla="*/ 560 w 560"/>
                    <a:gd name="T120" fmla="*/ 512 h 51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60" h="512">
                      <a:moveTo>
                        <a:pt x="556" y="110"/>
                      </a:moveTo>
                      <a:lnTo>
                        <a:pt x="556" y="110"/>
                      </a:lnTo>
                      <a:lnTo>
                        <a:pt x="554" y="108"/>
                      </a:lnTo>
                      <a:lnTo>
                        <a:pt x="551" y="107"/>
                      </a:lnTo>
                      <a:lnTo>
                        <a:pt x="549" y="107"/>
                      </a:lnTo>
                      <a:lnTo>
                        <a:pt x="546" y="107"/>
                      </a:lnTo>
                      <a:lnTo>
                        <a:pt x="517" y="115"/>
                      </a:lnTo>
                      <a:lnTo>
                        <a:pt x="518" y="76"/>
                      </a:lnTo>
                      <a:lnTo>
                        <a:pt x="517" y="72"/>
                      </a:lnTo>
                      <a:lnTo>
                        <a:pt x="514" y="68"/>
                      </a:lnTo>
                      <a:lnTo>
                        <a:pt x="510" y="66"/>
                      </a:lnTo>
                      <a:lnTo>
                        <a:pt x="505" y="66"/>
                      </a:lnTo>
                      <a:lnTo>
                        <a:pt x="497" y="68"/>
                      </a:lnTo>
                      <a:lnTo>
                        <a:pt x="497" y="59"/>
                      </a:lnTo>
                      <a:lnTo>
                        <a:pt x="496" y="54"/>
                      </a:lnTo>
                      <a:lnTo>
                        <a:pt x="493" y="51"/>
                      </a:lnTo>
                      <a:lnTo>
                        <a:pt x="489" y="49"/>
                      </a:lnTo>
                      <a:lnTo>
                        <a:pt x="484" y="49"/>
                      </a:lnTo>
                      <a:lnTo>
                        <a:pt x="469" y="53"/>
                      </a:lnTo>
                      <a:lnTo>
                        <a:pt x="466" y="21"/>
                      </a:lnTo>
                      <a:lnTo>
                        <a:pt x="464" y="17"/>
                      </a:lnTo>
                      <a:lnTo>
                        <a:pt x="461" y="14"/>
                      </a:lnTo>
                      <a:lnTo>
                        <a:pt x="444" y="3"/>
                      </a:lnTo>
                      <a:lnTo>
                        <a:pt x="439" y="0"/>
                      </a:lnTo>
                      <a:lnTo>
                        <a:pt x="435" y="0"/>
                      </a:lnTo>
                      <a:lnTo>
                        <a:pt x="318" y="33"/>
                      </a:lnTo>
                      <a:lnTo>
                        <a:pt x="314" y="36"/>
                      </a:lnTo>
                      <a:lnTo>
                        <a:pt x="312" y="40"/>
                      </a:lnTo>
                      <a:lnTo>
                        <a:pt x="296" y="77"/>
                      </a:lnTo>
                      <a:lnTo>
                        <a:pt x="8" y="156"/>
                      </a:lnTo>
                      <a:lnTo>
                        <a:pt x="5" y="158"/>
                      </a:lnTo>
                      <a:lnTo>
                        <a:pt x="3" y="160"/>
                      </a:lnTo>
                      <a:lnTo>
                        <a:pt x="2" y="164"/>
                      </a:lnTo>
                      <a:lnTo>
                        <a:pt x="0" y="167"/>
                      </a:lnTo>
                      <a:lnTo>
                        <a:pt x="0" y="168"/>
                      </a:lnTo>
                      <a:lnTo>
                        <a:pt x="38" y="490"/>
                      </a:lnTo>
                      <a:lnTo>
                        <a:pt x="41" y="496"/>
                      </a:lnTo>
                      <a:lnTo>
                        <a:pt x="53" y="508"/>
                      </a:lnTo>
                      <a:lnTo>
                        <a:pt x="55" y="511"/>
                      </a:lnTo>
                      <a:lnTo>
                        <a:pt x="58" y="512"/>
                      </a:lnTo>
                      <a:lnTo>
                        <a:pt x="61" y="512"/>
                      </a:lnTo>
                      <a:lnTo>
                        <a:pt x="64" y="512"/>
                      </a:lnTo>
                      <a:lnTo>
                        <a:pt x="511" y="388"/>
                      </a:lnTo>
                      <a:lnTo>
                        <a:pt x="513" y="386"/>
                      </a:lnTo>
                      <a:lnTo>
                        <a:pt x="515" y="385"/>
                      </a:lnTo>
                      <a:lnTo>
                        <a:pt x="517" y="381"/>
                      </a:lnTo>
                      <a:lnTo>
                        <a:pt x="518" y="379"/>
                      </a:lnTo>
                      <a:lnTo>
                        <a:pt x="560" y="119"/>
                      </a:lnTo>
                      <a:lnTo>
                        <a:pt x="560" y="116"/>
                      </a:lnTo>
                      <a:lnTo>
                        <a:pt x="558" y="114"/>
                      </a:lnTo>
                      <a:lnTo>
                        <a:pt x="557" y="111"/>
                      </a:lnTo>
                      <a:lnTo>
                        <a:pt x="556" y="1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72" name="Freeform 27">
                  <a:extLst>
                    <a:ext uri="{FF2B5EF4-FFF2-40B4-BE49-F238E27FC236}">
                      <a16:creationId xmlns:a16="http://schemas.microsoft.com/office/drawing/2014/main" id="{6CEB44BE-3786-44C7-B7BF-5F6E9539C645}"/>
                    </a:ext>
                  </a:extLst>
                </p:cNvPr>
                <p:cNvSpPr>
                  <a:spLocks/>
                </p:cNvSpPr>
                <p:nvPr/>
              </p:nvSpPr>
              <p:spPr bwMode="auto">
                <a:xfrm>
                  <a:off x="8108950" y="441325"/>
                  <a:ext cx="257175" cy="254000"/>
                </a:xfrm>
                <a:custGeom>
                  <a:avLst/>
                  <a:gdLst>
                    <a:gd name="T0" fmla="*/ 2147483646 w 484"/>
                    <a:gd name="T1" fmla="*/ 2147483646 h 478"/>
                    <a:gd name="T2" fmla="*/ 2147483646 w 484"/>
                    <a:gd name="T3" fmla="*/ 2147483646 h 478"/>
                    <a:gd name="T4" fmla="*/ 2147483646 w 484"/>
                    <a:gd name="T5" fmla="*/ 2147483646 h 478"/>
                    <a:gd name="T6" fmla="*/ 0 w 484"/>
                    <a:gd name="T7" fmla="*/ 2147483646 h 478"/>
                    <a:gd name="T8" fmla="*/ 2147483646 w 484"/>
                    <a:gd name="T9" fmla="*/ 2147483646 h 478"/>
                    <a:gd name="T10" fmla="*/ 2147483646 w 484"/>
                    <a:gd name="T11" fmla="*/ 2147483646 h 478"/>
                    <a:gd name="T12" fmla="*/ 2147483646 w 484"/>
                    <a:gd name="T13" fmla="*/ 0 h 478"/>
                    <a:gd name="T14" fmla="*/ 2147483646 w 484"/>
                    <a:gd name="T15" fmla="*/ 2147483646 h 478"/>
                    <a:gd name="T16" fmla="*/ 0 60000 65536"/>
                    <a:gd name="T17" fmla="*/ 0 60000 65536"/>
                    <a:gd name="T18" fmla="*/ 0 60000 65536"/>
                    <a:gd name="T19" fmla="*/ 0 60000 65536"/>
                    <a:gd name="T20" fmla="*/ 0 60000 65536"/>
                    <a:gd name="T21" fmla="*/ 0 60000 65536"/>
                    <a:gd name="T22" fmla="*/ 0 60000 65536"/>
                    <a:gd name="T23" fmla="*/ 0 60000 65536"/>
                    <a:gd name="T24" fmla="*/ 0 w 484"/>
                    <a:gd name="T25" fmla="*/ 0 h 478"/>
                    <a:gd name="T26" fmla="*/ 484 w 484"/>
                    <a:gd name="T27" fmla="*/ 478 h 47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4" h="478">
                      <a:moveTo>
                        <a:pt x="445" y="11"/>
                      </a:moveTo>
                      <a:lnTo>
                        <a:pt x="484" y="354"/>
                      </a:lnTo>
                      <a:lnTo>
                        <a:pt x="37" y="478"/>
                      </a:lnTo>
                      <a:lnTo>
                        <a:pt x="0" y="156"/>
                      </a:lnTo>
                      <a:lnTo>
                        <a:pt x="292" y="75"/>
                      </a:lnTo>
                      <a:lnTo>
                        <a:pt x="310" y="33"/>
                      </a:lnTo>
                      <a:lnTo>
                        <a:pt x="427" y="0"/>
                      </a:lnTo>
                      <a:lnTo>
                        <a:pt x="445" y="11"/>
                      </a:lnTo>
                      <a:close/>
                    </a:path>
                  </a:pathLst>
                </a:custGeom>
                <a:solidFill>
                  <a:srgbClr val="CEC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73" name="Freeform 28">
                  <a:extLst>
                    <a:ext uri="{FF2B5EF4-FFF2-40B4-BE49-F238E27FC236}">
                      <a16:creationId xmlns:a16="http://schemas.microsoft.com/office/drawing/2014/main" id="{210E5A9B-5B0F-4E51-8FE1-268BB3C5CAAF}"/>
                    </a:ext>
                  </a:extLst>
                </p:cNvPr>
                <p:cNvSpPr>
                  <a:spLocks/>
                </p:cNvSpPr>
                <p:nvPr/>
              </p:nvSpPr>
              <p:spPr bwMode="auto">
                <a:xfrm>
                  <a:off x="8120063" y="465138"/>
                  <a:ext cx="239713" cy="230188"/>
                </a:xfrm>
                <a:custGeom>
                  <a:avLst/>
                  <a:gdLst>
                    <a:gd name="T0" fmla="*/ 0 w 452"/>
                    <a:gd name="T1" fmla="*/ 2147483646 h 434"/>
                    <a:gd name="T2" fmla="*/ 2147483646 w 452"/>
                    <a:gd name="T3" fmla="*/ 2147483646 h 434"/>
                    <a:gd name="T4" fmla="*/ 2147483646 w 452"/>
                    <a:gd name="T5" fmla="*/ 2147483646 h 434"/>
                    <a:gd name="T6" fmla="*/ 2147483646 w 452"/>
                    <a:gd name="T7" fmla="*/ 0 h 434"/>
                    <a:gd name="T8" fmla="*/ 0 w 452"/>
                    <a:gd name="T9" fmla="*/ 2147483646 h 434"/>
                    <a:gd name="T10" fmla="*/ 0 60000 65536"/>
                    <a:gd name="T11" fmla="*/ 0 60000 65536"/>
                    <a:gd name="T12" fmla="*/ 0 60000 65536"/>
                    <a:gd name="T13" fmla="*/ 0 60000 65536"/>
                    <a:gd name="T14" fmla="*/ 0 60000 65536"/>
                    <a:gd name="T15" fmla="*/ 0 w 452"/>
                    <a:gd name="T16" fmla="*/ 0 h 434"/>
                    <a:gd name="T17" fmla="*/ 452 w 452"/>
                    <a:gd name="T18" fmla="*/ 434 h 434"/>
                  </a:gdLst>
                  <a:ahLst/>
                  <a:cxnLst>
                    <a:cxn ang="T10">
                      <a:pos x="T0" y="T1"/>
                    </a:cxn>
                    <a:cxn ang="T11">
                      <a:pos x="T2" y="T3"/>
                    </a:cxn>
                    <a:cxn ang="T12">
                      <a:pos x="T4" y="T5"/>
                    </a:cxn>
                    <a:cxn ang="T13">
                      <a:pos x="T6" y="T7"/>
                    </a:cxn>
                    <a:cxn ang="T14">
                      <a:pos x="T8" y="T9"/>
                    </a:cxn>
                  </a:cxnLst>
                  <a:rect l="T15" t="T16" r="T17" b="T18"/>
                  <a:pathLst>
                    <a:path w="452" h="434">
                      <a:moveTo>
                        <a:pt x="0" y="120"/>
                      </a:moveTo>
                      <a:lnTo>
                        <a:pt x="24" y="434"/>
                      </a:lnTo>
                      <a:lnTo>
                        <a:pt x="452" y="314"/>
                      </a:lnTo>
                      <a:lnTo>
                        <a:pt x="427" y="0"/>
                      </a:lnTo>
                      <a:lnTo>
                        <a:pt x="0" y="120"/>
                      </a:lnTo>
                      <a:close/>
                    </a:path>
                  </a:pathLst>
                </a:custGeom>
                <a:solidFill>
                  <a:srgbClr val="ADA68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74" name="Freeform 29">
                  <a:extLst>
                    <a:ext uri="{FF2B5EF4-FFF2-40B4-BE49-F238E27FC236}">
                      <a16:creationId xmlns:a16="http://schemas.microsoft.com/office/drawing/2014/main" id="{04170A7E-21D4-4227-A902-D13DE0E77270}"/>
                    </a:ext>
                  </a:extLst>
                </p:cNvPr>
                <p:cNvSpPr>
                  <a:spLocks/>
                </p:cNvSpPr>
                <p:nvPr/>
              </p:nvSpPr>
              <p:spPr bwMode="auto">
                <a:xfrm>
                  <a:off x="8126413" y="466725"/>
                  <a:ext cx="241300" cy="228600"/>
                </a:xfrm>
                <a:custGeom>
                  <a:avLst/>
                  <a:gdLst>
                    <a:gd name="T0" fmla="*/ 0 w 455"/>
                    <a:gd name="T1" fmla="*/ 2147483646 h 430"/>
                    <a:gd name="T2" fmla="*/ 2147483646 w 455"/>
                    <a:gd name="T3" fmla="*/ 2147483646 h 430"/>
                    <a:gd name="T4" fmla="*/ 2147483646 w 455"/>
                    <a:gd name="T5" fmla="*/ 2147483646 h 430"/>
                    <a:gd name="T6" fmla="*/ 2147483646 w 455"/>
                    <a:gd name="T7" fmla="*/ 0 h 430"/>
                    <a:gd name="T8" fmla="*/ 0 w 455"/>
                    <a:gd name="T9" fmla="*/ 2147483646 h 430"/>
                    <a:gd name="T10" fmla="*/ 0 60000 65536"/>
                    <a:gd name="T11" fmla="*/ 0 60000 65536"/>
                    <a:gd name="T12" fmla="*/ 0 60000 65536"/>
                    <a:gd name="T13" fmla="*/ 0 60000 65536"/>
                    <a:gd name="T14" fmla="*/ 0 60000 65536"/>
                    <a:gd name="T15" fmla="*/ 0 w 455"/>
                    <a:gd name="T16" fmla="*/ 0 h 430"/>
                    <a:gd name="T17" fmla="*/ 455 w 455"/>
                    <a:gd name="T18" fmla="*/ 430 h 430"/>
                  </a:gdLst>
                  <a:ahLst/>
                  <a:cxnLst>
                    <a:cxn ang="T10">
                      <a:pos x="T0" y="T1"/>
                    </a:cxn>
                    <a:cxn ang="T11">
                      <a:pos x="T2" y="T3"/>
                    </a:cxn>
                    <a:cxn ang="T12">
                      <a:pos x="T4" y="T5"/>
                    </a:cxn>
                    <a:cxn ang="T13">
                      <a:pos x="T6" y="T7"/>
                    </a:cxn>
                    <a:cxn ang="T14">
                      <a:pos x="T8" y="T9"/>
                    </a:cxn>
                  </a:cxnLst>
                  <a:rect l="T15" t="T16" r="T17" b="T18"/>
                  <a:pathLst>
                    <a:path w="455" h="430">
                      <a:moveTo>
                        <a:pt x="0" y="124"/>
                      </a:moveTo>
                      <a:lnTo>
                        <a:pt x="12" y="430"/>
                      </a:lnTo>
                      <a:lnTo>
                        <a:pt x="455" y="306"/>
                      </a:lnTo>
                      <a:lnTo>
                        <a:pt x="443" y="0"/>
                      </a:lnTo>
                      <a:lnTo>
                        <a:pt x="0"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75" name="Freeform 30">
                  <a:extLst>
                    <a:ext uri="{FF2B5EF4-FFF2-40B4-BE49-F238E27FC236}">
                      <a16:creationId xmlns:a16="http://schemas.microsoft.com/office/drawing/2014/main" id="{C5D45718-4AAB-4B19-B4F0-C3A98C5F2240}"/>
                    </a:ext>
                  </a:extLst>
                </p:cNvPr>
                <p:cNvSpPr>
                  <a:spLocks/>
                </p:cNvSpPr>
                <p:nvPr/>
              </p:nvSpPr>
              <p:spPr bwMode="auto">
                <a:xfrm>
                  <a:off x="8132763" y="473075"/>
                  <a:ext cx="228600" cy="222250"/>
                </a:xfrm>
                <a:custGeom>
                  <a:avLst/>
                  <a:gdLst>
                    <a:gd name="T0" fmla="*/ 0 w 431"/>
                    <a:gd name="T1" fmla="*/ 2147483646 h 418"/>
                    <a:gd name="T2" fmla="*/ 0 w 431"/>
                    <a:gd name="T3" fmla="*/ 2147483646 h 418"/>
                    <a:gd name="T4" fmla="*/ 2147483646 w 431"/>
                    <a:gd name="T5" fmla="*/ 2147483646 h 418"/>
                    <a:gd name="T6" fmla="*/ 2147483646 w 431"/>
                    <a:gd name="T7" fmla="*/ 0 h 418"/>
                    <a:gd name="T8" fmla="*/ 0 w 431"/>
                    <a:gd name="T9" fmla="*/ 2147483646 h 418"/>
                    <a:gd name="T10" fmla="*/ 0 60000 65536"/>
                    <a:gd name="T11" fmla="*/ 0 60000 65536"/>
                    <a:gd name="T12" fmla="*/ 0 60000 65536"/>
                    <a:gd name="T13" fmla="*/ 0 60000 65536"/>
                    <a:gd name="T14" fmla="*/ 0 60000 65536"/>
                    <a:gd name="T15" fmla="*/ 0 w 431"/>
                    <a:gd name="T16" fmla="*/ 0 h 418"/>
                    <a:gd name="T17" fmla="*/ 431 w 431"/>
                    <a:gd name="T18" fmla="*/ 418 h 418"/>
                  </a:gdLst>
                  <a:ahLst/>
                  <a:cxnLst>
                    <a:cxn ang="T10">
                      <a:pos x="T0" y="T1"/>
                    </a:cxn>
                    <a:cxn ang="T11">
                      <a:pos x="T2" y="T3"/>
                    </a:cxn>
                    <a:cxn ang="T12">
                      <a:pos x="T4" y="T5"/>
                    </a:cxn>
                    <a:cxn ang="T13">
                      <a:pos x="T6" y="T7"/>
                    </a:cxn>
                    <a:cxn ang="T14">
                      <a:pos x="T8" y="T9"/>
                    </a:cxn>
                  </a:cxnLst>
                  <a:rect l="T15" t="T16" r="T17" b="T18"/>
                  <a:pathLst>
                    <a:path w="431" h="418">
                      <a:moveTo>
                        <a:pt x="0" y="120"/>
                      </a:moveTo>
                      <a:lnTo>
                        <a:pt x="0" y="418"/>
                      </a:lnTo>
                      <a:lnTo>
                        <a:pt x="431" y="297"/>
                      </a:lnTo>
                      <a:lnTo>
                        <a:pt x="431" y="0"/>
                      </a:lnTo>
                      <a:lnTo>
                        <a:pt x="0" y="12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76" name="Freeform 31">
                  <a:extLst>
                    <a:ext uri="{FF2B5EF4-FFF2-40B4-BE49-F238E27FC236}">
                      <a16:creationId xmlns:a16="http://schemas.microsoft.com/office/drawing/2014/main" id="{B2809FD4-9522-4370-8DF9-A2ADCD79DC2A}"/>
                    </a:ext>
                  </a:extLst>
                </p:cNvPr>
                <p:cNvSpPr>
                  <a:spLocks/>
                </p:cNvSpPr>
                <p:nvPr/>
              </p:nvSpPr>
              <p:spPr bwMode="auto">
                <a:xfrm>
                  <a:off x="8132763" y="476250"/>
                  <a:ext cx="239713" cy="219075"/>
                </a:xfrm>
                <a:custGeom>
                  <a:avLst/>
                  <a:gdLst>
                    <a:gd name="T0" fmla="*/ 2147483646 w 452"/>
                    <a:gd name="T1" fmla="*/ 2147483646 h 413"/>
                    <a:gd name="T2" fmla="*/ 0 w 452"/>
                    <a:gd name="T3" fmla="*/ 2147483646 h 413"/>
                    <a:gd name="T4" fmla="*/ 2147483646 w 452"/>
                    <a:gd name="T5" fmla="*/ 2147483646 h 413"/>
                    <a:gd name="T6" fmla="*/ 2147483646 w 452"/>
                    <a:gd name="T7" fmla="*/ 0 h 413"/>
                    <a:gd name="T8" fmla="*/ 2147483646 w 452"/>
                    <a:gd name="T9" fmla="*/ 2147483646 h 413"/>
                    <a:gd name="T10" fmla="*/ 0 60000 65536"/>
                    <a:gd name="T11" fmla="*/ 0 60000 65536"/>
                    <a:gd name="T12" fmla="*/ 0 60000 65536"/>
                    <a:gd name="T13" fmla="*/ 0 60000 65536"/>
                    <a:gd name="T14" fmla="*/ 0 60000 65536"/>
                    <a:gd name="T15" fmla="*/ 0 w 452"/>
                    <a:gd name="T16" fmla="*/ 0 h 413"/>
                    <a:gd name="T17" fmla="*/ 452 w 452"/>
                    <a:gd name="T18" fmla="*/ 413 h 413"/>
                  </a:gdLst>
                  <a:ahLst/>
                  <a:cxnLst>
                    <a:cxn ang="T10">
                      <a:pos x="T0" y="T1"/>
                    </a:cxn>
                    <a:cxn ang="T11">
                      <a:pos x="T2" y="T3"/>
                    </a:cxn>
                    <a:cxn ang="T12">
                      <a:pos x="T4" y="T5"/>
                    </a:cxn>
                    <a:cxn ang="T13">
                      <a:pos x="T6" y="T7"/>
                    </a:cxn>
                    <a:cxn ang="T14">
                      <a:pos x="T8" y="T9"/>
                    </a:cxn>
                  </a:cxnLst>
                  <a:rect l="T15" t="T16" r="T17" b="T18"/>
                  <a:pathLst>
                    <a:path w="452" h="413">
                      <a:moveTo>
                        <a:pt x="9" y="124"/>
                      </a:moveTo>
                      <a:lnTo>
                        <a:pt x="0" y="413"/>
                      </a:lnTo>
                      <a:lnTo>
                        <a:pt x="443" y="289"/>
                      </a:lnTo>
                      <a:lnTo>
                        <a:pt x="452" y="0"/>
                      </a:lnTo>
                      <a:lnTo>
                        <a:pt x="9" y="124"/>
                      </a:lnTo>
                      <a:close/>
                    </a:path>
                  </a:pathLst>
                </a:custGeom>
                <a:solidFill>
                  <a:srgbClr val="CCECF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77" name="Freeform 32">
                  <a:extLst>
                    <a:ext uri="{FF2B5EF4-FFF2-40B4-BE49-F238E27FC236}">
                      <a16:creationId xmlns:a16="http://schemas.microsoft.com/office/drawing/2014/main" id="{6B5674C1-F779-4101-81B1-705939A1245C}"/>
                    </a:ext>
                  </a:extLst>
                </p:cNvPr>
                <p:cNvSpPr>
                  <a:spLocks/>
                </p:cNvSpPr>
                <p:nvPr/>
              </p:nvSpPr>
              <p:spPr bwMode="auto">
                <a:xfrm>
                  <a:off x="8129588" y="695325"/>
                  <a:ext cx="6350" cy="6350"/>
                </a:xfrm>
                <a:custGeom>
                  <a:avLst/>
                  <a:gdLst>
                    <a:gd name="T0" fmla="*/ 0 w 13"/>
                    <a:gd name="T1" fmla="*/ 0 h 12"/>
                    <a:gd name="T2" fmla="*/ 2147483646 w 13"/>
                    <a:gd name="T3" fmla="*/ 2147483646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0" y="0"/>
                      </a:moveTo>
                      <a:lnTo>
                        <a:pt x="13" y="1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78" name="Line 33">
                  <a:extLst>
                    <a:ext uri="{FF2B5EF4-FFF2-40B4-BE49-F238E27FC236}">
                      <a16:creationId xmlns:a16="http://schemas.microsoft.com/office/drawing/2014/main" id="{604ED9E2-227A-4FA8-86FE-F53F8CFA01A9}"/>
                    </a:ext>
                  </a:extLst>
                </p:cNvPr>
                <p:cNvSpPr>
                  <a:spLocks noChangeShapeType="1"/>
                </p:cNvSpPr>
                <p:nvPr/>
              </p:nvSpPr>
              <p:spPr bwMode="auto">
                <a:xfrm>
                  <a:off x="8129588" y="695325"/>
                  <a:ext cx="6350" cy="635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79" name="Freeform 34">
                  <a:extLst>
                    <a:ext uri="{FF2B5EF4-FFF2-40B4-BE49-F238E27FC236}">
                      <a16:creationId xmlns:a16="http://schemas.microsoft.com/office/drawing/2014/main" id="{AEB625C9-310B-4ADA-866F-BACABDAC4F00}"/>
                    </a:ext>
                  </a:extLst>
                </p:cNvPr>
                <p:cNvSpPr>
                  <a:spLocks/>
                </p:cNvSpPr>
                <p:nvPr/>
              </p:nvSpPr>
              <p:spPr bwMode="auto">
                <a:xfrm>
                  <a:off x="8135938" y="498475"/>
                  <a:ext cx="258763" cy="203200"/>
                </a:xfrm>
                <a:custGeom>
                  <a:avLst/>
                  <a:gdLst>
                    <a:gd name="T0" fmla="*/ 2147483646 w 488"/>
                    <a:gd name="T1" fmla="*/ 2147483646 h 384"/>
                    <a:gd name="T2" fmla="*/ 2147483646 w 488"/>
                    <a:gd name="T3" fmla="*/ 0 h 384"/>
                    <a:gd name="T4" fmla="*/ 2147483646 w 488"/>
                    <a:gd name="T5" fmla="*/ 2147483646 h 384"/>
                    <a:gd name="T6" fmla="*/ 0 w 488"/>
                    <a:gd name="T7" fmla="*/ 2147483646 h 384"/>
                    <a:gd name="T8" fmla="*/ 2147483646 w 488"/>
                    <a:gd name="T9" fmla="*/ 2147483646 h 384"/>
                    <a:gd name="T10" fmla="*/ 2147483646 w 488"/>
                    <a:gd name="T11" fmla="*/ 2147483646 h 384"/>
                    <a:gd name="T12" fmla="*/ 2147483646 w 488"/>
                    <a:gd name="T13" fmla="*/ 2147483646 h 384"/>
                    <a:gd name="T14" fmla="*/ 2147483646 w 488"/>
                    <a:gd name="T15" fmla="*/ 2147483646 h 384"/>
                    <a:gd name="T16" fmla="*/ 2147483646 w 488"/>
                    <a:gd name="T17" fmla="*/ 2147483646 h 3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8"/>
                    <a:gd name="T28" fmla="*/ 0 h 384"/>
                    <a:gd name="T29" fmla="*/ 488 w 488"/>
                    <a:gd name="T30" fmla="*/ 384 h 38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8" h="384">
                      <a:moveTo>
                        <a:pt x="338" y="41"/>
                      </a:moveTo>
                      <a:lnTo>
                        <a:pt x="488" y="0"/>
                      </a:lnTo>
                      <a:lnTo>
                        <a:pt x="447" y="260"/>
                      </a:lnTo>
                      <a:lnTo>
                        <a:pt x="0" y="384"/>
                      </a:lnTo>
                      <a:lnTo>
                        <a:pt x="44" y="104"/>
                      </a:lnTo>
                      <a:lnTo>
                        <a:pt x="55" y="91"/>
                      </a:lnTo>
                      <a:lnTo>
                        <a:pt x="308" y="21"/>
                      </a:lnTo>
                      <a:lnTo>
                        <a:pt x="338" y="41"/>
                      </a:lnTo>
                      <a:close/>
                    </a:path>
                  </a:pathLst>
                </a:custGeom>
                <a:solidFill>
                  <a:srgbClr val="CEC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80" name="Freeform 35">
                  <a:extLst>
                    <a:ext uri="{FF2B5EF4-FFF2-40B4-BE49-F238E27FC236}">
                      <a16:creationId xmlns:a16="http://schemas.microsoft.com/office/drawing/2014/main" id="{3F784B81-6D13-4A86-BA91-B9F5498280C6}"/>
                    </a:ext>
                  </a:extLst>
                </p:cNvPr>
                <p:cNvSpPr>
                  <a:spLocks/>
                </p:cNvSpPr>
                <p:nvPr/>
              </p:nvSpPr>
              <p:spPr bwMode="auto">
                <a:xfrm>
                  <a:off x="8135938" y="539750"/>
                  <a:ext cx="241300" cy="161925"/>
                </a:xfrm>
                <a:custGeom>
                  <a:avLst/>
                  <a:gdLst>
                    <a:gd name="T0" fmla="*/ 2147483646 w 456"/>
                    <a:gd name="T1" fmla="*/ 2147483646 h 305"/>
                    <a:gd name="T2" fmla="*/ 2147483646 w 456"/>
                    <a:gd name="T3" fmla="*/ 2147483646 h 305"/>
                    <a:gd name="T4" fmla="*/ 2147483646 w 456"/>
                    <a:gd name="T5" fmla="*/ 2147483646 h 305"/>
                    <a:gd name="T6" fmla="*/ 2147483646 w 456"/>
                    <a:gd name="T7" fmla="*/ 2147483646 h 305"/>
                    <a:gd name="T8" fmla="*/ 0 w 456"/>
                    <a:gd name="T9" fmla="*/ 2147483646 h 305"/>
                    <a:gd name="T10" fmla="*/ 2147483646 w 456"/>
                    <a:gd name="T11" fmla="*/ 2147483646 h 305"/>
                    <a:gd name="T12" fmla="*/ 2147483646 w 456"/>
                    <a:gd name="T13" fmla="*/ 2147483646 h 305"/>
                    <a:gd name="T14" fmla="*/ 2147483646 w 456"/>
                    <a:gd name="T15" fmla="*/ 2147483646 h 305"/>
                    <a:gd name="T16" fmla="*/ 2147483646 w 456"/>
                    <a:gd name="T17" fmla="*/ 2147483646 h 305"/>
                    <a:gd name="T18" fmla="*/ 2147483646 w 456"/>
                    <a:gd name="T19" fmla="*/ 2147483646 h 305"/>
                    <a:gd name="T20" fmla="*/ 2147483646 w 456"/>
                    <a:gd name="T21" fmla="*/ 2147483646 h 305"/>
                    <a:gd name="T22" fmla="*/ 2147483646 w 456"/>
                    <a:gd name="T23" fmla="*/ 2147483646 h 305"/>
                    <a:gd name="T24" fmla="*/ 2147483646 w 456"/>
                    <a:gd name="T25" fmla="*/ 2147483646 h 305"/>
                    <a:gd name="T26" fmla="*/ 2147483646 w 456"/>
                    <a:gd name="T27" fmla="*/ 2147483646 h 305"/>
                    <a:gd name="T28" fmla="*/ 2147483646 w 456"/>
                    <a:gd name="T29" fmla="*/ 2147483646 h 305"/>
                    <a:gd name="T30" fmla="*/ 2147483646 w 456"/>
                    <a:gd name="T31" fmla="*/ 2147483646 h 305"/>
                    <a:gd name="T32" fmla="*/ 2147483646 w 456"/>
                    <a:gd name="T33" fmla="*/ 2147483646 h 305"/>
                    <a:gd name="T34" fmla="*/ 2147483646 w 456"/>
                    <a:gd name="T35" fmla="*/ 2147483646 h 305"/>
                    <a:gd name="T36" fmla="*/ 2147483646 w 456"/>
                    <a:gd name="T37" fmla="*/ 2147483646 h 305"/>
                    <a:gd name="T38" fmla="*/ 2147483646 w 456"/>
                    <a:gd name="T39" fmla="*/ 2147483646 h 305"/>
                    <a:gd name="T40" fmla="*/ 2147483646 w 456"/>
                    <a:gd name="T41" fmla="*/ 2147483646 h 305"/>
                    <a:gd name="T42" fmla="*/ 2147483646 w 456"/>
                    <a:gd name="T43" fmla="*/ 2147483646 h 305"/>
                    <a:gd name="T44" fmla="*/ 2147483646 w 456"/>
                    <a:gd name="T45" fmla="*/ 2147483646 h 305"/>
                    <a:gd name="T46" fmla="*/ 2147483646 w 456"/>
                    <a:gd name="T47" fmla="*/ 2147483646 h 305"/>
                    <a:gd name="T48" fmla="*/ 2147483646 w 456"/>
                    <a:gd name="T49" fmla="*/ 2147483646 h 305"/>
                    <a:gd name="T50" fmla="*/ 2147483646 w 456"/>
                    <a:gd name="T51" fmla="*/ 2147483646 h 305"/>
                    <a:gd name="T52" fmla="*/ 2147483646 w 456"/>
                    <a:gd name="T53" fmla="*/ 2147483646 h 305"/>
                    <a:gd name="T54" fmla="*/ 2147483646 w 456"/>
                    <a:gd name="T55" fmla="*/ 2147483646 h 305"/>
                    <a:gd name="T56" fmla="*/ 2147483646 w 456"/>
                    <a:gd name="T57" fmla="*/ 2147483646 h 305"/>
                    <a:gd name="T58" fmla="*/ 2147483646 w 456"/>
                    <a:gd name="T59" fmla="*/ 2147483646 h 305"/>
                    <a:gd name="T60" fmla="*/ 2147483646 w 456"/>
                    <a:gd name="T61" fmla="*/ 0 h 305"/>
                    <a:gd name="T62" fmla="*/ 2147483646 w 456"/>
                    <a:gd name="T63" fmla="*/ 0 h 305"/>
                    <a:gd name="T64" fmla="*/ 2147483646 w 456"/>
                    <a:gd name="T65" fmla="*/ 2147483646 h 305"/>
                    <a:gd name="T66" fmla="*/ 2147483646 w 456"/>
                    <a:gd name="T67" fmla="*/ 2147483646 h 30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56"/>
                    <a:gd name="T103" fmla="*/ 0 h 305"/>
                    <a:gd name="T104" fmla="*/ 456 w 456"/>
                    <a:gd name="T105" fmla="*/ 305 h 30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56" h="305">
                      <a:moveTo>
                        <a:pt x="95" y="1"/>
                      </a:moveTo>
                      <a:lnTo>
                        <a:pt x="95" y="1"/>
                      </a:lnTo>
                      <a:lnTo>
                        <a:pt x="55" y="12"/>
                      </a:lnTo>
                      <a:lnTo>
                        <a:pt x="44" y="25"/>
                      </a:lnTo>
                      <a:lnTo>
                        <a:pt x="0" y="305"/>
                      </a:lnTo>
                      <a:lnTo>
                        <a:pt x="447" y="181"/>
                      </a:lnTo>
                      <a:lnTo>
                        <a:pt x="456" y="125"/>
                      </a:lnTo>
                      <a:lnTo>
                        <a:pt x="435" y="128"/>
                      </a:lnTo>
                      <a:lnTo>
                        <a:pt x="416" y="130"/>
                      </a:lnTo>
                      <a:lnTo>
                        <a:pt x="397" y="131"/>
                      </a:lnTo>
                      <a:lnTo>
                        <a:pt x="379" y="130"/>
                      </a:lnTo>
                      <a:lnTo>
                        <a:pt x="363" y="129"/>
                      </a:lnTo>
                      <a:lnTo>
                        <a:pt x="347" y="127"/>
                      </a:lnTo>
                      <a:lnTo>
                        <a:pt x="333" y="123"/>
                      </a:lnTo>
                      <a:lnTo>
                        <a:pt x="319" y="120"/>
                      </a:lnTo>
                      <a:lnTo>
                        <a:pt x="307" y="115"/>
                      </a:lnTo>
                      <a:lnTo>
                        <a:pt x="295" y="110"/>
                      </a:lnTo>
                      <a:lnTo>
                        <a:pt x="283" y="105"/>
                      </a:lnTo>
                      <a:lnTo>
                        <a:pt x="273" y="99"/>
                      </a:lnTo>
                      <a:lnTo>
                        <a:pt x="253" y="85"/>
                      </a:lnTo>
                      <a:lnTo>
                        <a:pt x="235" y="71"/>
                      </a:lnTo>
                      <a:lnTo>
                        <a:pt x="202" y="43"/>
                      </a:lnTo>
                      <a:lnTo>
                        <a:pt x="186" y="30"/>
                      </a:lnTo>
                      <a:lnTo>
                        <a:pt x="170" y="18"/>
                      </a:lnTo>
                      <a:lnTo>
                        <a:pt x="162" y="13"/>
                      </a:lnTo>
                      <a:lnTo>
                        <a:pt x="154" y="9"/>
                      </a:lnTo>
                      <a:lnTo>
                        <a:pt x="146" y="6"/>
                      </a:lnTo>
                      <a:lnTo>
                        <a:pt x="136" y="3"/>
                      </a:lnTo>
                      <a:lnTo>
                        <a:pt x="127" y="1"/>
                      </a:lnTo>
                      <a:lnTo>
                        <a:pt x="117" y="0"/>
                      </a:lnTo>
                      <a:lnTo>
                        <a:pt x="106" y="0"/>
                      </a:lnTo>
                      <a:lnTo>
                        <a:pt x="95" y="1"/>
                      </a:lnTo>
                      <a:close/>
                    </a:path>
                  </a:pathLst>
                </a:custGeom>
                <a:solidFill>
                  <a:srgbClr val="C2BC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81" name="Freeform 36">
                  <a:extLst>
                    <a:ext uri="{FF2B5EF4-FFF2-40B4-BE49-F238E27FC236}">
                      <a16:creationId xmlns:a16="http://schemas.microsoft.com/office/drawing/2014/main" id="{B9A30E9C-D26C-41BB-85D1-24B226BC9C50}"/>
                    </a:ext>
                  </a:extLst>
                </p:cNvPr>
                <p:cNvSpPr>
                  <a:spLocks/>
                </p:cNvSpPr>
                <p:nvPr/>
              </p:nvSpPr>
              <p:spPr bwMode="auto">
                <a:xfrm>
                  <a:off x="8135938" y="547688"/>
                  <a:ext cx="26988" cy="153988"/>
                </a:xfrm>
                <a:custGeom>
                  <a:avLst/>
                  <a:gdLst>
                    <a:gd name="T0" fmla="*/ 2147483646 w 52"/>
                    <a:gd name="T1" fmla="*/ 0 h 290"/>
                    <a:gd name="T2" fmla="*/ 2147483646 w 52"/>
                    <a:gd name="T3" fmla="*/ 0 h 290"/>
                    <a:gd name="T4" fmla="*/ 2147483646 w 52"/>
                    <a:gd name="T5" fmla="*/ 2147483646 h 290"/>
                    <a:gd name="T6" fmla="*/ 2147483646 w 52"/>
                    <a:gd name="T7" fmla="*/ 2147483646 h 290"/>
                    <a:gd name="T8" fmla="*/ 0 w 52"/>
                    <a:gd name="T9" fmla="*/ 2147483646 h 290"/>
                    <a:gd name="T10" fmla="*/ 2147483646 w 52"/>
                    <a:gd name="T11" fmla="*/ 2147483646 h 290"/>
                    <a:gd name="T12" fmla="*/ 2147483646 w 52"/>
                    <a:gd name="T13" fmla="*/ 0 h 290"/>
                    <a:gd name="T14" fmla="*/ 0 60000 65536"/>
                    <a:gd name="T15" fmla="*/ 0 60000 65536"/>
                    <a:gd name="T16" fmla="*/ 0 60000 65536"/>
                    <a:gd name="T17" fmla="*/ 0 60000 65536"/>
                    <a:gd name="T18" fmla="*/ 0 60000 65536"/>
                    <a:gd name="T19" fmla="*/ 0 60000 65536"/>
                    <a:gd name="T20" fmla="*/ 0 60000 65536"/>
                    <a:gd name="T21" fmla="*/ 0 w 52"/>
                    <a:gd name="T22" fmla="*/ 0 h 290"/>
                    <a:gd name="T23" fmla="*/ 52 w 52"/>
                    <a:gd name="T24" fmla="*/ 290 h 2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290">
                      <a:moveTo>
                        <a:pt x="52" y="0"/>
                      </a:moveTo>
                      <a:lnTo>
                        <a:pt x="52" y="0"/>
                      </a:lnTo>
                      <a:lnTo>
                        <a:pt x="35" y="5"/>
                      </a:lnTo>
                      <a:lnTo>
                        <a:pt x="23" y="19"/>
                      </a:lnTo>
                      <a:lnTo>
                        <a:pt x="0" y="290"/>
                      </a:lnTo>
                      <a:lnTo>
                        <a:pt x="44" y="10"/>
                      </a:lnTo>
                      <a:lnTo>
                        <a:pt x="52" y="0"/>
                      </a:lnTo>
                      <a:close/>
                    </a:path>
                  </a:pathLst>
                </a:custGeom>
                <a:solidFill>
                  <a:srgbClr val="99D9E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82" name="Freeform 37">
                  <a:extLst>
                    <a:ext uri="{FF2B5EF4-FFF2-40B4-BE49-F238E27FC236}">
                      <a16:creationId xmlns:a16="http://schemas.microsoft.com/office/drawing/2014/main" id="{706DB98E-E9A3-4AF5-9414-1F6BDB3FA089}"/>
                    </a:ext>
                  </a:extLst>
                </p:cNvPr>
                <p:cNvSpPr>
                  <a:spLocks/>
                </p:cNvSpPr>
                <p:nvPr/>
              </p:nvSpPr>
              <p:spPr bwMode="auto">
                <a:xfrm>
                  <a:off x="8135938" y="630238"/>
                  <a:ext cx="87313" cy="71438"/>
                </a:xfrm>
                <a:custGeom>
                  <a:avLst/>
                  <a:gdLst>
                    <a:gd name="T0" fmla="*/ 2147483646 w 165"/>
                    <a:gd name="T1" fmla="*/ 2147483646 h 134"/>
                    <a:gd name="T2" fmla="*/ 0 w 165"/>
                    <a:gd name="T3" fmla="*/ 2147483646 h 134"/>
                    <a:gd name="T4" fmla="*/ 2147483646 w 165"/>
                    <a:gd name="T5" fmla="*/ 0 h 134"/>
                    <a:gd name="T6" fmla="*/ 2147483646 w 165"/>
                    <a:gd name="T7" fmla="*/ 0 h 134"/>
                    <a:gd name="T8" fmla="*/ 2147483646 w 165"/>
                    <a:gd name="T9" fmla="*/ 2147483646 h 134"/>
                    <a:gd name="T10" fmla="*/ 2147483646 w 165"/>
                    <a:gd name="T11" fmla="*/ 2147483646 h 134"/>
                    <a:gd name="T12" fmla="*/ 2147483646 w 165"/>
                    <a:gd name="T13" fmla="*/ 2147483646 h 134"/>
                    <a:gd name="T14" fmla="*/ 2147483646 w 165"/>
                    <a:gd name="T15" fmla="*/ 2147483646 h 134"/>
                    <a:gd name="T16" fmla="*/ 2147483646 w 165"/>
                    <a:gd name="T17" fmla="*/ 2147483646 h 134"/>
                    <a:gd name="T18" fmla="*/ 2147483646 w 165"/>
                    <a:gd name="T19" fmla="*/ 2147483646 h 134"/>
                    <a:gd name="T20" fmla="*/ 2147483646 w 165"/>
                    <a:gd name="T21" fmla="*/ 2147483646 h 134"/>
                    <a:gd name="T22" fmla="*/ 2147483646 w 165"/>
                    <a:gd name="T23" fmla="*/ 2147483646 h 134"/>
                    <a:gd name="T24" fmla="*/ 2147483646 w 165"/>
                    <a:gd name="T25" fmla="*/ 2147483646 h 134"/>
                    <a:gd name="T26" fmla="*/ 2147483646 w 165"/>
                    <a:gd name="T27" fmla="*/ 2147483646 h 134"/>
                    <a:gd name="T28" fmla="*/ 2147483646 w 165"/>
                    <a:gd name="T29" fmla="*/ 2147483646 h 134"/>
                    <a:gd name="T30" fmla="*/ 2147483646 w 165"/>
                    <a:gd name="T31" fmla="*/ 2147483646 h 134"/>
                    <a:gd name="T32" fmla="*/ 2147483646 w 165"/>
                    <a:gd name="T33" fmla="*/ 2147483646 h 134"/>
                    <a:gd name="T34" fmla="*/ 2147483646 w 165"/>
                    <a:gd name="T35" fmla="*/ 2147483646 h 1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5"/>
                    <a:gd name="T55" fmla="*/ 0 h 134"/>
                    <a:gd name="T56" fmla="*/ 165 w 165"/>
                    <a:gd name="T57" fmla="*/ 134 h 1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5" h="134">
                      <a:moveTo>
                        <a:pt x="165" y="88"/>
                      </a:moveTo>
                      <a:lnTo>
                        <a:pt x="0" y="134"/>
                      </a:lnTo>
                      <a:lnTo>
                        <a:pt x="20" y="0"/>
                      </a:lnTo>
                      <a:lnTo>
                        <a:pt x="31" y="3"/>
                      </a:lnTo>
                      <a:lnTo>
                        <a:pt x="40" y="7"/>
                      </a:lnTo>
                      <a:lnTo>
                        <a:pt x="48" y="13"/>
                      </a:lnTo>
                      <a:lnTo>
                        <a:pt x="56" y="20"/>
                      </a:lnTo>
                      <a:lnTo>
                        <a:pt x="72" y="34"/>
                      </a:lnTo>
                      <a:lnTo>
                        <a:pt x="88" y="51"/>
                      </a:lnTo>
                      <a:lnTo>
                        <a:pt x="103" y="66"/>
                      </a:lnTo>
                      <a:lnTo>
                        <a:pt x="111" y="72"/>
                      </a:lnTo>
                      <a:lnTo>
                        <a:pt x="121" y="78"/>
                      </a:lnTo>
                      <a:lnTo>
                        <a:pt x="131" y="84"/>
                      </a:lnTo>
                      <a:lnTo>
                        <a:pt x="141" y="87"/>
                      </a:lnTo>
                      <a:lnTo>
                        <a:pt x="153" y="89"/>
                      </a:lnTo>
                      <a:lnTo>
                        <a:pt x="165" y="88"/>
                      </a:lnTo>
                      <a:close/>
                    </a:path>
                  </a:pathLst>
                </a:custGeom>
                <a:solidFill>
                  <a:srgbClr val="B6B09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83" name="Freeform 38">
                  <a:extLst>
                    <a:ext uri="{FF2B5EF4-FFF2-40B4-BE49-F238E27FC236}">
                      <a16:creationId xmlns:a16="http://schemas.microsoft.com/office/drawing/2014/main" id="{96BB7EEF-05D2-4514-B75A-B02A912F113A}"/>
                    </a:ext>
                  </a:extLst>
                </p:cNvPr>
                <p:cNvSpPr>
                  <a:spLocks noEditPoints="1"/>
                </p:cNvSpPr>
                <p:nvPr/>
              </p:nvSpPr>
              <p:spPr bwMode="auto">
                <a:xfrm>
                  <a:off x="8107363" y="439738"/>
                  <a:ext cx="288925" cy="263525"/>
                </a:xfrm>
                <a:custGeom>
                  <a:avLst/>
                  <a:gdLst>
                    <a:gd name="T0" fmla="*/ 2147483646 w 546"/>
                    <a:gd name="T1" fmla="*/ 2147483646 h 498"/>
                    <a:gd name="T2" fmla="*/ 2147483646 w 546"/>
                    <a:gd name="T3" fmla="*/ 2147483646 h 498"/>
                    <a:gd name="T4" fmla="*/ 2147483646 w 546"/>
                    <a:gd name="T5" fmla="*/ 2147483646 h 498"/>
                    <a:gd name="T6" fmla="*/ 2147483646 w 546"/>
                    <a:gd name="T7" fmla="*/ 2147483646 h 498"/>
                    <a:gd name="T8" fmla="*/ 2147483646 w 546"/>
                    <a:gd name="T9" fmla="*/ 2147483646 h 498"/>
                    <a:gd name="T10" fmla="*/ 2147483646 w 546"/>
                    <a:gd name="T11" fmla="*/ 2147483646 h 498"/>
                    <a:gd name="T12" fmla="*/ 2147483646 w 546"/>
                    <a:gd name="T13" fmla="*/ 2147483646 h 498"/>
                    <a:gd name="T14" fmla="*/ 2147483646 w 546"/>
                    <a:gd name="T15" fmla="*/ 2147483646 h 498"/>
                    <a:gd name="T16" fmla="*/ 2147483646 w 546"/>
                    <a:gd name="T17" fmla="*/ 2147483646 h 498"/>
                    <a:gd name="T18" fmla="*/ 2147483646 w 546"/>
                    <a:gd name="T19" fmla="*/ 2147483646 h 498"/>
                    <a:gd name="T20" fmla="*/ 2147483646 w 546"/>
                    <a:gd name="T21" fmla="*/ 2147483646 h 498"/>
                    <a:gd name="T22" fmla="*/ 2147483646 w 546"/>
                    <a:gd name="T23" fmla="*/ 2147483646 h 498"/>
                    <a:gd name="T24" fmla="*/ 2147483646 w 546"/>
                    <a:gd name="T25" fmla="*/ 2147483646 h 498"/>
                    <a:gd name="T26" fmla="*/ 2147483646 w 546"/>
                    <a:gd name="T27" fmla="*/ 2147483646 h 498"/>
                    <a:gd name="T28" fmla="*/ 2147483646 w 546"/>
                    <a:gd name="T29" fmla="*/ 2147483646 h 498"/>
                    <a:gd name="T30" fmla="*/ 2147483646 w 546"/>
                    <a:gd name="T31" fmla="*/ 2147483646 h 498"/>
                    <a:gd name="T32" fmla="*/ 2147483646 w 546"/>
                    <a:gd name="T33" fmla="*/ 2147483646 h 498"/>
                    <a:gd name="T34" fmla="*/ 2147483646 w 546"/>
                    <a:gd name="T35" fmla="*/ 2147483646 h 498"/>
                    <a:gd name="T36" fmla="*/ 2147483646 w 546"/>
                    <a:gd name="T37" fmla="*/ 2147483646 h 498"/>
                    <a:gd name="T38" fmla="*/ 2147483646 w 546"/>
                    <a:gd name="T39" fmla="*/ 2147483646 h 498"/>
                    <a:gd name="T40" fmla="*/ 2147483646 w 546"/>
                    <a:gd name="T41" fmla="*/ 2147483646 h 498"/>
                    <a:gd name="T42" fmla="*/ 2147483646 w 546"/>
                    <a:gd name="T43" fmla="*/ 2147483646 h 498"/>
                    <a:gd name="T44" fmla="*/ 2147483646 w 546"/>
                    <a:gd name="T45" fmla="*/ 2147483646 h 498"/>
                    <a:gd name="T46" fmla="*/ 2147483646 w 546"/>
                    <a:gd name="T47" fmla="*/ 2147483646 h 498"/>
                    <a:gd name="T48" fmla="*/ 2147483646 w 546"/>
                    <a:gd name="T49" fmla="*/ 2147483646 h 498"/>
                    <a:gd name="T50" fmla="*/ 2147483646 w 546"/>
                    <a:gd name="T51" fmla="*/ 2147483646 h 498"/>
                    <a:gd name="T52" fmla="*/ 2147483646 w 546"/>
                    <a:gd name="T53" fmla="*/ 2147483646 h 498"/>
                    <a:gd name="T54" fmla="*/ 2147483646 w 546"/>
                    <a:gd name="T55" fmla="*/ 2147483646 h 498"/>
                    <a:gd name="T56" fmla="*/ 2147483646 w 546"/>
                    <a:gd name="T57" fmla="*/ 2147483646 h 498"/>
                    <a:gd name="T58" fmla="*/ 2147483646 w 546"/>
                    <a:gd name="T59" fmla="*/ 2147483646 h 498"/>
                    <a:gd name="T60" fmla="*/ 2147483646 w 546"/>
                    <a:gd name="T61" fmla="*/ 2147483646 h 498"/>
                    <a:gd name="T62" fmla="*/ 2147483646 w 546"/>
                    <a:gd name="T63" fmla="*/ 2147483646 h 498"/>
                    <a:gd name="T64" fmla="*/ 2147483646 w 546"/>
                    <a:gd name="T65" fmla="*/ 2147483646 h 498"/>
                    <a:gd name="T66" fmla="*/ 2147483646 w 546"/>
                    <a:gd name="T67" fmla="*/ 2147483646 h 498"/>
                    <a:gd name="T68" fmla="*/ 2147483646 w 546"/>
                    <a:gd name="T69" fmla="*/ 2147483646 h 498"/>
                    <a:gd name="T70" fmla="*/ 2147483646 w 546"/>
                    <a:gd name="T71" fmla="*/ 2147483646 h 498"/>
                    <a:gd name="T72" fmla="*/ 2147483646 w 546"/>
                    <a:gd name="T73" fmla="*/ 2147483646 h 498"/>
                    <a:gd name="T74" fmla="*/ 2147483646 w 546"/>
                    <a:gd name="T75" fmla="*/ 2147483646 h 498"/>
                    <a:gd name="T76" fmla="*/ 2147483646 w 546"/>
                    <a:gd name="T77" fmla="*/ 0 h 498"/>
                    <a:gd name="T78" fmla="*/ 2147483646 w 546"/>
                    <a:gd name="T79" fmla="*/ 2147483646 h 498"/>
                    <a:gd name="T80" fmla="*/ 2147483646 w 546"/>
                    <a:gd name="T81" fmla="*/ 2147483646 h 498"/>
                    <a:gd name="T82" fmla="*/ 2147483646 w 546"/>
                    <a:gd name="T83" fmla="*/ 2147483646 h 498"/>
                    <a:gd name="T84" fmla="*/ 0 w 546"/>
                    <a:gd name="T85" fmla="*/ 2147483646 h 498"/>
                    <a:gd name="T86" fmla="*/ 2147483646 w 546"/>
                    <a:gd name="T87" fmla="*/ 2147483646 h 498"/>
                    <a:gd name="T88" fmla="*/ 2147483646 w 546"/>
                    <a:gd name="T89" fmla="*/ 2147483646 h 498"/>
                    <a:gd name="T90" fmla="*/ 2147483646 w 546"/>
                    <a:gd name="T91" fmla="*/ 2147483646 h 498"/>
                    <a:gd name="T92" fmla="*/ 2147483646 w 546"/>
                    <a:gd name="T93" fmla="*/ 2147483646 h 498"/>
                    <a:gd name="T94" fmla="*/ 2147483646 w 546"/>
                    <a:gd name="T95" fmla="*/ 2147483646 h 498"/>
                    <a:gd name="T96" fmla="*/ 2147483646 w 546"/>
                    <a:gd name="T97" fmla="*/ 2147483646 h 498"/>
                    <a:gd name="T98" fmla="*/ 2147483646 w 546"/>
                    <a:gd name="T99" fmla="*/ 2147483646 h 49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6"/>
                    <a:gd name="T151" fmla="*/ 0 h 498"/>
                    <a:gd name="T152" fmla="*/ 546 w 546"/>
                    <a:gd name="T153" fmla="*/ 498 h 49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6" h="498">
                      <a:moveTo>
                        <a:pt x="497" y="367"/>
                      </a:moveTo>
                      <a:lnTo>
                        <a:pt x="497" y="367"/>
                      </a:lnTo>
                      <a:lnTo>
                        <a:pt x="59" y="488"/>
                      </a:lnTo>
                      <a:lnTo>
                        <a:pt x="101" y="216"/>
                      </a:lnTo>
                      <a:lnTo>
                        <a:pt x="112" y="204"/>
                      </a:lnTo>
                      <a:lnTo>
                        <a:pt x="121" y="202"/>
                      </a:lnTo>
                      <a:lnTo>
                        <a:pt x="361" y="136"/>
                      </a:lnTo>
                      <a:lnTo>
                        <a:pt x="389" y="156"/>
                      </a:lnTo>
                      <a:lnTo>
                        <a:pt x="391" y="156"/>
                      </a:lnTo>
                      <a:lnTo>
                        <a:pt x="393" y="156"/>
                      </a:lnTo>
                      <a:lnTo>
                        <a:pt x="537" y="116"/>
                      </a:lnTo>
                      <a:lnTo>
                        <a:pt x="497" y="367"/>
                      </a:lnTo>
                      <a:close/>
                      <a:moveTo>
                        <a:pt x="8" y="163"/>
                      </a:moveTo>
                      <a:lnTo>
                        <a:pt x="8" y="163"/>
                      </a:lnTo>
                      <a:lnTo>
                        <a:pt x="297" y="82"/>
                      </a:lnTo>
                      <a:lnTo>
                        <a:pt x="299" y="82"/>
                      </a:lnTo>
                      <a:lnTo>
                        <a:pt x="300" y="80"/>
                      </a:lnTo>
                      <a:lnTo>
                        <a:pt x="318" y="40"/>
                      </a:lnTo>
                      <a:lnTo>
                        <a:pt x="430" y="8"/>
                      </a:lnTo>
                      <a:lnTo>
                        <a:pt x="445" y="18"/>
                      </a:lnTo>
                      <a:lnTo>
                        <a:pt x="449" y="56"/>
                      </a:lnTo>
                      <a:lnTo>
                        <a:pt x="36" y="172"/>
                      </a:lnTo>
                      <a:lnTo>
                        <a:pt x="34" y="174"/>
                      </a:lnTo>
                      <a:lnTo>
                        <a:pt x="33" y="176"/>
                      </a:lnTo>
                      <a:lnTo>
                        <a:pt x="45" y="477"/>
                      </a:lnTo>
                      <a:lnTo>
                        <a:pt x="44" y="477"/>
                      </a:lnTo>
                      <a:lnTo>
                        <a:pt x="8" y="163"/>
                      </a:lnTo>
                      <a:close/>
                      <a:moveTo>
                        <a:pt x="477" y="71"/>
                      </a:moveTo>
                      <a:lnTo>
                        <a:pt x="57" y="189"/>
                      </a:lnTo>
                      <a:lnTo>
                        <a:pt x="55" y="191"/>
                      </a:lnTo>
                      <a:lnTo>
                        <a:pt x="54" y="193"/>
                      </a:lnTo>
                      <a:lnTo>
                        <a:pt x="48" y="362"/>
                      </a:lnTo>
                      <a:lnTo>
                        <a:pt x="41" y="179"/>
                      </a:lnTo>
                      <a:lnTo>
                        <a:pt x="476" y="57"/>
                      </a:lnTo>
                      <a:lnTo>
                        <a:pt x="477" y="71"/>
                      </a:lnTo>
                      <a:close/>
                      <a:moveTo>
                        <a:pt x="110" y="205"/>
                      </a:moveTo>
                      <a:lnTo>
                        <a:pt x="110" y="205"/>
                      </a:lnTo>
                      <a:lnTo>
                        <a:pt x="109" y="205"/>
                      </a:lnTo>
                      <a:lnTo>
                        <a:pt x="110" y="205"/>
                      </a:lnTo>
                      <a:close/>
                      <a:moveTo>
                        <a:pt x="496" y="118"/>
                      </a:moveTo>
                      <a:lnTo>
                        <a:pt x="496" y="118"/>
                      </a:lnTo>
                      <a:lnTo>
                        <a:pt x="392" y="147"/>
                      </a:lnTo>
                      <a:lnTo>
                        <a:pt x="364" y="128"/>
                      </a:lnTo>
                      <a:lnTo>
                        <a:pt x="363" y="127"/>
                      </a:lnTo>
                      <a:lnTo>
                        <a:pt x="361" y="127"/>
                      </a:lnTo>
                      <a:lnTo>
                        <a:pt x="108" y="197"/>
                      </a:lnTo>
                      <a:lnTo>
                        <a:pt x="106" y="198"/>
                      </a:lnTo>
                      <a:lnTo>
                        <a:pt x="95" y="212"/>
                      </a:lnTo>
                      <a:lnTo>
                        <a:pt x="94" y="214"/>
                      </a:lnTo>
                      <a:lnTo>
                        <a:pt x="54" y="464"/>
                      </a:lnTo>
                      <a:lnTo>
                        <a:pt x="62" y="196"/>
                      </a:lnTo>
                      <a:lnTo>
                        <a:pt x="497" y="74"/>
                      </a:lnTo>
                      <a:lnTo>
                        <a:pt x="496" y="118"/>
                      </a:lnTo>
                      <a:close/>
                      <a:moveTo>
                        <a:pt x="545" y="107"/>
                      </a:moveTo>
                      <a:lnTo>
                        <a:pt x="545" y="107"/>
                      </a:lnTo>
                      <a:lnTo>
                        <a:pt x="543" y="106"/>
                      </a:lnTo>
                      <a:lnTo>
                        <a:pt x="541" y="106"/>
                      </a:lnTo>
                      <a:lnTo>
                        <a:pt x="504" y="116"/>
                      </a:lnTo>
                      <a:lnTo>
                        <a:pt x="505" y="69"/>
                      </a:lnTo>
                      <a:lnTo>
                        <a:pt x="505" y="67"/>
                      </a:lnTo>
                      <a:lnTo>
                        <a:pt x="503" y="66"/>
                      </a:lnTo>
                      <a:lnTo>
                        <a:pt x="502" y="65"/>
                      </a:lnTo>
                      <a:lnTo>
                        <a:pt x="500" y="65"/>
                      </a:lnTo>
                      <a:lnTo>
                        <a:pt x="485" y="69"/>
                      </a:lnTo>
                      <a:lnTo>
                        <a:pt x="484" y="52"/>
                      </a:lnTo>
                      <a:lnTo>
                        <a:pt x="484" y="50"/>
                      </a:lnTo>
                      <a:lnTo>
                        <a:pt x="482" y="49"/>
                      </a:lnTo>
                      <a:lnTo>
                        <a:pt x="481" y="48"/>
                      </a:lnTo>
                      <a:lnTo>
                        <a:pt x="479" y="48"/>
                      </a:lnTo>
                      <a:lnTo>
                        <a:pt x="457" y="54"/>
                      </a:lnTo>
                      <a:lnTo>
                        <a:pt x="453" y="15"/>
                      </a:lnTo>
                      <a:lnTo>
                        <a:pt x="452" y="13"/>
                      </a:lnTo>
                      <a:lnTo>
                        <a:pt x="451" y="12"/>
                      </a:lnTo>
                      <a:lnTo>
                        <a:pt x="433" y="1"/>
                      </a:lnTo>
                      <a:lnTo>
                        <a:pt x="431" y="0"/>
                      </a:lnTo>
                      <a:lnTo>
                        <a:pt x="430" y="0"/>
                      </a:lnTo>
                      <a:lnTo>
                        <a:pt x="313" y="33"/>
                      </a:lnTo>
                      <a:lnTo>
                        <a:pt x="311" y="34"/>
                      </a:lnTo>
                      <a:lnTo>
                        <a:pt x="310" y="35"/>
                      </a:lnTo>
                      <a:lnTo>
                        <a:pt x="293" y="75"/>
                      </a:lnTo>
                      <a:lnTo>
                        <a:pt x="3" y="156"/>
                      </a:lnTo>
                      <a:lnTo>
                        <a:pt x="1" y="158"/>
                      </a:lnTo>
                      <a:lnTo>
                        <a:pt x="0" y="160"/>
                      </a:lnTo>
                      <a:lnTo>
                        <a:pt x="37" y="482"/>
                      </a:lnTo>
                      <a:lnTo>
                        <a:pt x="38" y="485"/>
                      </a:lnTo>
                      <a:lnTo>
                        <a:pt x="50" y="497"/>
                      </a:lnTo>
                      <a:lnTo>
                        <a:pt x="53" y="498"/>
                      </a:lnTo>
                      <a:lnTo>
                        <a:pt x="55" y="498"/>
                      </a:lnTo>
                      <a:lnTo>
                        <a:pt x="502" y="374"/>
                      </a:lnTo>
                      <a:lnTo>
                        <a:pt x="504" y="373"/>
                      </a:lnTo>
                      <a:lnTo>
                        <a:pt x="505" y="371"/>
                      </a:lnTo>
                      <a:lnTo>
                        <a:pt x="546" y="111"/>
                      </a:lnTo>
                      <a:lnTo>
                        <a:pt x="546" y="109"/>
                      </a:lnTo>
                      <a:lnTo>
                        <a:pt x="545" y="1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grpSp>
          <p:nvGrpSpPr>
            <p:cNvPr id="87144" name="그룹 724">
              <a:extLst>
                <a:ext uri="{FF2B5EF4-FFF2-40B4-BE49-F238E27FC236}">
                  <a16:creationId xmlns:a16="http://schemas.microsoft.com/office/drawing/2014/main" id="{88FF1E2C-D253-494F-8551-5AD8986601FF}"/>
                </a:ext>
              </a:extLst>
            </p:cNvPr>
            <p:cNvGrpSpPr>
              <a:grpSpLocks/>
            </p:cNvGrpSpPr>
            <p:nvPr/>
          </p:nvGrpSpPr>
          <p:grpSpPr bwMode="auto">
            <a:xfrm>
              <a:off x="3906839" y="1993874"/>
              <a:ext cx="360362" cy="228598"/>
              <a:chOff x="4139714" y="1444677"/>
              <a:chExt cx="400217" cy="255139"/>
            </a:xfrm>
          </p:grpSpPr>
          <p:pic>
            <p:nvPicPr>
              <p:cNvPr id="87167" name="Picture 43" descr="C:\Documents and Settings\강시영\Local Settings\Temporary Internet Files\Content.IE5\H0QILFD4\MCj04289790000[1].wmf">
                <a:extLst>
                  <a:ext uri="{FF2B5EF4-FFF2-40B4-BE49-F238E27FC236}">
                    <a16:creationId xmlns:a16="http://schemas.microsoft.com/office/drawing/2014/main" id="{0CFA4097-3758-4B92-9501-F77F1DC19F8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29748" y="1485511"/>
                <a:ext cx="310183" cy="214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896" name="그룹 756">
                <a:extLst>
                  <a:ext uri="{FF2B5EF4-FFF2-40B4-BE49-F238E27FC236}">
                    <a16:creationId xmlns:a16="http://schemas.microsoft.com/office/drawing/2014/main" id="{C9F592BD-1C72-436D-96E9-F379A7CB497F}"/>
                  </a:ext>
                </a:extLst>
              </p:cNvPr>
              <p:cNvGrpSpPr/>
              <p:nvPr/>
            </p:nvGrpSpPr>
            <p:grpSpPr bwMode="auto">
              <a:xfrm rot="18253767" flipH="1">
                <a:off x="4101518" y="1482873"/>
                <a:ext cx="192079" cy="115687"/>
                <a:chOff x="8453462" y="4572008"/>
                <a:chExt cx="192088" cy="115888"/>
              </a:xfrm>
              <a:solidFill>
                <a:srgbClr val="FFC000"/>
              </a:solidFill>
            </p:grpSpPr>
            <p:sp>
              <p:nvSpPr>
                <p:cNvPr id="758" name="Freeform 49">
                  <a:extLst>
                    <a:ext uri="{FF2B5EF4-FFF2-40B4-BE49-F238E27FC236}">
                      <a16:creationId xmlns:a16="http://schemas.microsoft.com/office/drawing/2014/main" id="{EC2E4F52-59F9-48F1-B3AC-390C431510BC}"/>
                    </a:ext>
                  </a:extLst>
                </p:cNvPr>
                <p:cNvSpPr>
                  <a:spLocks/>
                </p:cNvSpPr>
                <p:nvPr/>
              </p:nvSpPr>
              <p:spPr bwMode="auto">
                <a:xfrm>
                  <a:off x="8453462" y="4584708"/>
                  <a:ext cx="44450" cy="85725"/>
                </a:xfrm>
                <a:custGeom>
                  <a:avLst/>
                  <a:gdLst/>
                  <a:ahLst/>
                  <a:cxnLst>
                    <a:cxn ang="0">
                      <a:pos x="99" y="0"/>
                    </a:cxn>
                    <a:cxn ang="0">
                      <a:pos x="113" y="216"/>
                    </a:cxn>
                    <a:cxn ang="0">
                      <a:pos x="0" y="31"/>
                    </a:cxn>
                    <a:cxn ang="0">
                      <a:pos x="99" y="0"/>
                    </a:cxn>
                  </a:cxnLst>
                  <a:rect l="0" t="0" r="r" b="b"/>
                  <a:pathLst>
                    <a:path w="113" h="216">
                      <a:moveTo>
                        <a:pt x="99" y="0"/>
                      </a:moveTo>
                      <a:lnTo>
                        <a:pt x="113" y="216"/>
                      </a:lnTo>
                      <a:lnTo>
                        <a:pt x="0" y="31"/>
                      </a:lnTo>
                      <a:lnTo>
                        <a:pt x="99" y="0"/>
                      </a:lnTo>
                      <a:close/>
                    </a:path>
                  </a:pathLst>
                </a:custGeom>
                <a:grpFill/>
                <a:ln w="9525">
                  <a:noFill/>
                  <a:round/>
                  <a:headEnd/>
                  <a:tailEnd/>
                </a:ln>
              </p:spPr>
              <p:txBody>
                <a:bodyPr/>
                <a:lstStyle>
                  <a:defPPr>
                    <a:defRPr lang="en-GB"/>
                  </a:defPPr>
                  <a:lvl1pPr algn="l" rtl="0" fontAlgn="base" latinLnBrk="1">
                    <a:spcBef>
                      <a:spcPct val="0"/>
                    </a:spcBef>
                    <a:spcAft>
                      <a:spcPct val="0"/>
                    </a:spcAft>
                    <a:defRPr kumimoji="1" kern="1200">
                      <a:solidFill>
                        <a:schemeClr val="tx1"/>
                      </a:solidFill>
                      <a:latin typeface="Arial" charset="0"/>
                      <a:ea typeface="굴림" pitchFamily="50" charset="-127"/>
                      <a:cs typeface="+mn-cs"/>
                    </a:defRPr>
                  </a:lvl1pPr>
                  <a:lvl2pPr marL="457200" algn="l" rtl="0" fontAlgn="base" latinLnBrk="1">
                    <a:spcBef>
                      <a:spcPct val="0"/>
                    </a:spcBef>
                    <a:spcAft>
                      <a:spcPct val="0"/>
                    </a:spcAft>
                    <a:defRPr kumimoji="1" kern="1200">
                      <a:solidFill>
                        <a:schemeClr val="tx1"/>
                      </a:solidFill>
                      <a:latin typeface="Arial" charset="0"/>
                      <a:ea typeface="굴림" pitchFamily="50" charset="-127"/>
                      <a:cs typeface="+mn-cs"/>
                    </a:defRPr>
                  </a:lvl2pPr>
                  <a:lvl3pPr marL="914400" algn="l" rtl="0" fontAlgn="base" latinLnBrk="1">
                    <a:spcBef>
                      <a:spcPct val="0"/>
                    </a:spcBef>
                    <a:spcAft>
                      <a:spcPct val="0"/>
                    </a:spcAft>
                    <a:defRPr kumimoji="1" kern="1200">
                      <a:solidFill>
                        <a:schemeClr val="tx1"/>
                      </a:solidFill>
                      <a:latin typeface="Arial" charset="0"/>
                      <a:ea typeface="굴림" pitchFamily="50" charset="-127"/>
                      <a:cs typeface="+mn-cs"/>
                    </a:defRPr>
                  </a:lvl3pPr>
                  <a:lvl4pPr marL="1371600" algn="l" rtl="0" fontAlgn="base" latinLnBrk="1">
                    <a:spcBef>
                      <a:spcPct val="0"/>
                    </a:spcBef>
                    <a:spcAft>
                      <a:spcPct val="0"/>
                    </a:spcAft>
                    <a:defRPr kumimoji="1" kern="1200">
                      <a:solidFill>
                        <a:schemeClr val="tx1"/>
                      </a:solidFill>
                      <a:latin typeface="Arial" charset="0"/>
                      <a:ea typeface="굴림" pitchFamily="50" charset="-127"/>
                      <a:cs typeface="+mn-cs"/>
                    </a:defRPr>
                  </a:lvl4pPr>
                  <a:lvl5pPr marL="1828800" algn="l" rtl="0" fontAlgn="base" latinLnBrk="1">
                    <a:spcBef>
                      <a:spcPct val="0"/>
                    </a:spcBef>
                    <a:spcAft>
                      <a:spcPct val="0"/>
                    </a:spcAft>
                    <a:defRPr kumimoji="1" kern="1200">
                      <a:solidFill>
                        <a:schemeClr val="tx1"/>
                      </a:solidFill>
                      <a:latin typeface="Arial" charset="0"/>
                      <a:ea typeface="굴림" pitchFamily="50" charset="-127"/>
                      <a:cs typeface="+mn-cs"/>
                    </a:defRPr>
                  </a:lvl5pPr>
                  <a:lvl6pPr marL="2286000" algn="l" defTabSz="914400" rtl="0" eaLnBrk="1" latinLnBrk="1" hangingPunct="1">
                    <a:defRPr kumimoji="1" kern="1200">
                      <a:solidFill>
                        <a:schemeClr val="tx1"/>
                      </a:solidFill>
                      <a:latin typeface="Arial" charset="0"/>
                      <a:ea typeface="굴림" pitchFamily="50" charset="-127"/>
                      <a:cs typeface="+mn-cs"/>
                    </a:defRPr>
                  </a:lvl6pPr>
                  <a:lvl7pPr marL="2743200" algn="l" defTabSz="914400" rtl="0" eaLnBrk="1" latinLnBrk="1" hangingPunct="1">
                    <a:defRPr kumimoji="1" kern="1200">
                      <a:solidFill>
                        <a:schemeClr val="tx1"/>
                      </a:solidFill>
                      <a:latin typeface="Arial" charset="0"/>
                      <a:ea typeface="굴림" pitchFamily="50" charset="-127"/>
                      <a:cs typeface="+mn-cs"/>
                    </a:defRPr>
                  </a:lvl7pPr>
                  <a:lvl8pPr marL="3200400" algn="l" defTabSz="914400" rtl="0" eaLnBrk="1" latinLnBrk="1" hangingPunct="1">
                    <a:defRPr kumimoji="1" kern="1200">
                      <a:solidFill>
                        <a:schemeClr val="tx1"/>
                      </a:solidFill>
                      <a:latin typeface="Arial" charset="0"/>
                      <a:ea typeface="굴림" pitchFamily="50" charset="-127"/>
                      <a:cs typeface="+mn-cs"/>
                    </a:defRPr>
                  </a:lvl8pPr>
                  <a:lvl9pPr marL="3657600" algn="l" defTabSz="914400" rtl="0" eaLnBrk="1" latinLnBrk="1" hangingPunct="1">
                    <a:defRPr kumimoji="1" kern="1200">
                      <a:solidFill>
                        <a:schemeClr val="tx1"/>
                      </a:solidFill>
                      <a:latin typeface="Arial" charset="0"/>
                      <a:ea typeface="굴림" pitchFamily="50" charset="-127"/>
                      <a:cs typeface="+mn-cs"/>
                    </a:defRPr>
                  </a:lvl9pPr>
                </a:lstStyle>
                <a:p>
                  <a:pPr eaLnBrk="1" hangingPunct="1">
                    <a:defRPr/>
                  </a:pPr>
                  <a:endParaRPr lang="ko-KR" altLang="en-US">
                    <a:solidFill>
                      <a:sysClr val="windowText" lastClr="000000"/>
                    </a:solidFill>
                    <a:latin typeface="Arial" pitchFamily="34" charset="0"/>
                  </a:endParaRPr>
                </a:p>
              </p:txBody>
            </p:sp>
            <p:sp>
              <p:nvSpPr>
                <p:cNvPr id="759" name="Freeform 50">
                  <a:extLst>
                    <a:ext uri="{FF2B5EF4-FFF2-40B4-BE49-F238E27FC236}">
                      <a16:creationId xmlns:a16="http://schemas.microsoft.com/office/drawing/2014/main" id="{8FCEBCAF-519F-4443-B2CD-945E611ED786}"/>
                    </a:ext>
                  </a:extLst>
                </p:cNvPr>
                <p:cNvSpPr>
                  <a:spLocks/>
                </p:cNvSpPr>
                <p:nvPr/>
              </p:nvSpPr>
              <p:spPr bwMode="auto">
                <a:xfrm>
                  <a:off x="8537599" y="4572008"/>
                  <a:ext cx="47625" cy="84138"/>
                </a:xfrm>
                <a:custGeom>
                  <a:avLst/>
                  <a:gdLst/>
                  <a:ahLst/>
                  <a:cxnLst>
                    <a:cxn ang="0">
                      <a:pos x="123" y="27"/>
                    </a:cxn>
                    <a:cxn ang="0">
                      <a:pos x="0" y="210"/>
                    </a:cxn>
                    <a:cxn ang="0">
                      <a:pos x="21" y="0"/>
                    </a:cxn>
                    <a:cxn ang="0">
                      <a:pos x="123" y="27"/>
                    </a:cxn>
                  </a:cxnLst>
                  <a:rect l="0" t="0" r="r" b="b"/>
                  <a:pathLst>
                    <a:path w="123" h="210">
                      <a:moveTo>
                        <a:pt x="123" y="27"/>
                      </a:moveTo>
                      <a:lnTo>
                        <a:pt x="0" y="210"/>
                      </a:lnTo>
                      <a:lnTo>
                        <a:pt x="21" y="0"/>
                      </a:lnTo>
                      <a:lnTo>
                        <a:pt x="123" y="27"/>
                      </a:lnTo>
                      <a:close/>
                    </a:path>
                  </a:pathLst>
                </a:custGeom>
                <a:grpFill/>
                <a:ln w="9525">
                  <a:noFill/>
                  <a:round/>
                  <a:headEnd/>
                  <a:tailEnd/>
                </a:ln>
              </p:spPr>
              <p:txBody>
                <a:bodyPr/>
                <a:lstStyle>
                  <a:defPPr>
                    <a:defRPr lang="en-GB"/>
                  </a:defPPr>
                  <a:lvl1pPr algn="l" rtl="0" fontAlgn="base" latinLnBrk="1">
                    <a:spcBef>
                      <a:spcPct val="0"/>
                    </a:spcBef>
                    <a:spcAft>
                      <a:spcPct val="0"/>
                    </a:spcAft>
                    <a:defRPr kumimoji="1" kern="1200">
                      <a:solidFill>
                        <a:schemeClr val="tx1"/>
                      </a:solidFill>
                      <a:latin typeface="Arial" charset="0"/>
                      <a:ea typeface="굴림" pitchFamily="50" charset="-127"/>
                      <a:cs typeface="+mn-cs"/>
                    </a:defRPr>
                  </a:lvl1pPr>
                  <a:lvl2pPr marL="457200" algn="l" rtl="0" fontAlgn="base" latinLnBrk="1">
                    <a:spcBef>
                      <a:spcPct val="0"/>
                    </a:spcBef>
                    <a:spcAft>
                      <a:spcPct val="0"/>
                    </a:spcAft>
                    <a:defRPr kumimoji="1" kern="1200">
                      <a:solidFill>
                        <a:schemeClr val="tx1"/>
                      </a:solidFill>
                      <a:latin typeface="Arial" charset="0"/>
                      <a:ea typeface="굴림" pitchFamily="50" charset="-127"/>
                      <a:cs typeface="+mn-cs"/>
                    </a:defRPr>
                  </a:lvl2pPr>
                  <a:lvl3pPr marL="914400" algn="l" rtl="0" fontAlgn="base" latinLnBrk="1">
                    <a:spcBef>
                      <a:spcPct val="0"/>
                    </a:spcBef>
                    <a:spcAft>
                      <a:spcPct val="0"/>
                    </a:spcAft>
                    <a:defRPr kumimoji="1" kern="1200">
                      <a:solidFill>
                        <a:schemeClr val="tx1"/>
                      </a:solidFill>
                      <a:latin typeface="Arial" charset="0"/>
                      <a:ea typeface="굴림" pitchFamily="50" charset="-127"/>
                      <a:cs typeface="+mn-cs"/>
                    </a:defRPr>
                  </a:lvl3pPr>
                  <a:lvl4pPr marL="1371600" algn="l" rtl="0" fontAlgn="base" latinLnBrk="1">
                    <a:spcBef>
                      <a:spcPct val="0"/>
                    </a:spcBef>
                    <a:spcAft>
                      <a:spcPct val="0"/>
                    </a:spcAft>
                    <a:defRPr kumimoji="1" kern="1200">
                      <a:solidFill>
                        <a:schemeClr val="tx1"/>
                      </a:solidFill>
                      <a:latin typeface="Arial" charset="0"/>
                      <a:ea typeface="굴림" pitchFamily="50" charset="-127"/>
                      <a:cs typeface="+mn-cs"/>
                    </a:defRPr>
                  </a:lvl4pPr>
                  <a:lvl5pPr marL="1828800" algn="l" rtl="0" fontAlgn="base" latinLnBrk="1">
                    <a:spcBef>
                      <a:spcPct val="0"/>
                    </a:spcBef>
                    <a:spcAft>
                      <a:spcPct val="0"/>
                    </a:spcAft>
                    <a:defRPr kumimoji="1" kern="1200">
                      <a:solidFill>
                        <a:schemeClr val="tx1"/>
                      </a:solidFill>
                      <a:latin typeface="Arial" charset="0"/>
                      <a:ea typeface="굴림" pitchFamily="50" charset="-127"/>
                      <a:cs typeface="+mn-cs"/>
                    </a:defRPr>
                  </a:lvl5pPr>
                  <a:lvl6pPr marL="2286000" algn="l" defTabSz="914400" rtl="0" eaLnBrk="1" latinLnBrk="1" hangingPunct="1">
                    <a:defRPr kumimoji="1" kern="1200">
                      <a:solidFill>
                        <a:schemeClr val="tx1"/>
                      </a:solidFill>
                      <a:latin typeface="Arial" charset="0"/>
                      <a:ea typeface="굴림" pitchFamily="50" charset="-127"/>
                      <a:cs typeface="+mn-cs"/>
                    </a:defRPr>
                  </a:lvl6pPr>
                  <a:lvl7pPr marL="2743200" algn="l" defTabSz="914400" rtl="0" eaLnBrk="1" latinLnBrk="1" hangingPunct="1">
                    <a:defRPr kumimoji="1" kern="1200">
                      <a:solidFill>
                        <a:schemeClr val="tx1"/>
                      </a:solidFill>
                      <a:latin typeface="Arial" charset="0"/>
                      <a:ea typeface="굴림" pitchFamily="50" charset="-127"/>
                      <a:cs typeface="+mn-cs"/>
                    </a:defRPr>
                  </a:lvl7pPr>
                  <a:lvl8pPr marL="3200400" algn="l" defTabSz="914400" rtl="0" eaLnBrk="1" latinLnBrk="1" hangingPunct="1">
                    <a:defRPr kumimoji="1" kern="1200">
                      <a:solidFill>
                        <a:schemeClr val="tx1"/>
                      </a:solidFill>
                      <a:latin typeface="Arial" charset="0"/>
                      <a:ea typeface="굴림" pitchFamily="50" charset="-127"/>
                      <a:cs typeface="+mn-cs"/>
                    </a:defRPr>
                  </a:lvl8pPr>
                  <a:lvl9pPr marL="3657600" algn="l" defTabSz="914400" rtl="0" eaLnBrk="1" latinLnBrk="1" hangingPunct="1">
                    <a:defRPr kumimoji="1" kern="1200">
                      <a:solidFill>
                        <a:schemeClr val="tx1"/>
                      </a:solidFill>
                      <a:latin typeface="Arial" charset="0"/>
                      <a:ea typeface="굴림" pitchFamily="50" charset="-127"/>
                      <a:cs typeface="+mn-cs"/>
                    </a:defRPr>
                  </a:lvl9pPr>
                </a:lstStyle>
                <a:p>
                  <a:pPr eaLnBrk="1" hangingPunct="1">
                    <a:defRPr/>
                  </a:pPr>
                  <a:endParaRPr lang="ko-KR" altLang="en-US">
                    <a:solidFill>
                      <a:sysClr val="windowText" lastClr="000000"/>
                    </a:solidFill>
                    <a:latin typeface="Arial" pitchFamily="34" charset="0"/>
                  </a:endParaRPr>
                </a:p>
              </p:txBody>
            </p:sp>
            <p:sp>
              <p:nvSpPr>
                <p:cNvPr id="760" name="Freeform 51">
                  <a:extLst>
                    <a:ext uri="{FF2B5EF4-FFF2-40B4-BE49-F238E27FC236}">
                      <a16:creationId xmlns:a16="http://schemas.microsoft.com/office/drawing/2014/main" id="{6D6444F3-841D-4F6D-8708-3F5D250800CD}"/>
                    </a:ext>
                  </a:extLst>
                </p:cNvPr>
                <p:cNvSpPr>
                  <a:spLocks/>
                </p:cNvSpPr>
                <p:nvPr/>
              </p:nvSpPr>
              <p:spPr bwMode="auto">
                <a:xfrm>
                  <a:off x="8558237" y="4629158"/>
                  <a:ext cx="87313" cy="58738"/>
                </a:xfrm>
                <a:custGeom>
                  <a:avLst/>
                  <a:gdLst/>
                  <a:ahLst/>
                  <a:cxnLst>
                    <a:cxn ang="0">
                      <a:pos x="222" y="81"/>
                    </a:cxn>
                    <a:cxn ang="0">
                      <a:pos x="0" y="150"/>
                    </a:cxn>
                    <a:cxn ang="0">
                      <a:pos x="164" y="0"/>
                    </a:cxn>
                    <a:cxn ang="0">
                      <a:pos x="222" y="81"/>
                    </a:cxn>
                  </a:cxnLst>
                  <a:rect l="0" t="0" r="r" b="b"/>
                  <a:pathLst>
                    <a:path w="222" h="150">
                      <a:moveTo>
                        <a:pt x="222" y="81"/>
                      </a:moveTo>
                      <a:lnTo>
                        <a:pt x="0" y="150"/>
                      </a:lnTo>
                      <a:lnTo>
                        <a:pt x="164" y="0"/>
                      </a:lnTo>
                      <a:lnTo>
                        <a:pt x="222" y="81"/>
                      </a:lnTo>
                      <a:close/>
                    </a:path>
                  </a:pathLst>
                </a:custGeom>
                <a:grpFill/>
                <a:ln w="9525">
                  <a:noFill/>
                  <a:round/>
                  <a:headEnd/>
                  <a:tailEnd/>
                </a:ln>
              </p:spPr>
              <p:txBody>
                <a:bodyPr/>
                <a:lstStyle>
                  <a:defPPr>
                    <a:defRPr lang="en-GB"/>
                  </a:defPPr>
                  <a:lvl1pPr algn="l" rtl="0" fontAlgn="base" latinLnBrk="1">
                    <a:spcBef>
                      <a:spcPct val="0"/>
                    </a:spcBef>
                    <a:spcAft>
                      <a:spcPct val="0"/>
                    </a:spcAft>
                    <a:defRPr kumimoji="1" kern="1200">
                      <a:solidFill>
                        <a:schemeClr val="tx1"/>
                      </a:solidFill>
                      <a:latin typeface="Arial" charset="0"/>
                      <a:ea typeface="굴림" pitchFamily="50" charset="-127"/>
                      <a:cs typeface="+mn-cs"/>
                    </a:defRPr>
                  </a:lvl1pPr>
                  <a:lvl2pPr marL="457200" algn="l" rtl="0" fontAlgn="base" latinLnBrk="1">
                    <a:spcBef>
                      <a:spcPct val="0"/>
                    </a:spcBef>
                    <a:spcAft>
                      <a:spcPct val="0"/>
                    </a:spcAft>
                    <a:defRPr kumimoji="1" kern="1200">
                      <a:solidFill>
                        <a:schemeClr val="tx1"/>
                      </a:solidFill>
                      <a:latin typeface="Arial" charset="0"/>
                      <a:ea typeface="굴림" pitchFamily="50" charset="-127"/>
                      <a:cs typeface="+mn-cs"/>
                    </a:defRPr>
                  </a:lvl2pPr>
                  <a:lvl3pPr marL="914400" algn="l" rtl="0" fontAlgn="base" latinLnBrk="1">
                    <a:spcBef>
                      <a:spcPct val="0"/>
                    </a:spcBef>
                    <a:spcAft>
                      <a:spcPct val="0"/>
                    </a:spcAft>
                    <a:defRPr kumimoji="1" kern="1200">
                      <a:solidFill>
                        <a:schemeClr val="tx1"/>
                      </a:solidFill>
                      <a:latin typeface="Arial" charset="0"/>
                      <a:ea typeface="굴림" pitchFamily="50" charset="-127"/>
                      <a:cs typeface="+mn-cs"/>
                    </a:defRPr>
                  </a:lvl3pPr>
                  <a:lvl4pPr marL="1371600" algn="l" rtl="0" fontAlgn="base" latinLnBrk="1">
                    <a:spcBef>
                      <a:spcPct val="0"/>
                    </a:spcBef>
                    <a:spcAft>
                      <a:spcPct val="0"/>
                    </a:spcAft>
                    <a:defRPr kumimoji="1" kern="1200">
                      <a:solidFill>
                        <a:schemeClr val="tx1"/>
                      </a:solidFill>
                      <a:latin typeface="Arial" charset="0"/>
                      <a:ea typeface="굴림" pitchFamily="50" charset="-127"/>
                      <a:cs typeface="+mn-cs"/>
                    </a:defRPr>
                  </a:lvl4pPr>
                  <a:lvl5pPr marL="1828800" algn="l" rtl="0" fontAlgn="base" latinLnBrk="1">
                    <a:spcBef>
                      <a:spcPct val="0"/>
                    </a:spcBef>
                    <a:spcAft>
                      <a:spcPct val="0"/>
                    </a:spcAft>
                    <a:defRPr kumimoji="1" kern="1200">
                      <a:solidFill>
                        <a:schemeClr val="tx1"/>
                      </a:solidFill>
                      <a:latin typeface="Arial" charset="0"/>
                      <a:ea typeface="굴림" pitchFamily="50" charset="-127"/>
                      <a:cs typeface="+mn-cs"/>
                    </a:defRPr>
                  </a:lvl5pPr>
                  <a:lvl6pPr marL="2286000" algn="l" defTabSz="914400" rtl="0" eaLnBrk="1" latinLnBrk="1" hangingPunct="1">
                    <a:defRPr kumimoji="1" kern="1200">
                      <a:solidFill>
                        <a:schemeClr val="tx1"/>
                      </a:solidFill>
                      <a:latin typeface="Arial" charset="0"/>
                      <a:ea typeface="굴림" pitchFamily="50" charset="-127"/>
                      <a:cs typeface="+mn-cs"/>
                    </a:defRPr>
                  </a:lvl6pPr>
                  <a:lvl7pPr marL="2743200" algn="l" defTabSz="914400" rtl="0" eaLnBrk="1" latinLnBrk="1" hangingPunct="1">
                    <a:defRPr kumimoji="1" kern="1200">
                      <a:solidFill>
                        <a:schemeClr val="tx1"/>
                      </a:solidFill>
                      <a:latin typeface="Arial" charset="0"/>
                      <a:ea typeface="굴림" pitchFamily="50" charset="-127"/>
                      <a:cs typeface="+mn-cs"/>
                    </a:defRPr>
                  </a:lvl7pPr>
                  <a:lvl8pPr marL="3200400" algn="l" defTabSz="914400" rtl="0" eaLnBrk="1" latinLnBrk="1" hangingPunct="1">
                    <a:defRPr kumimoji="1" kern="1200">
                      <a:solidFill>
                        <a:schemeClr val="tx1"/>
                      </a:solidFill>
                      <a:latin typeface="Arial" charset="0"/>
                      <a:ea typeface="굴림" pitchFamily="50" charset="-127"/>
                      <a:cs typeface="+mn-cs"/>
                    </a:defRPr>
                  </a:lvl8pPr>
                  <a:lvl9pPr marL="3657600" algn="l" defTabSz="914400" rtl="0" eaLnBrk="1" latinLnBrk="1" hangingPunct="1">
                    <a:defRPr kumimoji="1" kern="1200">
                      <a:solidFill>
                        <a:schemeClr val="tx1"/>
                      </a:solidFill>
                      <a:latin typeface="Arial" charset="0"/>
                      <a:ea typeface="굴림" pitchFamily="50" charset="-127"/>
                      <a:cs typeface="+mn-cs"/>
                    </a:defRPr>
                  </a:lvl9pPr>
                </a:lstStyle>
                <a:p>
                  <a:pPr eaLnBrk="1" hangingPunct="1">
                    <a:defRPr/>
                  </a:pPr>
                  <a:endParaRPr lang="ko-KR" altLang="en-US">
                    <a:solidFill>
                      <a:sysClr val="windowText" lastClr="000000"/>
                    </a:solidFill>
                    <a:latin typeface="Arial" pitchFamily="34" charset="0"/>
                  </a:endParaRPr>
                </a:p>
              </p:txBody>
            </p:sp>
          </p:grpSp>
        </p:grpSp>
        <p:grpSp>
          <p:nvGrpSpPr>
            <p:cNvPr id="87145" name="그룹 725">
              <a:extLst>
                <a:ext uri="{FF2B5EF4-FFF2-40B4-BE49-F238E27FC236}">
                  <a16:creationId xmlns:a16="http://schemas.microsoft.com/office/drawing/2014/main" id="{B47CEC9A-0F0C-4DEE-9F50-692A1059FA97}"/>
                </a:ext>
              </a:extLst>
            </p:cNvPr>
            <p:cNvGrpSpPr>
              <a:grpSpLocks/>
            </p:cNvGrpSpPr>
            <p:nvPr/>
          </p:nvGrpSpPr>
          <p:grpSpPr bwMode="auto">
            <a:xfrm>
              <a:off x="4706938" y="1979599"/>
              <a:ext cx="279400" cy="255587"/>
              <a:chOff x="5030523" y="1428736"/>
              <a:chExt cx="310091" cy="285750"/>
            </a:xfrm>
          </p:grpSpPr>
          <p:grpSp>
            <p:nvGrpSpPr>
              <p:cNvPr id="87153" name="그룹 741">
                <a:extLst>
                  <a:ext uri="{FF2B5EF4-FFF2-40B4-BE49-F238E27FC236}">
                    <a16:creationId xmlns:a16="http://schemas.microsoft.com/office/drawing/2014/main" id="{20AF8A13-5B57-4EF3-9066-622182ED7E13}"/>
                  </a:ext>
                </a:extLst>
              </p:cNvPr>
              <p:cNvGrpSpPr>
                <a:grpSpLocks/>
              </p:cNvGrpSpPr>
              <p:nvPr/>
            </p:nvGrpSpPr>
            <p:grpSpPr bwMode="auto">
              <a:xfrm>
                <a:off x="5030523" y="1428736"/>
                <a:ext cx="310091" cy="285750"/>
                <a:chOff x="1108075" y="4506913"/>
                <a:chExt cx="1227138" cy="1265238"/>
              </a:xfrm>
            </p:grpSpPr>
            <p:sp>
              <p:nvSpPr>
                <p:cNvPr id="87162" name="Freeform 10">
                  <a:extLst>
                    <a:ext uri="{FF2B5EF4-FFF2-40B4-BE49-F238E27FC236}">
                      <a16:creationId xmlns:a16="http://schemas.microsoft.com/office/drawing/2014/main" id="{008EC022-B308-47F7-B1F3-A466232050CF}"/>
                    </a:ext>
                  </a:extLst>
                </p:cNvPr>
                <p:cNvSpPr>
                  <a:spLocks/>
                </p:cNvSpPr>
                <p:nvPr/>
              </p:nvSpPr>
              <p:spPr bwMode="auto">
                <a:xfrm>
                  <a:off x="1108075" y="4506913"/>
                  <a:ext cx="1227138" cy="1265238"/>
                </a:xfrm>
                <a:custGeom>
                  <a:avLst/>
                  <a:gdLst>
                    <a:gd name="T0" fmla="*/ 2147483646 w 1546"/>
                    <a:gd name="T1" fmla="*/ 2147483646 h 1594"/>
                    <a:gd name="T2" fmla="*/ 2147483646 w 1546"/>
                    <a:gd name="T3" fmla="*/ 2147483646 h 1594"/>
                    <a:gd name="T4" fmla="*/ 2147483646 w 1546"/>
                    <a:gd name="T5" fmla="*/ 2147483646 h 1594"/>
                    <a:gd name="T6" fmla="*/ 2147483646 w 1546"/>
                    <a:gd name="T7" fmla="*/ 2147483646 h 1594"/>
                    <a:gd name="T8" fmla="*/ 2147483646 w 1546"/>
                    <a:gd name="T9" fmla="*/ 2147483646 h 1594"/>
                    <a:gd name="T10" fmla="*/ 2147483646 w 1546"/>
                    <a:gd name="T11" fmla="*/ 2147483646 h 1594"/>
                    <a:gd name="T12" fmla="*/ 2147483646 w 1546"/>
                    <a:gd name="T13" fmla="*/ 2147483646 h 1594"/>
                    <a:gd name="T14" fmla="*/ 0 w 1546"/>
                    <a:gd name="T15" fmla="*/ 2147483646 h 1594"/>
                    <a:gd name="T16" fmla="*/ 2147483646 w 1546"/>
                    <a:gd name="T17" fmla="*/ 0 h 1594"/>
                    <a:gd name="T18" fmla="*/ 2147483646 w 1546"/>
                    <a:gd name="T19" fmla="*/ 2147483646 h 1594"/>
                    <a:gd name="T20" fmla="*/ 2147483646 w 1546"/>
                    <a:gd name="T21" fmla="*/ 2147483646 h 15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46"/>
                    <a:gd name="T34" fmla="*/ 0 h 1594"/>
                    <a:gd name="T35" fmla="*/ 1546 w 1546"/>
                    <a:gd name="T36" fmla="*/ 1594 h 159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46" h="1594">
                      <a:moveTo>
                        <a:pt x="1315" y="131"/>
                      </a:moveTo>
                      <a:lnTo>
                        <a:pt x="1527" y="176"/>
                      </a:lnTo>
                      <a:lnTo>
                        <a:pt x="1515" y="212"/>
                      </a:lnTo>
                      <a:lnTo>
                        <a:pt x="1546" y="227"/>
                      </a:lnTo>
                      <a:lnTo>
                        <a:pt x="1024" y="1594"/>
                      </a:lnTo>
                      <a:lnTo>
                        <a:pt x="21" y="1329"/>
                      </a:lnTo>
                      <a:lnTo>
                        <a:pt x="25" y="1275"/>
                      </a:lnTo>
                      <a:lnTo>
                        <a:pt x="0" y="1266"/>
                      </a:lnTo>
                      <a:lnTo>
                        <a:pt x="543" y="0"/>
                      </a:lnTo>
                      <a:lnTo>
                        <a:pt x="814" y="46"/>
                      </a:lnTo>
                      <a:lnTo>
                        <a:pt x="1315" y="1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63" name="Freeform 12">
                  <a:extLst>
                    <a:ext uri="{FF2B5EF4-FFF2-40B4-BE49-F238E27FC236}">
                      <a16:creationId xmlns:a16="http://schemas.microsoft.com/office/drawing/2014/main" id="{BF4542E1-8D4F-4C90-B4BB-E7450EF6D016}"/>
                    </a:ext>
                  </a:extLst>
                </p:cNvPr>
                <p:cNvSpPr>
                  <a:spLocks/>
                </p:cNvSpPr>
                <p:nvPr/>
              </p:nvSpPr>
              <p:spPr bwMode="auto">
                <a:xfrm>
                  <a:off x="1130300" y="4529138"/>
                  <a:ext cx="1184275" cy="1204913"/>
                </a:xfrm>
                <a:custGeom>
                  <a:avLst/>
                  <a:gdLst>
                    <a:gd name="T0" fmla="*/ 2147483646 w 1492"/>
                    <a:gd name="T1" fmla="*/ 2147483646 h 1516"/>
                    <a:gd name="T2" fmla="*/ 2147483646 w 1492"/>
                    <a:gd name="T3" fmla="*/ 0 h 1516"/>
                    <a:gd name="T4" fmla="*/ 0 w 1492"/>
                    <a:gd name="T5" fmla="*/ 2147483646 h 1516"/>
                    <a:gd name="T6" fmla="*/ 2147483646 w 1492"/>
                    <a:gd name="T7" fmla="*/ 2147483646 h 1516"/>
                    <a:gd name="T8" fmla="*/ 2147483646 w 1492"/>
                    <a:gd name="T9" fmla="*/ 2147483646 h 1516"/>
                    <a:gd name="T10" fmla="*/ 2147483646 w 1492"/>
                    <a:gd name="T11" fmla="*/ 2147483646 h 1516"/>
                    <a:gd name="T12" fmla="*/ 2147483646 w 1492"/>
                    <a:gd name="T13" fmla="*/ 2147483646 h 1516"/>
                    <a:gd name="T14" fmla="*/ 2147483646 w 1492"/>
                    <a:gd name="T15" fmla="*/ 2147483646 h 1516"/>
                    <a:gd name="T16" fmla="*/ 2147483646 w 1492"/>
                    <a:gd name="T17" fmla="*/ 2147483646 h 1516"/>
                    <a:gd name="T18" fmla="*/ 2147483646 w 1492"/>
                    <a:gd name="T19" fmla="*/ 2147483646 h 1516"/>
                    <a:gd name="T20" fmla="*/ 2147483646 w 1492"/>
                    <a:gd name="T21" fmla="*/ 2147483646 h 15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92"/>
                    <a:gd name="T34" fmla="*/ 0 h 1516"/>
                    <a:gd name="T35" fmla="*/ 1492 w 1492"/>
                    <a:gd name="T36" fmla="*/ 1516 h 15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92" h="1516">
                      <a:moveTo>
                        <a:pt x="771" y="41"/>
                      </a:moveTo>
                      <a:lnTo>
                        <a:pt x="528" y="0"/>
                      </a:lnTo>
                      <a:lnTo>
                        <a:pt x="0" y="1225"/>
                      </a:lnTo>
                      <a:lnTo>
                        <a:pt x="26" y="1237"/>
                      </a:lnTo>
                      <a:lnTo>
                        <a:pt x="19" y="1272"/>
                      </a:lnTo>
                      <a:lnTo>
                        <a:pt x="984" y="1516"/>
                      </a:lnTo>
                      <a:lnTo>
                        <a:pt x="1492" y="213"/>
                      </a:lnTo>
                      <a:lnTo>
                        <a:pt x="1464" y="201"/>
                      </a:lnTo>
                      <a:lnTo>
                        <a:pt x="1474" y="166"/>
                      </a:lnTo>
                      <a:lnTo>
                        <a:pt x="1280" y="128"/>
                      </a:lnTo>
                      <a:lnTo>
                        <a:pt x="771"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64" name="Freeform 13">
                  <a:extLst>
                    <a:ext uri="{FF2B5EF4-FFF2-40B4-BE49-F238E27FC236}">
                      <a16:creationId xmlns:a16="http://schemas.microsoft.com/office/drawing/2014/main" id="{24471CDA-C4C1-4A75-AA8B-D694DBA26812}"/>
                    </a:ext>
                  </a:extLst>
                </p:cNvPr>
                <p:cNvSpPr>
                  <a:spLocks/>
                </p:cNvSpPr>
                <p:nvPr/>
              </p:nvSpPr>
              <p:spPr bwMode="auto">
                <a:xfrm>
                  <a:off x="1166813" y="4695825"/>
                  <a:ext cx="1119188" cy="1006475"/>
                </a:xfrm>
                <a:custGeom>
                  <a:avLst/>
                  <a:gdLst>
                    <a:gd name="T0" fmla="*/ 2147483646 w 1410"/>
                    <a:gd name="T1" fmla="*/ 2147483646 h 1268"/>
                    <a:gd name="T2" fmla="*/ 2147483646 w 1410"/>
                    <a:gd name="T3" fmla="*/ 2147483646 h 1268"/>
                    <a:gd name="T4" fmla="*/ 0 w 1410"/>
                    <a:gd name="T5" fmla="*/ 2147483646 h 1268"/>
                    <a:gd name="T6" fmla="*/ 2147483646 w 1410"/>
                    <a:gd name="T7" fmla="*/ 2147483646 h 1268"/>
                    <a:gd name="T8" fmla="*/ 2147483646 w 1410"/>
                    <a:gd name="T9" fmla="*/ 2147483646 h 1268"/>
                    <a:gd name="T10" fmla="*/ 2147483646 w 1410"/>
                    <a:gd name="T11" fmla="*/ 0 h 1268"/>
                    <a:gd name="T12" fmla="*/ 2147483646 w 1410"/>
                    <a:gd name="T13" fmla="*/ 2147483646 h 1268"/>
                    <a:gd name="T14" fmla="*/ 0 60000 65536"/>
                    <a:gd name="T15" fmla="*/ 0 60000 65536"/>
                    <a:gd name="T16" fmla="*/ 0 60000 65536"/>
                    <a:gd name="T17" fmla="*/ 0 60000 65536"/>
                    <a:gd name="T18" fmla="*/ 0 60000 65536"/>
                    <a:gd name="T19" fmla="*/ 0 60000 65536"/>
                    <a:gd name="T20" fmla="*/ 0 60000 65536"/>
                    <a:gd name="T21" fmla="*/ 0 w 1410"/>
                    <a:gd name="T22" fmla="*/ 0 h 1268"/>
                    <a:gd name="T23" fmla="*/ 1410 w 1410"/>
                    <a:gd name="T24" fmla="*/ 1268 h 12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10" h="1268">
                      <a:moveTo>
                        <a:pt x="1410" y="10"/>
                      </a:moveTo>
                      <a:lnTo>
                        <a:pt x="922" y="1268"/>
                      </a:lnTo>
                      <a:lnTo>
                        <a:pt x="0" y="1033"/>
                      </a:lnTo>
                      <a:lnTo>
                        <a:pt x="25" y="1021"/>
                      </a:lnTo>
                      <a:lnTo>
                        <a:pt x="898" y="1229"/>
                      </a:lnTo>
                      <a:lnTo>
                        <a:pt x="1397" y="0"/>
                      </a:lnTo>
                      <a:lnTo>
                        <a:pt x="141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65" name="Freeform 14">
                  <a:extLst>
                    <a:ext uri="{FF2B5EF4-FFF2-40B4-BE49-F238E27FC236}">
                      <a16:creationId xmlns:a16="http://schemas.microsoft.com/office/drawing/2014/main" id="{4C61E738-58D3-457C-8382-8C649A28FC86}"/>
                    </a:ext>
                  </a:extLst>
                </p:cNvPr>
                <p:cNvSpPr>
                  <a:spLocks/>
                </p:cNvSpPr>
                <p:nvPr/>
              </p:nvSpPr>
              <p:spPr bwMode="auto">
                <a:xfrm>
                  <a:off x="1546225" y="5437188"/>
                  <a:ext cx="409575" cy="174625"/>
                </a:xfrm>
                <a:custGeom>
                  <a:avLst/>
                  <a:gdLst>
                    <a:gd name="T0" fmla="*/ 2147483646 w 517"/>
                    <a:gd name="T1" fmla="*/ 0 h 219"/>
                    <a:gd name="T2" fmla="*/ 2147483646 w 517"/>
                    <a:gd name="T3" fmla="*/ 2147483646 h 219"/>
                    <a:gd name="T4" fmla="*/ 0 w 517"/>
                    <a:gd name="T5" fmla="*/ 2147483646 h 219"/>
                    <a:gd name="T6" fmla="*/ 2147483646 w 517"/>
                    <a:gd name="T7" fmla="*/ 0 h 219"/>
                    <a:gd name="T8" fmla="*/ 0 60000 65536"/>
                    <a:gd name="T9" fmla="*/ 0 60000 65536"/>
                    <a:gd name="T10" fmla="*/ 0 60000 65536"/>
                    <a:gd name="T11" fmla="*/ 0 60000 65536"/>
                    <a:gd name="T12" fmla="*/ 0 w 517"/>
                    <a:gd name="T13" fmla="*/ 0 h 219"/>
                    <a:gd name="T14" fmla="*/ 517 w 517"/>
                    <a:gd name="T15" fmla="*/ 219 h 219"/>
                  </a:gdLst>
                  <a:ahLst/>
                  <a:cxnLst>
                    <a:cxn ang="T8">
                      <a:pos x="T0" y="T1"/>
                    </a:cxn>
                    <a:cxn ang="T9">
                      <a:pos x="T2" y="T3"/>
                    </a:cxn>
                    <a:cxn ang="T10">
                      <a:pos x="T4" y="T5"/>
                    </a:cxn>
                    <a:cxn ang="T11">
                      <a:pos x="T6" y="T7"/>
                    </a:cxn>
                  </a:cxnLst>
                  <a:rect l="T12" t="T13" r="T14" b="T15"/>
                  <a:pathLst>
                    <a:path w="517" h="219">
                      <a:moveTo>
                        <a:pt x="517" y="0"/>
                      </a:moveTo>
                      <a:lnTo>
                        <a:pt x="45" y="219"/>
                      </a:lnTo>
                      <a:lnTo>
                        <a:pt x="0" y="196"/>
                      </a:lnTo>
                      <a:lnTo>
                        <a:pt x="5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66" name="Freeform 15">
                  <a:extLst>
                    <a:ext uri="{FF2B5EF4-FFF2-40B4-BE49-F238E27FC236}">
                      <a16:creationId xmlns:a16="http://schemas.microsoft.com/office/drawing/2014/main" id="{6C1C0953-B8A8-4E8D-97BF-BE0F77F65F24}"/>
                    </a:ext>
                  </a:extLst>
                </p:cNvPr>
                <p:cNvSpPr>
                  <a:spLocks/>
                </p:cNvSpPr>
                <p:nvPr/>
              </p:nvSpPr>
              <p:spPr bwMode="auto">
                <a:xfrm>
                  <a:off x="1558925" y="5394325"/>
                  <a:ext cx="361950" cy="193675"/>
                </a:xfrm>
                <a:custGeom>
                  <a:avLst/>
                  <a:gdLst>
                    <a:gd name="T0" fmla="*/ 2147483646 w 457"/>
                    <a:gd name="T1" fmla="*/ 2147483646 h 243"/>
                    <a:gd name="T2" fmla="*/ 2147483646 w 457"/>
                    <a:gd name="T3" fmla="*/ 2147483646 h 243"/>
                    <a:gd name="T4" fmla="*/ 2147483646 w 457"/>
                    <a:gd name="T5" fmla="*/ 2147483646 h 243"/>
                    <a:gd name="T6" fmla="*/ 0 w 457"/>
                    <a:gd name="T7" fmla="*/ 2147483646 h 243"/>
                    <a:gd name="T8" fmla="*/ 2147483646 w 457"/>
                    <a:gd name="T9" fmla="*/ 0 h 243"/>
                    <a:gd name="T10" fmla="*/ 2147483646 w 457"/>
                    <a:gd name="T11" fmla="*/ 2147483646 h 243"/>
                    <a:gd name="T12" fmla="*/ 0 60000 65536"/>
                    <a:gd name="T13" fmla="*/ 0 60000 65536"/>
                    <a:gd name="T14" fmla="*/ 0 60000 65536"/>
                    <a:gd name="T15" fmla="*/ 0 60000 65536"/>
                    <a:gd name="T16" fmla="*/ 0 60000 65536"/>
                    <a:gd name="T17" fmla="*/ 0 60000 65536"/>
                    <a:gd name="T18" fmla="*/ 0 w 457"/>
                    <a:gd name="T19" fmla="*/ 0 h 243"/>
                    <a:gd name="T20" fmla="*/ 457 w 457"/>
                    <a:gd name="T21" fmla="*/ 243 h 243"/>
                  </a:gdLst>
                  <a:ahLst/>
                  <a:cxnLst>
                    <a:cxn ang="T12">
                      <a:pos x="T0" y="T1"/>
                    </a:cxn>
                    <a:cxn ang="T13">
                      <a:pos x="T2" y="T3"/>
                    </a:cxn>
                    <a:cxn ang="T14">
                      <a:pos x="T4" y="T5"/>
                    </a:cxn>
                    <a:cxn ang="T15">
                      <a:pos x="T6" y="T7"/>
                    </a:cxn>
                    <a:cxn ang="T16">
                      <a:pos x="T8" y="T9"/>
                    </a:cxn>
                    <a:cxn ang="T17">
                      <a:pos x="T10" y="T11"/>
                    </a:cxn>
                  </a:cxnLst>
                  <a:rect l="T18" t="T19" r="T20" b="T21"/>
                  <a:pathLst>
                    <a:path w="457" h="243">
                      <a:moveTo>
                        <a:pt x="457" y="41"/>
                      </a:moveTo>
                      <a:lnTo>
                        <a:pt x="135" y="21"/>
                      </a:lnTo>
                      <a:lnTo>
                        <a:pt x="33" y="227"/>
                      </a:lnTo>
                      <a:lnTo>
                        <a:pt x="0" y="243"/>
                      </a:lnTo>
                      <a:lnTo>
                        <a:pt x="117" y="0"/>
                      </a:lnTo>
                      <a:lnTo>
                        <a:pt x="457"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87154" name="그룹 742">
                <a:extLst>
                  <a:ext uri="{FF2B5EF4-FFF2-40B4-BE49-F238E27FC236}">
                    <a16:creationId xmlns:a16="http://schemas.microsoft.com/office/drawing/2014/main" id="{3A0996AC-9816-47A6-96BE-AEB122B963F9}"/>
                  </a:ext>
                </a:extLst>
              </p:cNvPr>
              <p:cNvGrpSpPr>
                <a:grpSpLocks/>
              </p:cNvGrpSpPr>
              <p:nvPr/>
            </p:nvGrpSpPr>
            <p:grpSpPr bwMode="auto">
              <a:xfrm>
                <a:off x="5088456" y="1455397"/>
                <a:ext cx="145731" cy="159066"/>
                <a:chOff x="2560318" y="3571876"/>
                <a:chExt cx="279706" cy="330515"/>
              </a:xfrm>
            </p:grpSpPr>
            <p:grpSp>
              <p:nvGrpSpPr>
                <p:cNvPr id="87156" name="그룹 744">
                  <a:extLst>
                    <a:ext uri="{FF2B5EF4-FFF2-40B4-BE49-F238E27FC236}">
                      <a16:creationId xmlns:a16="http://schemas.microsoft.com/office/drawing/2014/main" id="{696C1FD1-4B59-43DB-ACF5-F53ADD036501}"/>
                    </a:ext>
                  </a:extLst>
                </p:cNvPr>
                <p:cNvGrpSpPr>
                  <a:grpSpLocks/>
                </p:cNvGrpSpPr>
                <p:nvPr/>
              </p:nvGrpSpPr>
              <p:grpSpPr bwMode="auto">
                <a:xfrm>
                  <a:off x="2643174" y="3571876"/>
                  <a:ext cx="196850" cy="142875"/>
                  <a:chOff x="3929058" y="5124458"/>
                  <a:chExt cx="196850" cy="142875"/>
                </a:xfrm>
              </p:grpSpPr>
              <p:sp>
                <p:nvSpPr>
                  <p:cNvPr id="87160" name="Freeform 30">
                    <a:extLst>
                      <a:ext uri="{FF2B5EF4-FFF2-40B4-BE49-F238E27FC236}">
                        <a16:creationId xmlns:a16="http://schemas.microsoft.com/office/drawing/2014/main" id="{1478E9AA-386C-46C2-BE64-38D6B93144C8}"/>
                      </a:ext>
                    </a:extLst>
                  </p:cNvPr>
                  <p:cNvSpPr>
                    <a:spLocks/>
                  </p:cNvSpPr>
                  <p:nvPr/>
                </p:nvSpPr>
                <p:spPr bwMode="auto">
                  <a:xfrm>
                    <a:off x="3929058" y="5124458"/>
                    <a:ext cx="196850" cy="142875"/>
                  </a:xfrm>
                  <a:custGeom>
                    <a:avLst/>
                    <a:gdLst>
                      <a:gd name="T0" fmla="*/ 2147483646 w 247"/>
                      <a:gd name="T1" fmla="*/ 2147483646 h 180"/>
                      <a:gd name="T2" fmla="*/ 2147483646 w 247"/>
                      <a:gd name="T3" fmla="*/ 2147483646 h 180"/>
                      <a:gd name="T4" fmla="*/ 2147483646 w 247"/>
                      <a:gd name="T5" fmla="*/ 0 h 180"/>
                      <a:gd name="T6" fmla="*/ 0 w 247"/>
                      <a:gd name="T7" fmla="*/ 2147483646 h 180"/>
                      <a:gd name="T8" fmla="*/ 2147483646 w 247"/>
                      <a:gd name="T9" fmla="*/ 2147483646 h 180"/>
                      <a:gd name="T10" fmla="*/ 0 60000 65536"/>
                      <a:gd name="T11" fmla="*/ 0 60000 65536"/>
                      <a:gd name="T12" fmla="*/ 0 60000 65536"/>
                      <a:gd name="T13" fmla="*/ 0 60000 65536"/>
                      <a:gd name="T14" fmla="*/ 0 60000 65536"/>
                      <a:gd name="T15" fmla="*/ 0 w 247"/>
                      <a:gd name="T16" fmla="*/ 0 h 180"/>
                      <a:gd name="T17" fmla="*/ 247 w 247"/>
                      <a:gd name="T18" fmla="*/ 180 h 180"/>
                    </a:gdLst>
                    <a:ahLst/>
                    <a:cxnLst>
                      <a:cxn ang="T10">
                        <a:pos x="T0" y="T1"/>
                      </a:cxn>
                      <a:cxn ang="T11">
                        <a:pos x="T2" y="T3"/>
                      </a:cxn>
                      <a:cxn ang="T12">
                        <a:pos x="T4" y="T5"/>
                      </a:cxn>
                      <a:cxn ang="T13">
                        <a:pos x="T6" y="T7"/>
                      </a:cxn>
                      <a:cxn ang="T14">
                        <a:pos x="T8" y="T9"/>
                      </a:cxn>
                    </a:cxnLst>
                    <a:rect l="T15" t="T16" r="T17" b="T18"/>
                    <a:pathLst>
                      <a:path w="247" h="180">
                        <a:moveTo>
                          <a:pt x="187" y="180"/>
                        </a:moveTo>
                        <a:lnTo>
                          <a:pt x="247" y="40"/>
                        </a:lnTo>
                        <a:lnTo>
                          <a:pt x="58" y="0"/>
                        </a:lnTo>
                        <a:lnTo>
                          <a:pt x="0" y="140"/>
                        </a:lnTo>
                        <a:lnTo>
                          <a:pt x="187"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61" name="Freeform 31">
                    <a:extLst>
                      <a:ext uri="{FF2B5EF4-FFF2-40B4-BE49-F238E27FC236}">
                        <a16:creationId xmlns:a16="http://schemas.microsoft.com/office/drawing/2014/main" id="{AB71287A-DD95-4A4E-85FC-9E7204E6EFD3}"/>
                      </a:ext>
                    </a:extLst>
                  </p:cNvPr>
                  <p:cNvSpPr>
                    <a:spLocks/>
                  </p:cNvSpPr>
                  <p:nvPr/>
                </p:nvSpPr>
                <p:spPr bwMode="auto">
                  <a:xfrm>
                    <a:off x="3945867" y="5139130"/>
                    <a:ext cx="142840" cy="114322"/>
                  </a:xfrm>
                  <a:custGeom>
                    <a:avLst/>
                    <a:gdLst>
                      <a:gd name="T0" fmla="*/ 2147483646 w 198"/>
                      <a:gd name="T1" fmla="*/ 2147483646 h 144"/>
                      <a:gd name="T2" fmla="*/ 2147483646 w 198"/>
                      <a:gd name="T3" fmla="*/ 2147483646 h 144"/>
                      <a:gd name="T4" fmla="*/ 2147483646 w 198"/>
                      <a:gd name="T5" fmla="*/ 0 h 144"/>
                      <a:gd name="T6" fmla="*/ 0 w 198"/>
                      <a:gd name="T7" fmla="*/ 2147483646 h 144"/>
                      <a:gd name="T8" fmla="*/ 2147483646 w 198"/>
                      <a:gd name="T9" fmla="*/ 2147483646 h 144"/>
                      <a:gd name="T10" fmla="*/ 0 60000 65536"/>
                      <a:gd name="T11" fmla="*/ 0 60000 65536"/>
                      <a:gd name="T12" fmla="*/ 0 60000 65536"/>
                      <a:gd name="T13" fmla="*/ 0 60000 65536"/>
                      <a:gd name="T14" fmla="*/ 0 60000 65536"/>
                      <a:gd name="T15" fmla="*/ 0 w 198"/>
                      <a:gd name="T16" fmla="*/ 0 h 144"/>
                      <a:gd name="T17" fmla="*/ 198 w 198"/>
                      <a:gd name="T18" fmla="*/ 144 h 144"/>
                    </a:gdLst>
                    <a:ahLst/>
                    <a:cxnLst>
                      <a:cxn ang="T10">
                        <a:pos x="T0" y="T1"/>
                      </a:cxn>
                      <a:cxn ang="T11">
                        <a:pos x="T2" y="T3"/>
                      </a:cxn>
                      <a:cxn ang="T12">
                        <a:pos x="T4" y="T5"/>
                      </a:cxn>
                      <a:cxn ang="T13">
                        <a:pos x="T6" y="T7"/>
                      </a:cxn>
                      <a:cxn ang="T14">
                        <a:pos x="T8" y="T9"/>
                      </a:cxn>
                    </a:cxnLst>
                    <a:rect l="T15" t="T16" r="T17" b="T18"/>
                    <a:pathLst>
                      <a:path w="198" h="144">
                        <a:moveTo>
                          <a:pt x="151" y="144"/>
                        </a:moveTo>
                        <a:lnTo>
                          <a:pt x="198" y="32"/>
                        </a:lnTo>
                        <a:lnTo>
                          <a:pt x="48" y="0"/>
                        </a:lnTo>
                        <a:lnTo>
                          <a:pt x="0" y="112"/>
                        </a:lnTo>
                        <a:lnTo>
                          <a:pt x="151" y="14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87157" name="그룹 745">
                  <a:extLst>
                    <a:ext uri="{FF2B5EF4-FFF2-40B4-BE49-F238E27FC236}">
                      <a16:creationId xmlns:a16="http://schemas.microsoft.com/office/drawing/2014/main" id="{B9FD369A-041F-4913-8952-C81D26AFFEA4}"/>
                    </a:ext>
                  </a:extLst>
                </p:cNvPr>
                <p:cNvGrpSpPr>
                  <a:grpSpLocks/>
                </p:cNvGrpSpPr>
                <p:nvPr/>
              </p:nvGrpSpPr>
              <p:grpSpPr bwMode="auto">
                <a:xfrm>
                  <a:off x="2560318" y="3759516"/>
                  <a:ext cx="222099" cy="142875"/>
                  <a:chOff x="3929058" y="5124458"/>
                  <a:chExt cx="222099" cy="142875"/>
                </a:xfrm>
              </p:grpSpPr>
              <p:sp>
                <p:nvSpPr>
                  <p:cNvPr id="87158" name="Freeform 30">
                    <a:extLst>
                      <a:ext uri="{FF2B5EF4-FFF2-40B4-BE49-F238E27FC236}">
                        <a16:creationId xmlns:a16="http://schemas.microsoft.com/office/drawing/2014/main" id="{E08804D4-3D88-4790-9472-69B058123CE0}"/>
                      </a:ext>
                    </a:extLst>
                  </p:cNvPr>
                  <p:cNvSpPr>
                    <a:spLocks/>
                  </p:cNvSpPr>
                  <p:nvPr/>
                </p:nvSpPr>
                <p:spPr bwMode="auto">
                  <a:xfrm>
                    <a:off x="3929058" y="5124458"/>
                    <a:ext cx="196850" cy="142875"/>
                  </a:xfrm>
                  <a:custGeom>
                    <a:avLst/>
                    <a:gdLst>
                      <a:gd name="T0" fmla="*/ 2147483646 w 247"/>
                      <a:gd name="T1" fmla="*/ 2147483646 h 180"/>
                      <a:gd name="T2" fmla="*/ 2147483646 w 247"/>
                      <a:gd name="T3" fmla="*/ 2147483646 h 180"/>
                      <a:gd name="T4" fmla="*/ 2147483646 w 247"/>
                      <a:gd name="T5" fmla="*/ 0 h 180"/>
                      <a:gd name="T6" fmla="*/ 0 w 247"/>
                      <a:gd name="T7" fmla="*/ 2147483646 h 180"/>
                      <a:gd name="T8" fmla="*/ 2147483646 w 247"/>
                      <a:gd name="T9" fmla="*/ 2147483646 h 180"/>
                      <a:gd name="T10" fmla="*/ 0 60000 65536"/>
                      <a:gd name="T11" fmla="*/ 0 60000 65536"/>
                      <a:gd name="T12" fmla="*/ 0 60000 65536"/>
                      <a:gd name="T13" fmla="*/ 0 60000 65536"/>
                      <a:gd name="T14" fmla="*/ 0 60000 65536"/>
                      <a:gd name="T15" fmla="*/ 0 w 247"/>
                      <a:gd name="T16" fmla="*/ 0 h 180"/>
                      <a:gd name="T17" fmla="*/ 247 w 247"/>
                      <a:gd name="T18" fmla="*/ 180 h 180"/>
                    </a:gdLst>
                    <a:ahLst/>
                    <a:cxnLst>
                      <a:cxn ang="T10">
                        <a:pos x="T0" y="T1"/>
                      </a:cxn>
                      <a:cxn ang="T11">
                        <a:pos x="T2" y="T3"/>
                      </a:cxn>
                      <a:cxn ang="T12">
                        <a:pos x="T4" y="T5"/>
                      </a:cxn>
                      <a:cxn ang="T13">
                        <a:pos x="T6" y="T7"/>
                      </a:cxn>
                      <a:cxn ang="T14">
                        <a:pos x="T8" y="T9"/>
                      </a:cxn>
                    </a:cxnLst>
                    <a:rect l="T15" t="T16" r="T17" b="T18"/>
                    <a:pathLst>
                      <a:path w="247" h="180">
                        <a:moveTo>
                          <a:pt x="187" y="180"/>
                        </a:moveTo>
                        <a:lnTo>
                          <a:pt x="247" y="40"/>
                        </a:lnTo>
                        <a:lnTo>
                          <a:pt x="58" y="0"/>
                        </a:lnTo>
                        <a:lnTo>
                          <a:pt x="0" y="140"/>
                        </a:lnTo>
                        <a:lnTo>
                          <a:pt x="187"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159" name="Freeform 31">
                    <a:extLst>
                      <a:ext uri="{FF2B5EF4-FFF2-40B4-BE49-F238E27FC236}">
                        <a16:creationId xmlns:a16="http://schemas.microsoft.com/office/drawing/2014/main" id="{2882F97B-966E-4B3F-9037-F15B8356FB5A}"/>
                      </a:ext>
                    </a:extLst>
                  </p:cNvPr>
                  <p:cNvSpPr>
                    <a:spLocks/>
                  </p:cNvSpPr>
                  <p:nvPr/>
                </p:nvSpPr>
                <p:spPr bwMode="auto">
                  <a:xfrm>
                    <a:off x="3950503" y="5161697"/>
                    <a:ext cx="200654" cy="92198"/>
                  </a:xfrm>
                  <a:custGeom>
                    <a:avLst/>
                    <a:gdLst>
                      <a:gd name="T0" fmla="*/ 2147483646 w 198"/>
                      <a:gd name="T1" fmla="*/ 2147483646 h 144"/>
                      <a:gd name="T2" fmla="*/ 2147483646 w 198"/>
                      <a:gd name="T3" fmla="*/ 2147483646 h 144"/>
                      <a:gd name="T4" fmla="*/ 2147483646 w 198"/>
                      <a:gd name="T5" fmla="*/ 0 h 144"/>
                      <a:gd name="T6" fmla="*/ 0 w 198"/>
                      <a:gd name="T7" fmla="*/ 2147483646 h 144"/>
                      <a:gd name="T8" fmla="*/ 2147483646 w 198"/>
                      <a:gd name="T9" fmla="*/ 2147483646 h 144"/>
                      <a:gd name="T10" fmla="*/ 0 60000 65536"/>
                      <a:gd name="T11" fmla="*/ 0 60000 65536"/>
                      <a:gd name="T12" fmla="*/ 0 60000 65536"/>
                      <a:gd name="T13" fmla="*/ 0 60000 65536"/>
                      <a:gd name="T14" fmla="*/ 0 60000 65536"/>
                      <a:gd name="T15" fmla="*/ 0 w 198"/>
                      <a:gd name="T16" fmla="*/ 0 h 144"/>
                      <a:gd name="T17" fmla="*/ 198 w 198"/>
                      <a:gd name="T18" fmla="*/ 144 h 144"/>
                    </a:gdLst>
                    <a:ahLst/>
                    <a:cxnLst>
                      <a:cxn ang="T10">
                        <a:pos x="T0" y="T1"/>
                      </a:cxn>
                      <a:cxn ang="T11">
                        <a:pos x="T2" y="T3"/>
                      </a:cxn>
                      <a:cxn ang="T12">
                        <a:pos x="T4" y="T5"/>
                      </a:cxn>
                      <a:cxn ang="T13">
                        <a:pos x="T6" y="T7"/>
                      </a:cxn>
                      <a:cxn ang="T14">
                        <a:pos x="T8" y="T9"/>
                      </a:cxn>
                    </a:cxnLst>
                    <a:rect l="T15" t="T16" r="T17" b="T18"/>
                    <a:pathLst>
                      <a:path w="198" h="144">
                        <a:moveTo>
                          <a:pt x="151" y="144"/>
                        </a:moveTo>
                        <a:lnTo>
                          <a:pt x="198" y="32"/>
                        </a:lnTo>
                        <a:lnTo>
                          <a:pt x="48" y="0"/>
                        </a:lnTo>
                        <a:lnTo>
                          <a:pt x="0" y="112"/>
                        </a:lnTo>
                        <a:lnTo>
                          <a:pt x="151" y="14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sp>
            <p:nvSpPr>
              <p:cNvPr id="87155" name="Freeform 25">
                <a:extLst>
                  <a:ext uri="{FF2B5EF4-FFF2-40B4-BE49-F238E27FC236}">
                    <a16:creationId xmlns:a16="http://schemas.microsoft.com/office/drawing/2014/main" id="{1FE65857-A1E8-45A1-93AB-6A62FE2F3449}"/>
                  </a:ext>
                </a:extLst>
              </p:cNvPr>
              <p:cNvSpPr>
                <a:spLocks/>
              </p:cNvSpPr>
              <p:nvPr/>
            </p:nvSpPr>
            <p:spPr bwMode="auto">
              <a:xfrm>
                <a:off x="5125636" y="1536369"/>
                <a:ext cx="116853" cy="57588"/>
              </a:xfrm>
              <a:custGeom>
                <a:avLst/>
                <a:gdLst>
                  <a:gd name="T0" fmla="*/ 2147483646 w 226"/>
                  <a:gd name="T1" fmla="*/ 2147483646 h 93"/>
                  <a:gd name="T2" fmla="*/ 2147483646 w 226"/>
                  <a:gd name="T3" fmla="*/ 2147483646 h 93"/>
                  <a:gd name="T4" fmla="*/ 2147483646 w 226"/>
                  <a:gd name="T5" fmla="*/ 2147483646 h 93"/>
                  <a:gd name="T6" fmla="*/ 2147483646 w 226"/>
                  <a:gd name="T7" fmla="*/ 2147483646 h 93"/>
                  <a:gd name="T8" fmla="*/ 2147483646 w 226"/>
                  <a:gd name="T9" fmla="*/ 2147483646 h 93"/>
                  <a:gd name="T10" fmla="*/ 2147483646 w 226"/>
                  <a:gd name="T11" fmla="*/ 2147483646 h 93"/>
                  <a:gd name="T12" fmla="*/ 2147483646 w 226"/>
                  <a:gd name="T13" fmla="*/ 2147483646 h 93"/>
                  <a:gd name="T14" fmla="*/ 2147483646 w 226"/>
                  <a:gd name="T15" fmla="*/ 2147483646 h 93"/>
                  <a:gd name="T16" fmla="*/ 2147483646 w 226"/>
                  <a:gd name="T17" fmla="*/ 2147483646 h 93"/>
                  <a:gd name="T18" fmla="*/ 2147483646 w 226"/>
                  <a:gd name="T19" fmla="*/ 2147483646 h 93"/>
                  <a:gd name="T20" fmla="*/ 2147483646 w 226"/>
                  <a:gd name="T21" fmla="*/ 2147483646 h 93"/>
                  <a:gd name="T22" fmla="*/ 2147483646 w 226"/>
                  <a:gd name="T23" fmla="*/ 2147483646 h 93"/>
                  <a:gd name="T24" fmla="*/ 2147483646 w 226"/>
                  <a:gd name="T25" fmla="*/ 2147483646 h 93"/>
                  <a:gd name="T26" fmla="*/ 2147483646 w 226"/>
                  <a:gd name="T27" fmla="*/ 2147483646 h 93"/>
                  <a:gd name="T28" fmla="*/ 2147483646 w 226"/>
                  <a:gd name="T29" fmla="*/ 2147483646 h 93"/>
                  <a:gd name="T30" fmla="*/ 2147483646 w 226"/>
                  <a:gd name="T31" fmla="*/ 2147483646 h 93"/>
                  <a:gd name="T32" fmla="*/ 2147483646 w 226"/>
                  <a:gd name="T33" fmla="*/ 2147483646 h 93"/>
                  <a:gd name="T34" fmla="*/ 2147483646 w 226"/>
                  <a:gd name="T35" fmla="*/ 2147483646 h 93"/>
                  <a:gd name="T36" fmla="*/ 2147483646 w 226"/>
                  <a:gd name="T37" fmla="*/ 2147483646 h 93"/>
                  <a:gd name="T38" fmla="*/ 2147483646 w 226"/>
                  <a:gd name="T39" fmla="*/ 2147483646 h 93"/>
                  <a:gd name="T40" fmla="*/ 0 w 226"/>
                  <a:gd name="T41" fmla="*/ 2147483646 h 93"/>
                  <a:gd name="T42" fmla="*/ 2147483646 w 226"/>
                  <a:gd name="T43" fmla="*/ 2147483646 h 93"/>
                  <a:gd name="T44" fmla="*/ 2147483646 w 226"/>
                  <a:gd name="T45" fmla="*/ 2147483646 h 93"/>
                  <a:gd name="T46" fmla="*/ 2147483646 w 226"/>
                  <a:gd name="T47" fmla="*/ 2147483646 h 93"/>
                  <a:gd name="T48" fmla="*/ 2147483646 w 226"/>
                  <a:gd name="T49" fmla="*/ 2147483646 h 93"/>
                  <a:gd name="T50" fmla="*/ 2147483646 w 226"/>
                  <a:gd name="T51" fmla="*/ 2147483646 h 93"/>
                  <a:gd name="T52" fmla="*/ 2147483646 w 226"/>
                  <a:gd name="T53" fmla="*/ 2147483646 h 93"/>
                  <a:gd name="T54" fmla="*/ 2147483646 w 226"/>
                  <a:gd name="T55" fmla="*/ 2147483646 h 93"/>
                  <a:gd name="T56" fmla="*/ 2147483646 w 226"/>
                  <a:gd name="T57" fmla="*/ 2147483646 h 93"/>
                  <a:gd name="T58" fmla="*/ 2147483646 w 226"/>
                  <a:gd name="T59" fmla="*/ 2147483646 h 93"/>
                  <a:gd name="T60" fmla="*/ 2147483646 w 226"/>
                  <a:gd name="T61" fmla="*/ 2147483646 h 93"/>
                  <a:gd name="T62" fmla="*/ 2147483646 w 226"/>
                  <a:gd name="T63" fmla="*/ 2147483646 h 93"/>
                  <a:gd name="T64" fmla="*/ 2147483646 w 226"/>
                  <a:gd name="T65" fmla="*/ 2147483646 h 93"/>
                  <a:gd name="T66" fmla="*/ 2147483646 w 226"/>
                  <a:gd name="T67" fmla="*/ 2147483646 h 93"/>
                  <a:gd name="T68" fmla="*/ 2147483646 w 226"/>
                  <a:gd name="T69" fmla="*/ 2147483646 h 93"/>
                  <a:gd name="T70" fmla="*/ 2147483646 w 226"/>
                  <a:gd name="T71" fmla="*/ 2147483646 h 93"/>
                  <a:gd name="T72" fmla="*/ 2147483646 w 226"/>
                  <a:gd name="T73" fmla="*/ 2147483646 h 93"/>
                  <a:gd name="T74" fmla="*/ 2147483646 w 226"/>
                  <a:gd name="T75" fmla="*/ 2147483646 h 93"/>
                  <a:gd name="T76" fmla="*/ 2147483646 w 226"/>
                  <a:gd name="T77" fmla="*/ 2147483646 h 93"/>
                  <a:gd name="T78" fmla="*/ 2147483646 w 226"/>
                  <a:gd name="T79" fmla="*/ 2147483646 h 93"/>
                  <a:gd name="T80" fmla="*/ 2147483646 w 226"/>
                  <a:gd name="T81" fmla="*/ 2147483646 h 93"/>
                  <a:gd name="T82" fmla="*/ 2147483646 w 226"/>
                  <a:gd name="T83" fmla="*/ 2147483646 h 93"/>
                  <a:gd name="T84" fmla="*/ 2147483646 w 226"/>
                  <a:gd name="T85" fmla="*/ 2147483646 h 93"/>
                  <a:gd name="T86" fmla="*/ 2147483646 w 226"/>
                  <a:gd name="T87" fmla="*/ 2147483646 h 93"/>
                  <a:gd name="T88" fmla="*/ 2147483646 w 226"/>
                  <a:gd name="T89" fmla="*/ 0 h 93"/>
                  <a:gd name="T90" fmla="*/ 2147483646 w 226"/>
                  <a:gd name="T91" fmla="*/ 0 h 93"/>
                  <a:gd name="T92" fmla="*/ 2147483646 w 226"/>
                  <a:gd name="T93" fmla="*/ 0 h 93"/>
                  <a:gd name="T94" fmla="*/ 2147483646 w 226"/>
                  <a:gd name="T95" fmla="*/ 2147483646 h 93"/>
                  <a:gd name="T96" fmla="*/ 2147483646 w 226"/>
                  <a:gd name="T97" fmla="*/ 2147483646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26"/>
                  <a:gd name="T148" fmla="*/ 0 h 93"/>
                  <a:gd name="T149" fmla="*/ 226 w 226"/>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26" h="93">
                    <a:moveTo>
                      <a:pt x="226" y="1"/>
                    </a:moveTo>
                    <a:lnTo>
                      <a:pt x="214" y="6"/>
                    </a:lnTo>
                    <a:lnTo>
                      <a:pt x="201" y="12"/>
                    </a:lnTo>
                    <a:lnTo>
                      <a:pt x="190" y="16"/>
                    </a:lnTo>
                    <a:lnTo>
                      <a:pt x="177" y="21"/>
                    </a:lnTo>
                    <a:lnTo>
                      <a:pt x="165" y="25"/>
                    </a:lnTo>
                    <a:lnTo>
                      <a:pt x="153" y="31"/>
                    </a:lnTo>
                    <a:lnTo>
                      <a:pt x="141" y="36"/>
                    </a:lnTo>
                    <a:lnTo>
                      <a:pt x="130" y="42"/>
                    </a:lnTo>
                    <a:lnTo>
                      <a:pt x="116" y="47"/>
                    </a:lnTo>
                    <a:lnTo>
                      <a:pt x="103" y="54"/>
                    </a:lnTo>
                    <a:lnTo>
                      <a:pt x="91" y="60"/>
                    </a:lnTo>
                    <a:lnTo>
                      <a:pt x="78" y="66"/>
                    </a:lnTo>
                    <a:lnTo>
                      <a:pt x="64" y="73"/>
                    </a:lnTo>
                    <a:lnTo>
                      <a:pt x="51" y="80"/>
                    </a:lnTo>
                    <a:lnTo>
                      <a:pt x="39" y="87"/>
                    </a:lnTo>
                    <a:lnTo>
                      <a:pt x="26" y="93"/>
                    </a:lnTo>
                    <a:lnTo>
                      <a:pt x="19" y="78"/>
                    </a:lnTo>
                    <a:lnTo>
                      <a:pt x="12" y="63"/>
                    </a:lnTo>
                    <a:lnTo>
                      <a:pt x="5" y="50"/>
                    </a:lnTo>
                    <a:lnTo>
                      <a:pt x="0" y="35"/>
                    </a:lnTo>
                    <a:lnTo>
                      <a:pt x="3" y="32"/>
                    </a:lnTo>
                    <a:lnTo>
                      <a:pt x="6" y="29"/>
                    </a:lnTo>
                    <a:lnTo>
                      <a:pt x="10" y="28"/>
                    </a:lnTo>
                    <a:lnTo>
                      <a:pt x="14" y="28"/>
                    </a:lnTo>
                    <a:lnTo>
                      <a:pt x="18" y="39"/>
                    </a:lnTo>
                    <a:lnTo>
                      <a:pt x="23" y="51"/>
                    </a:lnTo>
                    <a:lnTo>
                      <a:pt x="28" y="62"/>
                    </a:lnTo>
                    <a:lnTo>
                      <a:pt x="33" y="74"/>
                    </a:lnTo>
                    <a:lnTo>
                      <a:pt x="40" y="70"/>
                    </a:lnTo>
                    <a:lnTo>
                      <a:pt x="46" y="68"/>
                    </a:lnTo>
                    <a:lnTo>
                      <a:pt x="53" y="65"/>
                    </a:lnTo>
                    <a:lnTo>
                      <a:pt x="58" y="61"/>
                    </a:lnTo>
                    <a:lnTo>
                      <a:pt x="64" y="59"/>
                    </a:lnTo>
                    <a:lnTo>
                      <a:pt x="71" y="55"/>
                    </a:lnTo>
                    <a:lnTo>
                      <a:pt x="77" y="53"/>
                    </a:lnTo>
                    <a:lnTo>
                      <a:pt x="84" y="50"/>
                    </a:lnTo>
                    <a:lnTo>
                      <a:pt x="101" y="43"/>
                    </a:lnTo>
                    <a:lnTo>
                      <a:pt x="118" y="36"/>
                    </a:lnTo>
                    <a:lnTo>
                      <a:pt x="135" y="29"/>
                    </a:lnTo>
                    <a:lnTo>
                      <a:pt x="153" y="23"/>
                    </a:lnTo>
                    <a:lnTo>
                      <a:pt x="170" y="16"/>
                    </a:lnTo>
                    <a:lnTo>
                      <a:pt x="187" y="10"/>
                    </a:lnTo>
                    <a:lnTo>
                      <a:pt x="206" y="5"/>
                    </a:lnTo>
                    <a:lnTo>
                      <a:pt x="224" y="0"/>
                    </a:lnTo>
                    <a:lnTo>
                      <a:pt x="225" y="0"/>
                    </a:lnTo>
                    <a:lnTo>
                      <a:pt x="226" y="1"/>
                    </a:lnTo>
                    <a:close/>
                  </a:path>
                </a:pathLst>
              </a:custGeom>
              <a:solidFill>
                <a:srgbClr val="000000"/>
              </a:solidFill>
              <a:ln w="9525">
                <a:solidFill>
                  <a:srgbClr val="FF0000"/>
                </a:solidFill>
                <a:round/>
                <a:headEnd/>
                <a:tailEnd/>
              </a:ln>
            </p:spPr>
            <p:txBody>
              <a:bodyPr/>
              <a:lstStyle/>
              <a:p>
                <a:endParaRPr lang="en-GB"/>
              </a:p>
            </p:txBody>
          </p:sp>
        </p:grpSp>
        <p:sp>
          <p:nvSpPr>
            <p:cNvPr id="87146" name="TextBox 1021">
              <a:extLst>
                <a:ext uri="{FF2B5EF4-FFF2-40B4-BE49-F238E27FC236}">
                  <a16:creationId xmlns:a16="http://schemas.microsoft.com/office/drawing/2014/main" id="{A955B9A9-CAB7-4E57-B59E-95E4E29F0872}"/>
                </a:ext>
              </a:extLst>
            </p:cNvPr>
            <p:cNvSpPr txBox="1">
              <a:spLocks noChangeArrowheads="1"/>
            </p:cNvSpPr>
            <p:nvPr/>
          </p:nvSpPr>
          <p:spPr bwMode="auto">
            <a:xfrm>
              <a:off x="2867025" y="2235186"/>
              <a:ext cx="81438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algn="ctr" eaLnBrk="1" latinLnBrk="1" hangingPunct="1">
                <a:spcBef>
                  <a:spcPct val="0"/>
                </a:spcBef>
                <a:buClrTx/>
                <a:buSzTx/>
                <a:buFontTx/>
                <a:buNone/>
              </a:pPr>
              <a:r>
                <a:rPr kumimoji="1" lang="en-US" altLang="ko-KR" sz="900" b="1">
                  <a:solidFill>
                    <a:schemeClr val="tx1"/>
                  </a:solidFill>
                  <a:ea typeface="산돌고딕 M"/>
                  <a:cs typeface="Arial" panose="020B0604020202020204" pitchFamily="34" charset="0"/>
                </a:rPr>
                <a:t>Application</a:t>
              </a:r>
            </a:p>
            <a:p>
              <a:pPr algn="ctr" eaLnBrk="1" latinLnBrk="1" hangingPunct="1">
                <a:spcBef>
                  <a:spcPct val="0"/>
                </a:spcBef>
                <a:buClrTx/>
                <a:buSzTx/>
                <a:buFontTx/>
                <a:buNone/>
              </a:pPr>
              <a:r>
                <a:rPr kumimoji="1" lang="en-US" altLang="ko-KR" sz="900" b="1">
                  <a:solidFill>
                    <a:schemeClr val="tx1"/>
                  </a:solidFill>
                  <a:ea typeface="산돌고딕 M"/>
                  <a:cs typeface="Arial" panose="020B0604020202020204" pitchFamily="34" charset="0"/>
                </a:rPr>
                <a:t>Receiving</a:t>
              </a:r>
              <a:endParaRPr kumimoji="1" lang="ko-KR" altLang="en-US" sz="900" b="1">
                <a:solidFill>
                  <a:schemeClr val="tx1"/>
                </a:solidFill>
                <a:ea typeface="산돌고딕 M"/>
                <a:cs typeface="Arial" panose="020B0604020202020204" pitchFamily="34" charset="0"/>
              </a:endParaRPr>
            </a:p>
          </p:txBody>
        </p:sp>
        <p:sp>
          <p:nvSpPr>
            <p:cNvPr id="87147" name="TextBox 1022">
              <a:extLst>
                <a:ext uri="{FF2B5EF4-FFF2-40B4-BE49-F238E27FC236}">
                  <a16:creationId xmlns:a16="http://schemas.microsoft.com/office/drawing/2014/main" id="{26ED7207-0125-4D26-A8B1-576BA5BFD5D6}"/>
                </a:ext>
              </a:extLst>
            </p:cNvPr>
            <p:cNvSpPr txBox="1">
              <a:spLocks noChangeArrowheads="1"/>
            </p:cNvSpPr>
            <p:nvPr/>
          </p:nvSpPr>
          <p:spPr bwMode="auto">
            <a:xfrm>
              <a:off x="4486275" y="2235186"/>
              <a:ext cx="70326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algn="ctr" eaLnBrk="1" latinLnBrk="1" hangingPunct="1">
                <a:spcBef>
                  <a:spcPct val="0"/>
                </a:spcBef>
                <a:buClrTx/>
                <a:buSzTx/>
                <a:buFontTx/>
                <a:buNone/>
              </a:pPr>
              <a:r>
                <a:rPr kumimoji="1" lang="en-US" altLang="ko-KR" sz="900" b="1">
                  <a:solidFill>
                    <a:schemeClr val="tx1"/>
                  </a:solidFill>
                  <a:ea typeface="산돌고딕 M"/>
                  <a:cs typeface="Arial" panose="020B0604020202020204" pitchFamily="34" charset="0"/>
                </a:rPr>
                <a:t>Formality</a:t>
              </a:r>
            </a:p>
            <a:p>
              <a:pPr algn="ctr" eaLnBrk="1" latinLnBrk="1" hangingPunct="1">
                <a:spcBef>
                  <a:spcPct val="0"/>
                </a:spcBef>
                <a:buClrTx/>
                <a:buSzTx/>
                <a:buFontTx/>
                <a:buNone/>
              </a:pPr>
              <a:r>
                <a:rPr kumimoji="1" lang="en-US" altLang="ko-KR" sz="900" b="1">
                  <a:solidFill>
                    <a:schemeClr val="tx1"/>
                  </a:solidFill>
                  <a:ea typeface="산돌고딕 M"/>
                  <a:cs typeface="Arial" panose="020B0604020202020204" pitchFamily="34" charset="0"/>
                </a:rPr>
                <a:t>Checking</a:t>
              </a:r>
              <a:endParaRPr kumimoji="1" lang="ko-KR" altLang="en-US" sz="900" b="1">
                <a:solidFill>
                  <a:schemeClr val="tx1"/>
                </a:solidFill>
                <a:ea typeface="산돌고딕 M"/>
                <a:cs typeface="Arial" panose="020B0604020202020204" pitchFamily="34" charset="0"/>
              </a:endParaRPr>
            </a:p>
          </p:txBody>
        </p:sp>
        <p:sp>
          <p:nvSpPr>
            <p:cNvPr id="87148" name="TextBox 1066">
              <a:extLst>
                <a:ext uri="{FF2B5EF4-FFF2-40B4-BE49-F238E27FC236}">
                  <a16:creationId xmlns:a16="http://schemas.microsoft.com/office/drawing/2014/main" id="{198DB1D7-1CCA-4A4B-ACCC-B9F7AAF6B06B}"/>
                </a:ext>
              </a:extLst>
            </p:cNvPr>
            <p:cNvSpPr txBox="1">
              <a:spLocks noChangeArrowheads="1"/>
            </p:cNvSpPr>
            <p:nvPr/>
          </p:nvSpPr>
          <p:spPr bwMode="auto">
            <a:xfrm>
              <a:off x="3694113" y="2235186"/>
              <a:ext cx="8064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1pPr>
              <a:lvl2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2pPr>
              <a:lvl3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3pPr>
              <a:lvl4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4pPr>
              <a:lvl5pPr>
                <a:spcBef>
                  <a:spcPts val="550"/>
                </a:spcBef>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5pPr>
              <a:lvl6pPr marL="25146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6pPr>
              <a:lvl7pPr marL="29718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7pPr>
              <a:lvl8pPr marL="34290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8pPr>
              <a:lvl9pPr marL="3886200" indent="-228600" defTabSz="449263" eaLnBrk="0" fontAlgn="base" hangingPunct="0">
                <a:spcBef>
                  <a:spcPts val="550"/>
                </a:spcBef>
                <a:spcAft>
                  <a:spcPct val="0"/>
                </a:spcAft>
                <a:buClr>
                  <a:srgbClr val="000000"/>
                </a:buClr>
                <a:buSzPct val="100000"/>
                <a:buFont typeface="Times New Roman" panose="02020603050405020304" pitchFamily="18" charset="0"/>
                <a:defRPr sz="2200">
                  <a:solidFill>
                    <a:srgbClr val="000000"/>
                  </a:solidFill>
                  <a:latin typeface="Arial" panose="020B0604020202020204" pitchFamily="34" charset="0"/>
                  <a:ea typeface="ヒラギノ角ゴ Pro W3"/>
                  <a:cs typeface="ヒラギノ角ゴ Pro W3"/>
                </a:defRPr>
              </a:lvl9pPr>
            </a:lstStyle>
            <a:p>
              <a:pPr algn="ctr" eaLnBrk="1" latinLnBrk="1" hangingPunct="1">
                <a:spcBef>
                  <a:spcPct val="0"/>
                </a:spcBef>
                <a:buClrTx/>
                <a:buSzTx/>
                <a:buFontTx/>
                <a:buNone/>
              </a:pPr>
              <a:r>
                <a:rPr kumimoji="1" lang="en-US" altLang="ko-KR" sz="900" b="1">
                  <a:solidFill>
                    <a:schemeClr val="tx1"/>
                  </a:solidFill>
                  <a:ea typeface="산돌고딕 M"/>
                  <a:cs typeface="Arial" panose="020B0604020202020204" pitchFamily="34" charset="0"/>
                </a:rPr>
                <a:t>Document </a:t>
              </a:r>
            </a:p>
            <a:p>
              <a:pPr algn="ctr" eaLnBrk="1" latinLnBrk="1" hangingPunct="1">
                <a:spcBef>
                  <a:spcPct val="0"/>
                </a:spcBef>
                <a:buClrTx/>
                <a:buSzTx/>
                <a:buFontTx/>
                <a:buNone/>
              </a:pPr>
              <a:r>
                <a:rPr kumimoji="1" lang="en-US" altLang="ko-KR" sz="900" b="1">
                  <a:solidFill>
                    <a:schemeClr val="tx1"/>
                  </a:solidFill>
                  <a:ea typeface="산돌고딕 M"/>
                  <a:cs typeface="Arial" panose="020B0604020202020204" pitchFamily="34" charset="0"/>
                </a:rPr>
                <a:t>Digitization</a:t>
              </a:r>
              <a:endParaRPr kumimoji="1" lang="ko-KR" altLang="en-US" sz="900" b="1">
                <a:solidFill>
                  <a:schemeClr val="tx1"/>
                </a:solidFill>
                <a:ea typeface="산돌고딕 M"/>
                <a:cs typeface="Arial" panose="020B0604020202020204" pitchFamily="34" charset="0"/>
              </a:endParaRPr>
            </a:p>
          </p:txBody>
        </p:sp>
        <p:sp>
          <p:nvSpPr>
            <p:cNvPr id="730" name="위쪽/아래쪽 화살표 729">
              <a:extLst>
                <a:ext uri="{FF2B5EF4-FFF2-40B4-BE49-F238E27FC236}">
                  <a16:creationId xmlns:a16="http://schemas.microsoft.com/office/drawing/2014/main" id="{C7247624-69FD-4346-9414-DDBD214712AC}"/>
                </a:ext>
              </a:extLst>
            </p:cNvPr>
            <p:cNvSpPr>
              <a:spLocks noChangeArrowheads="1"/>
            </p:cNvSpPr>
            <p:nvPr/>
          </p:nvSpPr>
          <p:spPr bwMode="auto">
            <a:xfrm>
              <a:off x="4419600" y="2613011"/>
              <a:ext cx="233363" cy="447675"/>
            </a:xfrm>
            <a:prstGeom prst="upDownArrow">
              <a:avLst>
                <a:gd name="adj1" fmla="val 55750"/>
                <a:gd name="adj2" fmla="val 27834"/>
              </a:avLst>
            </a:prstGeom>
            <a:solidFill>
              <a:srgbClr val="FF6E01"/>
            </a:solidFill>
            <a:ln>
              <a:noFill/>
            </a:ln>
            <a:effectLst>
              <a:outerShdw blurRad="63500" dist="38100" dir="2700000" algn="tl" rotWithShape="0">
                <a:srgbClr val="000000">
                  <a:alpha val="39998"/>
                </a:srgbClr>
              </a:outerShdw>
            </a:effectLst>
          </p:spPr>
          <p:txBody>
            <a:bodyPr lIns="18000" tIns="0" rIns="18000" bIns="0"/>
            <a:lstStyle/>
            <a:p>
              <a:pPr algn="ctr" eaLnBrk="1" latinLnBrk="1" hangingPunct="1">
                <a:defRPr/>
              </a:pPr>
              <a:endParaRPr lang="ko-KR" altLang="en-US" sz="1200" b="1">
                <a:latin typeface="Arial" charset="0"/>
                <a:ea typeface="맑은 고딕" pitchFamily="50" charset="-127"/>
                <a:cs typeface="맑은 고딕" pitchFamily="50" charset="-127"/>
              </a:endParaRPr>
            </a:p>
          </p:txBody>
        </p:sp>
        <p:sp>
          <p:nvSpPr>
            <p:cNvPr id="731" name="위쪽/아래쪽 화살표 730">
              <a:extLst>
                <a:ext uri="{FF2B5EF4-FFF2-40B4-BE49-F238E27FC236}">
                  <a16:creationId xmlns:a16="http://schemas.microsoft.com/office/drawing/2014/main" id="{6959E93F-5DC2-4E15-BC1D-9F29AC45D867}"/>
                </a:ext>
              </a:extLst>
            </p:cNvPr>
            <p:cNvSpPr>
              <a:spLocks noChangeArrowheads="1"/>
            </p:cNvSpPr>
            <p:nvPr/>
          </p:nvSpPr>
          <p:spPr bwMode="auto">
            <a:xfrm rot="5400000">
              <a:off x="6415881" y="3739343"/>
              <a:ext cx="214313" cy="450850"/>
            </a:xfrm>
            <a:prstGeom prst="upDownArrow">
              <a:avLst>
                <a:gd name="adj1" fmla="val 55750"/>
                <a:gd name="adj2" fmla="val 27835"/>
              </a:avLst>
            </a:prstGeom>
            <a:solidFill>
              <a:srgbClr val="FF6E01"/>
            </a:solidFill>
            <a:ln>
              <a:noFill/>
            </a:ln>
            <a:effectLst>
              <a:outerShdw blurRad="63500" dist="38100" dir="2700000" algn="tl" rotWithShape="0">
                <a:srgbClr val="000000">
                  <a:alpha val="39998"/>
                </a:srgbClr>
              </a:outerShdw>
            </a:effectLst>
          </p:spPr>
          <p:txBody>
            <a:bodyPr lIns="18000" tIns="0" rIns="18000" bIns="0"/>
            <a:lstStyle/>
            <a:p>
              <a:pPr algn="ctr" eaLnBrk="1" latinLnBrk="1" hangingPunct="1">
                <a:defRPr/>
              </a:pPr>
              <a:endParaRPr lang="ko-KR" altLang="en-US" sz="1200" b="1">
                <a:latin typeface="Arial" charset="0"/>
                <a:ea typeface="맑은 고딕" pitchFamily="50" charset="-127"/>
                <a:cs typeface="맑은 고딕" pitchFamily="50" charset="-127"/>
              </a:endParaRPr>
            </a:p>
          </p:txBody>
        </p:sp>
        <p:sp>
          <p:nvSpPr>
            <p:cNvPr id="732" name="위쪽/아래쪽 화살표 731">
              <a:extLst>
                <a:ext uri="{FF2B5EF4-FFF2-40B4-BE49-F238E27FC236}">
                  <a16:creationId xmlns:a16="http://schemas.microsoft.com/office/drawing/2014/main" id="{80BDD8CD-3ACC-4DE5-9920-71601DF2C0FE}"/>
                </a:ext>
              </a:extLst>
            </p:cNvPr>
            <p:cNvSpPr>
              <a:spLocks noChangeArrowheads="1"/>
            </p:cNvSpPr>
            <p:nvPr/>
          </p:nvSpPr>
          <p:spPr bwMode="auto">
            <a:xfrm rot="5400000">
              <a:off x="2386807" y="3763155"/>
              <a:ext cx="214312" cy="546100"/>
            </a:xfrm>
            <a:prstGeom prst="upDownArrow">
              <a:avLst>
                <a:gd name="adj1" fmla="val 55750"/>
                <a:gd name="adj2" fmla="val 27841"/>
              </a:avLst>
            </a:prstGeom>
            <a:solidFill>
              <a:srgbClr val="FF6E01"/>
            </a:solidFill>
            <a:ln>
              <a:noFill/>
            </a:ln>
            <a:effectLst>
              <a:outerShdw blurRad="63500" dist="38100" dir="2700000" algn="tl" rotWithShape="0">
                <a:srgbClr val="000000">
                  <a:alpha val="39998"/>
                </a:srgbClr>
              </a:outerShdw>
            </a:effectLst>
          </p:spPr>
          <p:txBody>
            <a:bodyPr lIns="18000" tIns="0" rIns="18000" bIns="0"/>
            <a:lstStyle/>
            <a:p>
              <a:pPr algn="ctr" eaLnBrk="1" latinLnBrk="1" hangingPunct="1">
                <a:defRPr/>
              </a:pPr>
              <a:endParaRPr lang="ko-KR" altLang="en-US" sz="1200" b="1">
                <a:latin typeface="Arial" charset="0"/>
                <a:ea typeface="맑은 고딕" pitchFamily="50" charset="-127"/>
                <a:cs typeface="맑은 고딕" pitchFamily="50" charset="-127"/>
              </a:endParaRPr>
            </a:p>
          </p:txBody>
        </p:sp>
        <p:sp>
          <p:nvSpPr>
            <p:cNvPr id="733" name="왼쪽/위쪽 화살표 732">
              <a:extLst>
                <a:ext uri="{FF2B5EF4-FFF2-40B4-BE49-F238E27FC236}">
                  <a16:creationId xmlns:a16="http://schemas.microsoft.com/office/drawing/2014/main" id="{C4C5B573-4F25-47DF-899E-36103669BA01}"/>
                </a:ext>
              </a:extLst>
            </p:cNvPr>
            <p:cNvSpPr>
              <a:spLocks noChangeArrowheads="1"/>
            </p:cNvSpPr>
            <p:nvPr/>
          </p:nvSpPr>
          <p:spPr bwMode="auto">
            <a:xfrm>
              <a:off x="2347913" y="5286361"/>
              <a:ext cx="642937" cy="841375"/>
            </a:xfrm>
            <a:custGeom>
              <a:avLst/>
              <a:gdLst>
                <a:gd name="T0" fmla="*/ 506615 w 642937"/>
                <a:gd name="T1" fmla="*/ 0 h 841375"/>
                <a:gd name="T2" fmla="*/ 370293 w 642937"/>
                <a:gd name="T3" fmla="*/ 115394 h 841375"/>
                <a:gd name="T4" fmla="*/ 115394 w 642937"/>
                <a:gd name="T5" fmla="*/ 568731 h 841375"/>
                <a:gd name="T6" fmla="*/ 0 w 642937"/>
                <a:gd name="T7" fmla="*/ 705053 h 841375"/>
                <a:gd name="T8" fmla="*/ 115394 w 642937"/>
                <a:gd name="T9" fmla="*/ 841375 h 841375"/>
                <a:gd name="T10" fmla="*/ 330842 w 642937"/>
                <a:gd name="T11" fmla="*/ 744729 h 841375"/>
                <a:gd name="T12" fmla="*/ 546291 w 642937"/>
                <a:gd name="T13" fmla="*/ 430061 h 841375"/>
                <a:gd name="T14" fmla="*/ 642937 w 642937"/>
                <a:gd name="T15" fmla="*/ 115394 h 841375"/>
                <a:gd name="T16" fmla="*/ 17694720 60000 65536"/>
                <a:gd name="T17" fmla="*/ 11796480 60000 65536"/>
                <a:gd name="T18" fmla="*/ 17694720 60000 65536"/>
                <a:gd name="T19" fmla="*/ 11796480 60000 65536"/>
                <a:gd name="T20" fmla="*/ 5898240 60000 65536"/>
                <a:gd name="T21" fmla="*/ 5898240 60000 65536"/>
                <a:gd name="T22" fmla="*/ 0 60000 65536"/>
                <a:gd name="T23" fmla="*/ 0 60000 65536"/>
                <a:gd name="T24" fmla="*/ 33585 w 642937"/>
                <a:gd name="T25" fmla="*/ 665377 h 841375"/>
                <a:gd name="T26" fmla="*/ 506615 w 642937"/>
                <a:gd name="T27" fmla="*/ 744729 h 8413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2937" h="841375">
                  <a:moveTo>
                    <a:pt x="0" y="705053"/>
                  </a:moveTo>
                  <a:lnTo>
                    <a:pt x="115394" y="568731"/>
                  </a:lnTo>
                  <a:lnTo>
                    <a:pt x="115394" y="665377"/>
                  </a:lnTo>
                  <a:lnTo>
                    <a:pt x="466939" y="665377"/>
                  </a:lnTo>
                  <a:lnTo>
                    <a:pt x="466939" y="115394"/>
                  </a:lnTo>
                  <a:lnTo>
                    <a:pt x="370293" y="115394"/>
                  </a:lnTo>
                  <a:lnTo>
                    <a:pt x="506615" y="0"/>
                  </a:lnTo>
                  <a:lnTo>
                    <a:pt x="642937" y="115394"/>
                  </a:lnTo>
                  <a:lnTo>
                    <a:pt x="546291" y="115394"/>
                  </a:lnTo>
                  <a:lnTo>
                    <a:pt x="546291" y="744729"/>
                  </a:lnTo>
                  <a:lnTo>
                    <a:pt x="115394" y="744729"/>
                  </a:lnTo>
                  <a:lnTo>
                    <a:pt x="115394" y="841375"/>
                  </a:lnTo>
                  <a:lnTo>
                    <a:pt x="0" y="705053"/>
                  </a:lnTo>
                  <a:close/>
                </a:path>
              </a:pathLst>
            </a:custGeom>
            <a:solidFill>
              <a:srgbClr val="FF6E01"/>
            </a:solidFill>
            <a:ln>
              <a:noFill/>
            </a:ln>
            <a:effectLst>
              <a:outerShdw blurRad="63500" dist="38100" dir="2700000" algn="tl" rotWithShape="0">
                <a:srgbClr val="000000">
                  <a:alpha val="39998"/>
                </a:srgbClr>
              </a:outerShdw>
            </a:effectLst>
          </p:spPr>
          <p:txBody>
            <a:bodyPr lIns="18000" tIns="0" rIns="18000" bIns="0"/>
            <a:lstStyle/>
            <a:p>
              <a:pPr>
                <a:defRPr/>
              </a:pPr>
              <a:endParaRPr lang="en-GB"/>
            </a:p>
          </p:txBody>
        </p:sp>
      </p:gr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Title 1">
            <a:extLst>
              <a:ext uri="{FF2B5EF4-FFF2-40B4-BE49-F238E27FC236}">
                <a16:creationId xmlns:a16="http://schemas.microsoft.com/office/drawing/2014/main" id="{CF42420A-2A77-4D22-935E-1B6A2A0FA40D}"/>
              </a:ext>
            </a:extLst>
          </p:cNvPr>
          <p:cNvSpPr>
            <a:spLocks noGrp="1" noChangeArrowheads="1"/>
          </p:cNvSpPr>
          <p:nvPr>
            <p:ph type="title"/>
          </p:nvPr>
        </p:nvSpPr>
        <p:spPr>
          <a:xfrm>
            <a:off x="1524000" y="2743200"/>
            <a:ext cx="6248400" cy="939800"/>
          </a:xfrm>
        </p:spPr>
        <p:txBody>
          <a:bodyPr/>
          <a:lstStyle/>
          <a:p>
            <a:r>
              <a:rPr lang="en-US" altLang="en-US"/>
              <a:t>Thank you for your attention</a:t>
            </a:r>
            <a:endParaRPr lang="en-GB" altLang="en-US"/>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ounded Rectangle 12">
            <a:extLst>
              <a:ext uri="{FF2B5EF4-FFF2-40B4-BE49-F238E27FC236}">
                <a16:creationId xmlns:a16="http://schemas.microsoft.com/office/drawing/2014/main" id="{8541E4AD-F17A-4EB2-845E-3FED91D32876}"/>
              </a:ext>
            </a:extLst>
          </p:cNvPr>
          <p:cNvSpPr>
            <a:spLocks noChangeArrowheads="1"/>
          </p:cNvSpPr>
          <p:nvPr/>
        </p:nvSpPr>
        <p:spPr bwMode="auto">
          <a:xfrm>
            <a:off x="2987675" y="1125538"/>
            <a:ext cx="2879725" cy="3382962"/>
          </a:xfrm>
          <a:prstGeom prst="roundRect">
            <a:avLst>
              <a:gd name="adj" fmla="val 16667"/>
            </a:avLst>
          </a:prstGeom>
          <a:solidFill>
            <a:schemeClr val="accent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SG" altLang="en-US"/>
          </a:p>
        </p:txBody>
      </p:sp>
      <p:sp>
        <p:nvSpPr>
          <p:cNvPr id="15363" name="Rounded Rectangle 11">
            <a:extLst>
              <a:ext uri="{FF2B5EF4-FFF2-40B4-BE49-F238E27FC236}">
                <a16:creationId xmlns:a16="http://schemas.microsoft.com/office/drawing/2014/main" id="{C9C34865-69AC-4065-BA62-8D048EC52026}"/>
              </a:ext>
            </a:extLst>
          </p:cNvPr>
          <p:cNvSpPr>
            <a:spLocks noChangeArrowheads="1"/>
          </p:cNvSpPr>
          <p:nvPr/>
        </p:nvSpPr>
        <p:spPr bwMode="auto">
          <a:xfrm>
            <a:off x="395288" y="3860800"/>
            <a:ext cx="8424862" cy="2663825"/>
          </a:xfrm>
          <a:prstGeom prst="roundRect">
            <a:avLst>
              <a:gd name="adj" fmla="val 16667"/>
            </a:avLst>
          </a:prstGeom>
          <a:solidFill>
            <a:schemeClr val="accent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SG" altLang="en-US"/>
          </a:p>
        </p:txBody>
      </p:sp>
      <p:graphicFrame>
        <p:nvGraphicFramePr>
          <p:cNvPr id="2" name="Diagram 1">
            <a:extLst>
              <a:ext uri="{FF2B5EF4-FFF2-40B4-BE49-F238E27FC236}">
                <a16:creationId xmlns:a16="http://schemas.microsoft.com/office/drawing/2014/main" id="{2834651E-9C83-4E48-9097-8B2B01345F2E}"/>
              </a:ext>
            </a:extLst>
          </p:cNvPr>
          <p:cNvGraphicFramePr/>
          <p:nvPr/>
        </p:nvGraphicFramePr>
        <p:xfrm>
          <a:off x="171574" y="483022"/>
          <a:ext cx="8784977"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9D981B96-6C0E-49A8-A4A7-33FCAD457840}"/>
              </a:ext>
            </a:extLst>
          </p:cNvPr>
          <p:cNvGraphicFramePr/>
          <p:nvPr/>
        </p:nvGraphicFramePr>
        <p:xfrm>
          <a:off x="672456" y="4177655"/>
          <a:ext cx="7888980" cy="237626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366" name="Slide Number Placeholder 6">
            <a:extLst>
              <a:ext uri="{FF2B5EF4-FFF2-40B4-BE49-F238E27FC236}">
                <a16:creationId xmlns:a16="http://schemas.microsoft.com/office/drawing/2014/main" id="{80F6B08E-64D8-4715-BCAE-084BC3B16B5A}"/>
              </a:ext>
            </a:extLst>
          </p:cNvPr>
          <p:cNvSpPr txBox="1">
            <a:spLocks noGrp="1"/>
          </p:cNvSpPr>
          <p:nvPr/>
        </p:nvSpPr>
        <p:spPr bwMode="auto">
          <a:xfrm>
            <a:off x="7239000" y="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r"/>
            <a:fld id="{ABAA4956-C661-48A2-95CF-5690125322DF}" type="slidenum">
              <a:rPr lang="fr-FR" altLang="en-US" sz="1400"/>
              <a:pPr algn="r"/>
              <a:t>7</a:t>
            </a:fld>
            <a:endParaRPr lang="fr-FR" altLang="en-US" sz="1400"/>
          </a:p>
        </p:txBody>
      </p:sp>
      <p:sp>
        <p:nvSpPr>
          <p:cNvPr id="15367" name="Title 1">
            <a:extLst>
              <a:ext uri="{FF2B5EF4-FFF2-40B4-BE49-F238E27FC236}">
                <a16:creationId xmlns:a16="http://schemas.microsoft.com/office/drawing/2014/main" id="{A4E2D466-A75B-4A98-A2C6-4DE44A83780F}"/>
              </a:ext>
            </a:extLst>
          </p:cNvPr>
          <p:cNvSpPr txBox="1">
            <a:spLocks/>
          </p:cNvSpPr>
          <p:nvPr/>
        </p:nvSpPr>
        <p:spPr bwMode="auto">
          <a:xfrm>
            <a:off x="158750" y="184150"/>
            <a:ext cx="8229600" cy="941388"/>
          </a:xfrm>
          <a:prstGeom prst="rect">
            <a:avLst/>
          </a:prstGeom>
          <a:noFill/>
          <a:ln>
            <a:noFill/>
          </a:ln>
        </p:spPr>
        <p:txBody>
          <a:bodyPr/>
          <a:lstStyle/>
          <a:p>
            <a:pPr algn="ctr">
              <a:defRPr/>
            </a:pPr>
            <a:r>
              <a:rPr lang="en-US" altLang="en-US" sz="3200" dirty="0">
                <a:solidFill>
                  <a:srgbClr val="00408C"/>
                </a:solidFill>
                <a:latin typeface="+mn-lt"/>
              </a:rPr>
              <a:t>Support for IP Office Business Processes</a:t>
            </a:r>
            <a:endParaRPr lang="en-SG" altLang="en-US" sz="3200" dirty="0">
              <a:solidFill>
                <a:srgbClr val="00408C"/>
              </a:solidFill>
              <a:latin typeface="+mn-lt"/>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Document">
            <a:extLst>
              <a:ext uri="{FF2B5EF4-FFF2-40B4-BE49-F238E27FC236}">
                <a16:creationId xmlns:a16="http://schemas.microsoft.com/office/drawing/2014/main" id="{590755F6-D6B8-4918-A850-B979AE9FFEC4}"/>
              </a:ext>
            </a:extLst>
          </p:cNvPr>
          <p:cNvGrpSpPr>
            <a:grpSpLocks noChangeAspect="1"/>
          </p:cNvGrpSpPr>
          <p:nvPr>
            <p:custDataLst>
              <p:tags r:id="rId1"/>
            </p:custDataLst>
          </p:nvPr>
        </p:nvGrpSpPr>
        <p:grpSpPr bwMode="auto">
          <a:xfrm>
            <a:off x="2597955" y="2593592"/>
            <a:ext cx="523579" cy="655211"/>
            <a:chOff x="2744" y="780"/>
            <a:chExt cx="2132" cy="2668"/>
          </a:xfrm>
          <a:solidFill>
            <a:schemeClr val="accent1"/>
          </a:solidFill>
        </p:grpSpPr>
        <p:sp>
          <p:nvSpPr>
            <p:cNvPr id="9" name="Freeform 19">
              <a:extLst>
                <a:ext uri="{FF2B5EF4-FFF2-40B4-BE49-F238E27FC236}">
                  <a16:creationId xmlns:a16="http://schemas.microsoft.com/office/drawing/2014/main" id="{B5E0F8B0-EA19-4FFF-A8FE-545EA2CC1CAB}"/>
                </a:ext>
              </a:extLst>
            </p:cNvPr>
            <p:cNvSpPr>
              <a:spLocks noEditPoints="1"/>
            </p:cNvSpPr>
            <p:nvPr/>
          </p:nvSpPr>
          <p:spPr bwMode="auto">
            <a:xfrm>
              <a:off x="2744" y="795"/>
              <a:ext cx="2116" cy="2653"/>
            </a:xfrm>
            <a:custGeom>
              <a:avLst/>
              <a:gdLst>
                <a:gd name="T0" fmla="*/ 433 w 533"/>
                <a:gd name="T1" fmla="*/ 283 h 667"/>
                <a:gd name="T2" fmla="*/ 100 w 533"/>
                <a:gd name="T3" fmla="*/ 283 h 667"/>
                <a:gd name="T4" fmla="*/ 100 w 533"/>
                <a:gd name="T5" fmla="*/ 250 h 667"/>
                <a:gd name="T6" fmla="*/ 433 w 533"/>
                <a:gd name="T7" fmla="*/ 250 h 667"/>
                <a:gd name="T8" fmla="*/ 433 w 533"/>
                <a:gd name="T9" fmla="*/ 283 h 667"/>
                <a:gd name="T10" fmla="*/ 433 w 533"/>
                <a:gd name="T11" fmla="*/ 367 h 667"/>
                <a:gd name="T12" fmla="*/ 100 w 533"/>
                <a:gd name="T13" fmla="*/ 367 h 667"/>
                <a:gd name="T14" fmla="*/ 100 w 533"/>
                <a:gd name="T15" fmla="*/ 333 h 667"/>
                <a:gd name="T16" fmla="*/ 433 w 533"/>
                <a:gd name="T17" fmla="*/ 333 h 667"/>
                <a:gd name="T18" fmla="*/ 433 w 533"/>
                <a:gd name="T19" fmla="*/ 367 h 667"/>
                <a:gd name="T20" fmla="*/ 433 w 533"/>
                <a:gd name="T21" fmla="*/ 450 h 667"/>
                <a:gd name="T22" fmla="*/ 100 w 533"/>
                <a:gd name="T23" fmla="*/ 450 h 667"/>
                <a:gd name="T24" fmla="*/ 100 w 533"/>
                <a:gd name="T25" fmla="*/ 417 h 667"/>
                <a:gd name="T26" fmla="*/ 433 w 533"/>
                <a:gd name="T27" fmla="*/ 417 h 667"/>
                <a:gd name="T28" fmla="*/ 433 w 533"/>
                <a:gd name="T29" fmla="*/ 450 h 667"/>
                <a:gd name="T30" fmla="*/ 433 w 533"/>
                <a:gd name="T31" fmla="*/ 533 h 667"/>
                <a:gd name="T32" fmla="*/ 100 w 533"/>
                <a:gd name="T33" fmla="*/ 533 h 667"/>
                <a:gd name="T34" fmla="*/ 100 w 533"/>
                <a:gd name="T35" fmla="*/ 500 h 667"/>
                <a:gd name="T36" fmla="*/ 433 w 533"/>
                <a:gd name="T37" fmla="*/ 500 h 667"/>
                <a:gd name="T38" fmla="*/ 433 w 533"/>
                <a:gd name="T39" fmla="*/ 533 h 667"/>
                <a:gd name="T40" fmla="*/ 100 w 533"/>
                <a:gd name="T41" fmla="*/ 167 h 667"/>
                <a:gd name="T42" fmla="*/ 260 w 533"/>
                <a:gd name="T43" fmla="*/ 167 h 667"/>
                <a:gd name="T44" fmla="*/ 260 w 533"/>
                <a:gd name="T45" fmla="*/ 200 h 667"/>
                <a:gd name="T46" fmla="*/ 100 w 533"/>
                <a:gd name="T47" fmla="*/ 200 h 667"/>
                <a:gd name="T48" fmla="*/ 100 w 533"/>
                <a:gd name="T49" fmla="*/ 167 h 667"/>
                <a:gd name="T50" fmla="*/ 316 w 533"/>
                <a:gd name="T51" fmla="*/ 139 h 667"/>
                <a:gd name="T52" fmla="*/ 316 w 533"/>
                <a:gd name="T53" fmla="*/ 0 h 667"/>
                <a:gd name="T54" fmla="*/ 50 w 533"/>
                <a:gd name="T55" fmla="*/ 0 h 667"/>
                <a:gd name="T56" fmla="*/ 0 w 533"/>
                <a:gd name="T57" fmla="*/ 50 h 667"/>
                <a:gd name="T58" fmla="*/ 0 w 533"/>
                <a:gd name="T59" fmla="*/ 617 h 667"/>
                <a:gd name="T60" fmla="*/ 50 w 533"/>
                <a:gd name="T61" fmla="*/ 667 h 667"/>
                <a:gd name="T62" fmla="*/ 483 w 533"/>
                <a:gd name="T63" fmla="*/ 667 h 667"/>
                <a:gd name="T64" fmla="*/ 533 w 533"/>
                <a:gd name="T65" fmla="*/ 617 h 667"/>
                <a:gd name="T66" fmla="*/ 533 w 533"/>
                <a:gd name="T67" fmla="*/ 217 h 667"/>
                <a:gd name="T68" fmla="*/ 394 w 533"/>
                <a:gd name="T69" fmla="*/ 217 h 667"/>
                <a:gd name="T70" fmla="*/ 316 w 533"/>
                <a:gd name="T71" fmla="*/ 139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3" h="667">
                  <a:moveTo>
                    <a:pt x="433" y="283"/>
                  </a:moveTo>
                  <a:lnTo>
                    <a:pt x="100" y="283"/>
                  </a:lnTo>
                  <a:lnTo>
                    <a:pt x="100" y="250"/>
                  </a:lnTo>
                  <a:lnTo>
                    <a:pt x="433" y="250"/>
                  </a:lnTo>
                  <a:lnTo>
                    <a:pt x="433" y="283"/>
                  </a:lnTo>
                  <a:close/>
                  <a:moveTo>
                    <a:pt x="433" y="367"/>
                  </a:moveTo>
                  <a:lnTo>
                    <a:pt x="100" y="367"/>
                  </a:lnTo>
                  <a:lnTo>
                    <a:pt x="100" y="333"/>
                  </a:lnTo>
                  <a:lnTo>
                    <a:pt x="433" y="333"/>
                  </a:lnTo>
                  <a:lnTo>
                    <a:pt x="433" y="367"/>
                  </a:lnTo>
                  <a:close/>
                  <a:moveTo>
                    <a:pt x="433" y="450"/>
                  </a:moveTo>
                  <a:lnTo>
                    <a:pt x="100" y="450"/>
                  </a:lnTo>
                  <a:lnTo>
                    <a:pt x="100" y="417"/>
                  </a:lnTo>
                  <a:lnTo>
                    <a:pt x="433" y="417"/>
                  </a:lnTo>
                  <a:lnTo>
                    <a:pt x="433" y="450"/>
                  </a:lnTo>
                  <a:close/>
                  <a:moveTo>
                    <a:pt x="433" y="533"/>
                  </a:moveTo>
                  <a:lnTo>
                    <a:pt x="100" y="533"/>
                  </a:lnTo>
                  <a:lnTo>
                    <a:pt x="100" y="500"/>
                  </a:lnTo>
                  <a:lnTo>
                    <a:pt x="433" y="500"/>
                  </a:lnTo>
                  <a:lnTo>
                    <a:pt x="433" y="533"/>
                  </a:lnTo>
                  <a:close/>
                  <a:moveTo>
                    <a:pt x="100" y="167"/>
                  </a:moveTo>
                  <a:lnTo>
                    <a:pt x="260" y="167"/>
                  </a:lnTo>
                  <a:lnTo>
                    <a:pt x="260" y="200"/>
                  </a:lnTo>
                  <a:lnTo>
                    <a:pt x="100" y="200"/>
                  </a:lnTo>
                  <a:lnTo>
                    <a:pt x="100" y="167"/>
                  </a:lnTo>
                  <a:close/>
                  <a:moveTo>
                    <a:pt x="316" y="139"/>
                  </a:moveTo>
                  <a:lnTo>
                    <a:pt x="316" y="0"/>
                  </a:lnTo>
                  <a:lnTo>
                    <a:pt x="50" y="0"/>
                  </a:lnTo>
                  <a:cubicBezTo>
                    <a:pt x="22" y="0"/>
                    <a:pt x="0" y="22"/>
                    <a:pt x="0" y="50"/>
                  </a:cubicBezTo>
                  <a:lnTo>
                    <a:pt x="0" y="617"/>
                  </a:lnTo>
                  <a:cubicBezTo>
                    <a:pt x="0" y="644"/>
                    <a:pt x="22" y="667"/>
                    <a:pt x="50" y="667"/>
                  </a:cubicBezTo>
                  <a:lnTo>
                    <a:pt x="483" y="667"/>
                  </a:lnTo>
                  <a:cubicBezTo>
                    <a:pt x="511" y="667"/>
                    <a:pt x="533" y="644"/>
                    <a:pt x="533" y="617"/>
                  </a:cubicBezTo>
                  <a:lnTo>
                    <a:pt x="533" y="217"/>
                  </a:lnTo>
                  <a:lnTo>
                    <a:pt x="394" y="217"/>
                  </a:lnTo>
                  <a:cubicBezTo>
                    <a:pt x="351" y="217"/>
                    <a:pt x="316" y="182"/>
                    <a:pt x="316" y="139"/>
                  </a:cubicBezTo>
                  <a:close/>
                </a:path>
              </a:pathLst>
            </a:custGeom>
            <a:grp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10" name="Freeform 20">
              <a:extLst>
                <a:ext uri="{FF2B5EF4-FFF2-40B4-BE49-F238E27FC236}">
                  <a16:creationId xmlns:a16="http://schemas.microsoft.com/office/drawing/2014/main" id="{682DA26B-BDD6-4587-AB2A-FE4007B1EA84}"/>
                </a:ext>
              </a:extLst>
            </p:cNvPr>
            <p:cNvSpPr>
              <a:spLocks/>
            </p:cNvSpPr>
            <p:nvPr/>
          </p:nvSpPr>
          <p:spPr bwMode="auto">
            <a:xfrm>
              <a:off x="4133" y="780"/>
              <a:ext cx="743" cy="743"/>
            </a:xfrm>
            <a:custGeom>
              <a:avLst/>
              <a:gdLst>
                <a:gd name="T0" fmla="*/ 0 w 187"/>
                <a:gd name="T1" fmla="*/ 143 h 187"/>
                <a:gd name="T2" fmla="*/ 44 w 187"/>
                <a:gd name="T3" fmla="*/ 187 h 187"/>
                <a:gd name="T4" fmla="*/ 187 w 187"/>
                <a:gd name="T5" fmla="*/ 187 h 187"/>
                <a:gd name="T6" fmla="*/ 0 w 187"/>
                <a:gd name="T7" fmla="*/ 0 h 187"/>
                <a:gd name="T8" fmla="*/ 0 w 187"/>
                <a:gd name="T9" fmla="*/ 143 h 187"/>
              </a:gdLst>
              <a:ahLst/>
              <a:cxnLst>
                <a:cxn ang="0">
                  <a:pos x="T0" y="T1"/>
                </a:cxn>
                <a:cxn ang="0">
                  <a:pos x="T2" y="T3"/>
                </a:cxn>
                <a:cxn ang="0">
                  <a:pos x="T4" y="T5"/>
                </a:cxn>
                <a:cxn ang="0">
                  <a:pos x="T6" y="T7"/>
                </a:cxn>
                <a:cxn ang="0">
                  <a:pos x="T8" y="T9"/>
                </a:cxn>
              </a:cxnLst>
              <a:rect l="0" t="0" r="r" b="b"/>
              <a:pathLst>
                <a:path w="187" h="187">
                  <a:moveTo>
                    <a:pt x="0" y="143"/>
                  </a:moveTo>
                  <a:cubicBezTo>
                    <a:pt x="0" y="167"/>
                    <a:pt x="20" y="187"/>
                    <a:pt x="44" y="187"/>
                  </a:cubicBezTo>
                  <a:lnTo>
                    <a:pt x="187" y="187"/>
                  </a:lnTo>
                  <a:lnTo>
                    <a:pt x="0" y="0"/>
                  </a:lnTo>
                  <a:lnTo>
                    <a:pt x="0" y="143"/>
                  </a:lnTo>
                </a:path>
              </a:pathLst>
            </a:custGeom>
            <a:grp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grpSp>
      <p:grpSp>
        <p:nvGrpSpPr>
          <p:cNvPr id="15" name="Document2">
            <a:extLst>
              <a:ext uri="{FF2B5EF4-FFF2-40B4-BE49-F238E27FC236}">
                <a16:creationId xmlns:a16="http://schemas.microsoft.com/office/drawing/2014/main" id="{99308A34-55BA-4762-9FB0-A61D8FA64369}"/>
              </a:ext>
            </a:extLst>
          </p:cNvPr>
          <p:cNvGrpSpPr>
            <a:grpSpLocks noChangeAspect="1"/>
          </p:cNvGrpSpPr>
          <p:nvPr>
            <p:custDataLst>
              <p:tags r:id="rId2"/>
            </p:custDataLst>
          </p:nvPr>
        </p:nvGrpSpPr>
        <p:grpSpPr bwMode="auto">
          <a:xfrm>
            <a:off x="2576687" y="3453780"/>
            <a:ext cx="514152" cy="722645"/>
            <a:chOff x="176" y="141"/>
            <a:chExt cx="151" cy="198"/>
          </a:xfrm>
          <a:solidFill>
            <a:schemeClr val="accent1"/>
          </a:solidFill>
        </p:grpSpPr>
        <p:sp>
          <p:nvSpPr>
            <p:cNvPr id="16" name="Document2">
              <a:extLst>
                <a:ext uri="{FF2B5EF4-FFF2-40B4-BE49-F238E27FC236}">
                  <a16:creationId xmlns:a16="http://schemas.microsoft.com/office/drawing/2014/main" id="{024E49F9-03E3-4956-AEA6-EDF693D23A19}"/>
                </a:ext>
              </a:extLst>
            </p:cNvPr>
            <p:cNvSpPr>
              <a:spLocks noEditPoints="1"/>
            </p:cNvSpPr>
            <p:nvPr/>
          </p:nvSpPr>
          <p:spPr bwMode="auto">
            <a:xfrm>
              <a:off x="176" y="141"/>
              <a:ext cx="151" cy="198"/>
            </a:xfrm>
            <a:custGeom>
              <a:avLst/>
              <a:gdLst>
                <a:gd name="T0" fmla="*/ 388 w 401"/>
                <a:gd name="T1" fmla="*/ 525 h 525"/>
                <a:gd name="T2" fmla="*/ 13 w 401"/>
                <a:gd name="T3" fmla="*/ 525 h 525"/>
                <a:gd name="T4" fmla="*/ 0 w 401"/>
                <a:gd name="T5" fmla="*/ 512 h 525"/>
                <a:gd name="T6" fmla="*/ 0 w 401"/>
                <a:gd name="T7" fmla="*/ 12 h 525"/>
                <a:gd name="T8" fmla="*/ 13 w 401"/>
                <a:gd name="T9" fmla="*/ 0 h 525"/>
                <a:gd name="T10" fmla="*/ 388 w 401"/>
                <a:gd name="T11" fmla="*/ 0 h 525"/>
                <a:gd name="T12" fmla="*/ 401 w 401"/>
                <a:gd name="T13" fmla="*/ 12 h 525"/>
                <a:gd name="T14" fmla="*/ 401 w 401"/>
                <a:gd name="T15" fmla="*/ 512 h 525"/>
                <a:gd name="T16" fmla="*/ 388 w 401"/>
                <a:gd name="T17" fmla="*/ 525 h 525"/>
                <a:gd name="T18" fmla="*/ 25 w 401"/>
                <a:gd name="T19" fmla="*/ 500 h 525"/>
                <a:gd name="T20" fmla="*/ 376 w 401"/>
                <a:gd name="T21" fmla="*/ 500 h 525"/>
                <a:gd name="T22" fmla="*/ 376 w 401"/>
                <a:gd name="T23" fmla="*/ 25 h 525"/>
                <a:gd name="T24" fmla="*/ 25 w 401"/>
                <a:gd name="T25" fmla="*/ 25 h 525"/>
                <a:gd name="T26" fmla="*/ 25 w 401"/>
                <a:gd name="T27" fmla="*/ 50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1" h="525">
                  <a:moveTo>
                    <a:pt x="388" y="525"/>
                  </a:moveTo>
                  <a:lnTo>
                    <a:pt x="13" y="525"/>
                  </a:lnTo>
                  <a:cubicBezTo>
                    <a:pt x="5" y="525"/>
                    <a:pt x="0" y="520"/>
                    <a:pt x="0" y="512"/>
                  </a:cubicBezTo>
                  <a:lnTo>
                    <a:pt x="0" y="12"/>
                  </a:lnTo>
                  <a:cubicBezTo>
                    <a:pt x="0" y="5"/>
                    <a:pt x="5" y="0"/>
                    <a:pt x="13" y="0"/>
                  </a:cubicBezTo>
                  <a:lnTo>
                    <a:pt x="388" y="0"/>
                  </a:lnTo>
                  <a:cubicBezTo>
                    <a:pt x="395" y="0"/>
                    <a:pt x="401" y="5"/>
                    <a:pt x="401" y="12"/>
                  </a:cubicBezTo>
                  <a:lnTo>
                    <a:pt x="401" y="512"/>
                  </a:lnTo>
                  <a:cubicBezTo>
                    <a:pt x="401" y="520"/>
                    <a:pt x="394" y="525"/>
                    <a:pt x="388" y="525"/>
                  </a:cubicBezTo>
                  <a:close/>
                  <a:moveTo>
                    <a:pt x="25" y="500"/>
                  </a:moveTo>
                  <a:lnTo>
                    <a:pt x="376" y="500"/>
                  </a:lnTo>
                  <a:lnTo>
                    <a:pt x="376" y="25"/>
                  </a:lnTo>
                  <a:lnTo>
                    <a:pt x="25" y="25"/>
                  </a:lnTo>
                  <a:lnTo>
                    <a:pt x="25" y="500"/>
                  </a:lnTo>
                  <a:close/>
                </a:path>
              </a:pathLst>
            </a:custGeom>
            <a:grpFill/>
            <a:ln w="0">
              <a:noFill/>
              <a:prstDash val="solid"/>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17" name="Document2">
              <a:extLst>
                <a:ext uri="{FF2B5EF4-FFF2-40B4-BE49-F238E27FC236}">
                  <a16:creationId xmlns:a16="http://schemas.microsoft.com/office/drawing/2014/main" id="{A60BCC69-E38E-4498-B4E4-09DF57666066}"/>
                </a:ext>
              </a:extLst>
            </p:cNvPr>
            <p:cNvSpPr>
              <a:spLocks noChangeArrowheads="1"/>
            </p:cNvSpPr>
            <p:nvPr/>
          </p:nvSpPr>
          <p:spPr bwMode="auto">
            <a:xfrm>
              <a:off x="205" y="239"/>
              <a:ext cx="94" cy="9"/>
            </a:xfrm>
            <a:prstGeom prst="rect">
              <a:avLst/>
            </a:prstGeom>
            <a:grpFill/>
            <a:ln w="0">
              <a:noFill/>
              <a:prstDash val="solid"/>
              <a:miter lim="800000"/>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18" name="Document2">
              <a:extLst>
                <a:ext uri="{FF2B5EF4-FFF2-40B4-BE49-F238E27FC236}">
                  <a16:creationId xmlns:a16="http://schemas.microsoft.com/office/drawing/2014/main" id="{0135B718-E898-4677-8AE8-2A7B3AF4D9CC}"/>
                </a:ext>
              </a:extLst>
            </p:cNvPr>
            <p:cNvSpPr>
              <a:spLocks noChangeArrowheads="1"/>
            </p:cNvSpPr>
            <p:nvPr/>
          </p:nvSpPr>
          <p:spPr bwMode="auto">
            <a:xfrm>
              <a:off x="205" y="267"/>
              <a:ext cx="94" cy="9"/>
            </a:xfrm>
            <a:prstGeom prst="rect">
              <a:avLst/>
            </a:prstGeom>
            <a:grpFill/>
            <a:ln w="0">
              <a:noFill/>
              <a:prstDash val="solid"/>
              <a:miter lim="800000"/>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19" name="Document2">
              <a:extLst>
                <a:ext uri="{FF2B5EF4-FFF2-40B4-BE49-F238E27FC236}">
                  <a16:creationId xmlns:a16="http://schemas.microsoft.com/office/drawing/2014/main" id="{56EFDFFD-769D-4D06-AA2B-E2EBA2BDC268}"/>
                </a:ext>
              </a:extLst>
            </p:cNvPr>
            <p:cNvSpPr>
              <a:spLocks noChangeArrowheads="1"/>
            </p:cNvSpPr>
            <p:nvPr/>
          </p:nvSpPr>
          <p:spPr bwMode="auto">
            <a:xfrm>
              <a:off x="205" y="295"/>
              <a:ext cx="94" cy="10"/>
            </a:xfrm>
            <a:prstGeom prst="rect">
              <a:avLst/>
            </a:prstGeom>
            <a:grpFill/>
            <a:ln w="0">
              <a:noFill/>
              <a:prstDash val="solid"/>
              <a:miter lim="800000"/>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20" name="Document2">
              <a:extLst>
                <a:ext uri="{FF2B5EF4-FFF2-40B4-BE49-F238E27FC236}">
                  <a16:creationId xmlns:a16="http://schemas.microsoft.com/office/drawing/2014/main" id="{C0D757E2-8D52-4359-B7EB-FB6E51DC7D75}"/>
                </a:ext>
              </a:extLst>
            </p:cNvPr>
            <p:cNvSpPr>
              <a:spLocks noChangeArrowheads="1"/>
            </p:cNvSpPr>
            <p:nvPr/>
          </p:nvSpPr>
          <p:spPr bwMode="auto">
            <a:xfrm>
              <a:off x="252" y="182"/>
              <a:ext cx="47" cy="10"/>
            </a:xfrm>
            <a:prstGeom prst="rect">
              <a:avLst/>
            </a:prstGeom>
            <a:grpFill/>
            <a:ln w="0">
              <a:noFill/>
              <a:prstDash val="solid"/>
              <a:miter lim="800000"/>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21" name="Document2">
              <a:extLst>
                <a:ext uri="{FF2B5EF4-FFF2-40B4-BE49-F238E27FC236}">
                  <a16:creationId xmlns:a16="http://schemas.microsoft.com/office/drawing/2014/main" id="{A080064B-884E-479C-98D1-C458D4E346BE}"/>
                </a:ext>
              </a:extLst>
            </p:cNvPr>
            <p:cNvSpPr>
              <a:spLocks noChangeArrowheads="1"/>
            </p:cNvSpPr>
            <p:nvPr/>
          </p:nvSpPr>
          <p:spPr bwMode="auto">
            <a:xfrm>
              <a:off x="252" y="211"/>
              <a:ext cx="47" cy="9"/>
            </a:xfrm>
            <a:prstGeom prst="rect">
              <a:avLst/>
            </a:prstGeom>
            <a:grpFill/>
            <a:ln w="0">
              <a:noFill/>
              <a:prstDash val="solid"/>
              <a:miter lim="800000"/>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22" name="Document2">
              <a:extLst>
                <a:ext uri="{FF2B5EF4-FFF2-40B4-BE49-F238E27FC236}">
                  <a16:creationId xmlns:a16="http://schemas.microsoft.com/office/drawing/2014/main" id="{3488442F-353C-4744-90B3-FFF13562A35C}"/>
                </a:ext>
              </a:extLst>
            </p:cNvPr>
            <p:cNvSpPr>
              <a:spLocks/>
            </p:cNvSpPr>
            <p:nvPr/>
          </p:nvSpPr>
          <p:spPr bwMode="auto">
            <a:xfrm>
              <a:off x="206" y="182"/>
              <a:ext cx="36" cy="37"/>
            </a:xfrm>
            <a:custGeom>
              <a:avLst/>
              <a:gdLst>
                <a:gd name="T0" fmla="*/ 49 w 98"/>
                <a:gd name="T1" fmla="*/ 97 h 97"/>
                <a:gd name="T2" fmla="*/ 49 w 98"/>
                <a:gd name="T3" fmla="*/ 97 h 97"/>
                <a:gd name="T4" fmla="*/ 0 w 98"/>
                <a:gd name="T5" fmla="*/ 48 h 97"/>
                <a:gd name="T6" fmla="*/ 0 w 98"/>
                <a:gd name="T7" fmla="*/ 48 h 97"/>
                <a:gd name="T8" fmla="*/ 49 w 98"/>
                <a:gd name="T9" fmla="*/ 0 h 97"/>
                <a:gd name="T10" fmla="*/ 49 w 98"/>
                <a:gd name="T11" fmla="*/ 0 h 97"/>
                <a:gd name="T12" fmla="*/ 98 w 98"/>
                <a:gd name="T13" fmla="*/ 48 h 97"/>
                <a:gd name="T14" fmla="*/ 98 w 98"/>
                <a:gd name="T15" fmla="*/ 48 h 97"/>
                <a:gd name="T16" fmla="*/ 49 w 98"/>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97">
                  <a:moveTo>
                    <a:pt x="49" y="97"/>
                  </a:moveTo>
                  <a:lnTo>
                    <a:pt x="49" y="97"/>
                  </a:lnTo>
                  <a:cubicBezTo>
                    <a:pt x="22" y="97"/>
                    <a:pt x="0" y="75"/>
                    <a:pt x="0" y="48"/>
                  </a:cubicBezTo>
                  <a:lnTo>
                    <a:pt x="0" y="48"/>
                  </a:lnTo>
                  <a:cubicBezTo>
                    <a:pt x="0" y="21"/>
                    <a:pt x="23" y="0"/>
                    <a:pt x="49" y="0"/>
                  </a:cubicBezTo>
                  <a:lnTo>
                    <a:pt x="49" y="0"/>
                  </a:lnTo>
                  <a:cubicBezTo>
                    <a:pt x="77" y="0"/>
                    <a:pt x="98" y="22"/>
                    <a:pt x="98" y="48"/>
                  </a:cubicBezTo>
                  <a:lnTo>
                    <a:pt x="98" y="48"/>
                  </a:lnTo>
                  <a:cubicBezTo>
                    <a:pt x="98" y="76"/>
                    <a:pt x="77" y="97"/>
                    <a:pt x="49" y="97"/>
                  </a:cubicBezTo>
                  <a:close/>
                </a:path>
              </a:pathLst>
            </a:custGeom>
            <a:grpFill/>
            <a:ln w="0">
              <a:noFill/>
              <a:prstDash val="solid"/>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grpSp>
      <p:grpSp>
        <p:nvGrpSpPr>
          <p:cNvPr id="23" name="Document">
            <a:extLst>
              <a:ext uri="{FF2B5EF4-FFF2-40B4-BE49-F238E27FC236}">
                <a16:creationId xmlns:a16="http://schemas.microsoft.com/office/drawing/2014/main" id="{E73553D7-8FFC-4753-9F53-9281F88D5C86}"/>
              </a:ext>
            </a:extLst>
          </p:cNvPr>
          <p:cNvGrpSpPr>
            <a:grpSpLocks noChangeAspect="1"/>
          </p:cNvGrpSpPr>
          <p:nvPr>
            <p:custDataLst>
              <p:tags r:id="rId3"/>
            </p:custDataLst>
          </p:nvPr>
        </p:nvGrpSpPr>
        <p:grpSpPr bwMode="auto">
          <a:xfrm>
            <a:off x="2562007" y="4381402"/>
            <a:ext cx="519650" cy="722645"/>
            <a:chOff x="2744" y="780"/>
            <a:chExt cx="2132" cy="2668"/>
          </a:xfrm>
          <a:solidFill>
            <a:schemeClr val="accent1"/>
          </a:solidFill>
        </p:grpSpPr>
        <p:sp>
          <p:nvSpPr>
            <p:cNvPr id="24" name="Freeform 19">
              <a:extLst>
                <a:ext uri="{FF2B5EF4-FFF2-40B4-BE49-F238E27FC236}">
                  <a16:creationId xmlns:a16="http://schemas.microsoft.com/office/drawing/2014/main" id="{AA11A7CB-2E89-4FE0-87F8-299FF2F75603}"/>
                </a:ext>
              </a:extLst>
            </p:cNvPr>
            <p:cNvSpPr>
              <a:spLocks noEditPoints="1"/>
            </p:cNvSpPr>
            <p:nvPr/>
          </p:nvSpPr>
          <p:spPr bwMode="auto">
            <a:xfrm>
              <a:off x="2744" y="795"/>
              <a:ext cx="2116" cy="2653"/>
            </a:xfrm>
            <a:custGeom>
              <a:avLst/>
              <a:gdLst>
                <a:gd name="T0" fmla="*/ 433 w 533"/>
                <a:gd name="T1" fmla="*/ 283 h 667"/>
                <a:gd name="T2" fmla="*/ 100 w 533"/>
                <a:gd name="T3" fmla="*/ 283 h 667"/>
                <a:gd name="T4" fmla="*/ 100 w 533"/>
                <a:gd name="T5" fmla="*/ 250 h 667"/>
                <a:gd name="T6" fmla="*/ 433 w 533"/>
                <a:gd name="T7" fmla="*/ 250 h 667"/>
                <a:gd name="T8" fmla="*/ 433 w 533"/>
                <a:gd name="T9" fmla="*/ 283 h 667"/>
                <a:gd name="T10" fmla="*/ 433 w 533"/>
                <a:gd name="T11" fmla="*/ 367 h 667"/>
                <a:gd name="T12" fmla="*/ 100 w 533"/>
                <a:gd name="T13" fmla="*/ 367 h 667"/>
                <a:gd name="T14" fmla="*/ 100 w 533"/>
                <a:gd name="T15" fmla="*/ 333 h 667"/>
                <a:gd name="T16" fmla="*/ 433 w 533"/>
                <a:gd name="T17" fmla="*/ 333 h 667"/>
                <a:gd name="T18" fmla="*/ 433 w 533"/>
                <a:gd name="T19" fmla="*/ 367 h 667"/>
                <a:gd name="T20" fmla="*/ 433 w 533"/>
                <a:gd name="T21" fmla="*/ 450 h 667"/>
                <a:gd name="T22" fmla="*/ 100 w 533"/>
                <a:gd name="T23" fmla="*/ 450 h 667"/>
                <a:gd name="T24" fmla="*/ 100 w 533"/>
                <a:gd name="T25" fmla="*/ 417 h 667"/>
                <a:gd name="T26" fmla="*/ 433 w 533"/>
                <a:gd name="T27" fmla="*/ 417 h 667"/>
                <a:gd name="T28" fmla="*/ 433 w 533"/>
                <a:gd name="T29" fmla="*/ 450 h 667"/>
                <a:gd name="T30" fmla="*/ 433 w 533"/>
                <a:gd name="T31" fmla="*/ 533 h 667"/>
                <a:gd name="T32" fmla="*/ 100 w 533"/>
                <a:gd name="T33" fmla="*/ 533 h 667"/>
                <a:gd name="T34" fmla="*/ 100 w 533"/>
                <a:gd name="T35" fmla="*/ 500 h 667"/>
                <a:gd name="T36" fmla="*/ 433 w 533"/>
                <a:gd name="T37" fmla="*/ 500 h 667"/>
                <a:gd name="T38" fmla="*/ 433 w 533"/>
                <a:gd name="T39" fmla="*/ 533 h 667"/>
                <a:gd name="T40" fmla="*/ 100 w 533"/>
                <a:gd name="T41" fmla="*/ 167 h 667"/>
                <a:gd name="T42" fmla="*/ 260 w 533"/>
                <a:gd name="T43" fmla="*/ 167 h 667"/>
                <a:gd name="T44" fmla="*/ 260 w 533"/>
                <a:gd name="T45" fmla="*/ 200 h 667"/>
                <a:gd name="T46" fmla="*/ 100 w 533"/>
                <a:gd name="T47" fmla="*/ 200 h 667"/>
                <a:gd name="T48" fmla="*/ 100 w 533"/>
                <a:gd name="T49" fmla="*/ 167 h 667"/>
                <a:gd name="T50" fmla="*/ 316 w 533"/>
                <a:gd name="T51" fmla="*/ 139 h 667"/>
                <a:gd name="T52" fmla="*/ 316 w 533"/>
                <a:gd name="T53" fmla="*/ 0 h 667"/>
                <a:gd name="T54" fmla="*/ 50 w 533"/>
                <a:gd name="T55" fmla="*/ 0 h 667"/>
                <a:gd name="T56" fmla="*/ 0 w 533"/>
                <a:gd name="T57" fmla="*/ 50 h 667"/>
                <a:gd name="T58" fmla="*/ 0 w 533"/>
                <a:gd name="T59" fmla="*/ 617 h 667"/>
                <a:gd name="T60" fmla="*/ 50 w 533"/>
                <a:gd name="T61" fmla="*/ 667 h 667"/>
                <a:gd name="T62" fmla="*/ 483 w 533"/>
                <a:gd name="T63" fmla="*/ 667 h 667"/>
                <a:gd name="T64" fmla="*/ 533 w 533"/>
                <a:gd name="T65" fmla="*/ 617 h 667"/>
                <a:gd name="T66" fmla="*/ 533 w 533"/>
                <a:gd name="T67" fmla="*/ 217 h 667"/>
                <a:gd name="T68" fmla="*/ 394 w 533"/>
                <a:gd name="T69" fmla="*/ 217 h 667"/>
                <a:gd name="T70" fmla="*/ 316 w 533"/>
                <a:gd name="T71" fmla="*/ 139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3" h="667">
                  <a:moveTo>
                    <a:pt x="433" y="283"/>
                  </a:moveTo>
                  <a:lnTo>
                    <a:pt x="100" y="283"/>
                  </a:lnTo>
                  <a:lnTo>
                    <a:pt x="100" y="250"/>
                  </a:lnTo>
                  <a:lnTo>
                    <a:pt x="433" y="250"/>
                  </a:lnTo>
                  <a:lnTo>
                    <a:pt x="433" y="283"/>
                  </a:lnTo>
                  <a:close/>
                  <a:moveTo>
                    <a:pt x="433" y="367"/>
                  </a:moveTo>
                  <a:lnTo>
                    <a:pt x="100" y="367"/>
                  </a:lnTo>
                  <a:lnTo>
                    <a:pt x="100" y="333"/>
                  </a:lnTo>
                  <a:lnTo>
                    <a:pt x="433" y="333"/>
                  </a:lnTo>
                  <a:lnTo>
                    <a:pt x="433" y="367"/>
                  </a:lnTo>
                  <a:close/>
                  <a:moveTo>
                    <a:pt x="433" y="450"/>
                  </a:moveTo>
                  <a:lnTo>
                    <a:pt x="100" y="450"/>
                  </a:lnTo>
                  <a:lnTo>
                    <a:pt x="100" y="417"/>
                  </a:lnTo>
                  <a:lnTo>
                    <a:pt x="433" y="417"/>
                  </a:lnTo>
                  <a:lnTo>
                    <a:pt x="433" y="450"/>
                  </a:lnTo>
                  <a:close/>
                  <a:moveTo>
                    <a:pt x="433" y="533"/>
                  </a:moveTo>
                  <a:lnTo>
                    <a:pt x="100" y="533"/>
                  </a:lnTo>
                  <a:lnTo>
                    <a:pt x="100" y="500"/>
                  </a:lnTo>
                  <a:lnTo>
                    <a:pt x="433" y="500"/>
                  </a:lnTo>
                  <a:lnTo>
                    <a:pt x="433" y="533"/>
                  </a:lnTo>
                  <a:close/>
                  <a:moveTo>
                    <a:pt x="100" y="167"/>
                  </a:moveTo>
                  <a:lnTo>
                    <a:pt x="260" y="167"/>
                  </a:lnTo>
                  <a:lnTo>
                    <a:pt x="260" y="200"/>
                  </a:lnTo>
                  <a:lnTo>
                    <a:pt x="100" y="200"/>
                  </a:lnTo>
                  <a:lnTo>
                    <a:pt x="100" y="167"/>
                  </a:lnTo>
                  <a:close/>
                  <a:moveTo>
                    <a:pt x="316" y="139"/>
                  </a:moveTo>
                  <a:lnTo>
                    <a:pt x="316" y="0"/>
                  </a:lnTo>
                  <a:lnTo>
                    <a:pt x="50" y="0"/>
                  </a:lnTo>
                  <a:cubicBezTo>
                    <a:pt x="22" y="0"/>
                    <a:pt x="0" y="22"/>
                    <a:pt x="0" y="50"/>
                  </a:cubicBezTo>
                  <a:lnTo>
                    <a:pt x="0" y="617"/>
                  </a:lnTo>
                  <a:cubicBezTo>
                    <a:pt x="0" y="644"/>
                    <a:pt x="22" y="667"/>
                    <a:pt x="50" y="667"/>
                  </a:cubicBezTo>
                  <a:lnTo>
                    <a:pt x="483" y="667"/>
                  </a:lnTo>
                  <a:cubicBezTo>
                    <a:pt x="511" y="667"/>
                    <a:pt x="533" y="644"/>
                    <a:pt x="533" y="617"/>
                  </a:cubicBezTo>
                  <a:lnTo>
                    <a:pt x="533" y="217"/>
                  </a:lnTo>
                  <a:lnTo>
                    <a:pt x="394" y="217"/>
                  </a:lnTo>
                  <a:cubicBezTo>
                    <a:pt x="351" y="217"/>
                    <a:pt x="316" y="182"/>
                    <a:pt x="316" y="139"/>
                  </a:cubicBezTo>
                  <a:close/>
                </a:path>
              </a:pathLst>
            </a:custGeom>
            <a:grp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25" name="Freeform 20">
              <a:extLst>
                <a:ext uri="{FF2B5EF4-FFF2-40B4-BE49-F238E27FC236}">
                  <a16:creationId xmlns:a16="http://schemas.microsoft.com/office/drawing/2014/main" id="{6D532C89-FA5E-401F-A200-C89EB21A4451}"/>
                </a:ext>
              </a:extLst>
            </p:cNvPr>
            <p:cNvSpPr>
              <a:spLocks/>
            </p:cNvSpPr>
            <p:nvPr/>
          </p:nvSpPr>
          <p:spPr bwMode="auto">
            <a:xfrm>
              <a:off x="4133" y="780"/>
              <a:ext cx="743" cy="743"/>
            </a:xfrm>
            <a:custGeom>
              <a:avLst/>
              <a:gdLst>
                <a:gd name="T0" fmla="*/ 0 w 187"/>
                <a:gd name="T1" fmla="*/ 143 h 187"/>
                <a:gd name="T2" fmla="*/ 44 w 187"/>
                <a:gd name="T3" fmla="*/ 187 h 187"/>
                <a:gd name="T4" fmla="*/ 187 w 187"/>
                <a:gd name="T5" fmla="*/ 187 h 187"/>
                <a:gd name="T6" fmla="*/ 0 w 187"/>
                <a:gd name="T7" fmla="*/ 0 h 187"/>
                <a:gd name="T8" fmla="*/ 0 w 187"/>
                <a:gd name="T9" fmla="*/ 143 h 187"/>
              </a:gdLst>
              <a:ahLst/>
              <a:cxnLst>
                <a:cxn ang="0">
                  <a:pos x="T0" y="T1"/>
                </a:cxn>
                <a:cxn ang="0">
                  <a:pos x="T2" y="T3"/>
                </a:cxn>
                <a:cxn ang="0">
                  <a:pos x="T4" y="T5"/>
                </a:cxn>
                <a:cxn ang="0">
                  <a:pos x="T6" y="T7"/>
                </a:cxn>
                <a:cxn ang="0">
                  <a:pos x="T8" y="T9"/>
                </a:cxn>
              </a:cxnLst>
              <a:rect l="0" t="0" r="r" b="b"/>
              <a:pathLst>
                <a:path w="187" h="187">
                  <a:moveTo>
                    <a:pt x="0" y="143"/>
                  </a:moveTo>
                  <a:cubicBezTo>
                    <a:pt x="0" y="167"/>
                    <a:pt x="20" y="187"/>
                    <a:pt x="44" y="187"/>
                  </a:cubicBezTo>
                  <a:lnTo>
                    <a:pt x="187" y="187"/>
                  </a:lnTo>
                  <a:lnTo>
                    <a:pt x="0" y="0"/>
                  </a:lnTo>
                  <a:lnTo>
                    <a:pt x="0" y="143"/>
                  </a:lnTo>
                </a:path>
              </a:pathLst>
            </a:custGeom>
            <a:grp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grpSp>
      <p:sp>
        <p:nvSpPr>
          <p:cNvPr id="26" name="Computer">
            <a:extLst>
              <a:ext uri="{FF2B5EF4-FFF2-40B4-BE49-F238E27FC236}">
                <a16:creationId xmlns:a16="http://schemas.microsoft.com/office/drawing/2014/main" id="{BBC880B5-C2CB-422E-8001-A737702F9066}"/>
              </a:ext>
            </a:extLst>
          </p:cNvPr>
          <p:cNvSpPr>
            <a:spLocks noChangeAspect="1" noEditPoints="1"/>
          </p:cNvSpPr>
          <p:nvPr>
            <p:custDataLst>
              <p:tags r:id="rId4"/>
            </p:custDataLst>
          </p:nvPr>
        </p:nvSpPr>
        <p:spPr bwMode="auto">
          <a:xfrm>
            <a:off x="4430713" y="3605213"/>
            <a:ext cx="514350" cy="657225"/>
          </a:xfrm>
          <a:custGeom>
            <a:avLst/>
            <a:gdLst>
              <a:gd name="T0" fmla="*/ 970 w 1129"/>
              <a:gd name="T1" fmla="*/ 1043 h 1250"/>
              <a:gd name="T2" fmla="*/ 970 w 1129"/>
              <a:gd name="T3" fmla="*/ 959 h 1250"/>
              <a:gd name="T4" fmla="*/ 783 w 1129"/>
              <a:gd name="T5" fmla="*/ 959 h 1250"/>
              <a:gd name="T6" fmla="*/ 783 w 1129"/>
              <a:gd name="T7" fmla="*/ 910 h 1250"/>
              <a:gd name="T8" fmla="*/ 1100 w 1129"/>
              <a:gd name="T9" fmla="*/ 910 h 1250"/>
              <a:gd name="T10" fmla="*/ 1121 w 1129"/>
              <a:gd name="T11" fmla="*/ 889 h 1250"/>
              <a:gd name="T12" fmla="*/ 1121 w 1129"/>
              <a:gd name="T13" fmla="*/ 21 h 1250"/>
              <a:gd name="T14" fmla="*/ 1100 w 1129"/>
              <a:gd name="T15" fmla="*/ 0 h 1250"/>
              <a:gd name="T16" fmla="*/ 25 w 1129"/>
              <a:gd name="T17" fmla="*/ 0 h 1250"/>
              <a:gd name="T18" fmla="*/ 4 w 1129"/>
              <a:gd name="T19" fmla="*/ 21 h 1250"/>
              <a:gd name="T20" fmla="*/ 4 w 1129"/>
              <a:gd name="T21" fmla="*/ 889 h 1250"/>
              <a:gd name="T22" fmla="*/ 25 w 1129"/>
              <a:gd name="T23" fmla="*/ 910 h 1250"/>
              <a:gd name="T24" fmla="*/ 346 w 1129"/>
              <a:gd name="T25" fmla="*/ 910 h 1250"/>
              <a:gd name="T26" fmla="*/ 346 w 1129"/>
              <a:gd name="T27" fmla="*/ 959 h 1250"/>
              <a:gd name="T28" fmla="*/ 159 w 1129"/>
              <a:gd name="T29" fmla="*/ 959 h 1250"/>
              <a:gd name="T30" fmla="*/ 159 w 1129"/>
              <a:gd name="T31" fmla="*/ 1043 h 1250"/>
              <a:gd name="T32" fmla="*/ 0 w 1129"/>
              <a:gd name="T33" fmla="*/ 1158 h 1250"/>
              <a:gd name="T34" fmla="*/ 0 w 1129"/>
              <a:gd name="T35" fmla="*/ 1250 h 1250"/>
              <a:gd name="T36" fmla="*/ 1129 w 1129"/>
              <a:gd name="T37" fmla="*/ 1250 h 1250"/>
              <a:gd name="T38" fmla="*/ 1129 w 1129"/>
              <a:gd name="T39" fmla="*/ 1158 h 1250"/>
              <a:gd name="T40" fmla="*/ 970 w 1129"/>
              <a:gd name="T41" fmla="*/ 1043 h 1250"/>
              <a:gd name="T42" fmla="*/ 80 w 1129"/>
              <a:gd name="T43" fmla="*/ 828 h 1250"/>
              <a:gd name="T44" fmla="*/ 80 w 1129"/>
              <a:gd name="T45" fmla="*/ 76 h 1250"/>
              <a:gd name="T46" fmla="*/ 97 w 1129"/>
              <a:gd name="T47" fmla="*/ 58 h 1250"/>
              <a:gd name="T48" fmla="*/ 1024 w 1129"/>
              <a:gd name="T49" fmla="*/ 58 h 1250"/>
              <a:gd name="T50" fmla="*/ 1042 w 1129"/>
              <a:gd name="T51" fmla="*/ 76 h 1250"/>
              <a:gd name="T52" fmla="*/ 1042 w 1129"/>
              <a:gd name="T53" fmla="*/ 828 h 1250"/>
              <a:gd name="T54" fmla="*/ 1024 w 1129"/>
              <a:gd name="T55" fmla="*/ 846 h 1250"/>
              <a:gd name="T56" fmla="*/ 97 w 1129"/>
              <a:gd name="T57" fmla="*/ 846 h 1250"/>
              <a:gd name="T58" fmla="*/ 80 w 1129"/>
              <a:gd name="T59" fmla="*/ 828 h 1250"/>
              <a:gd name="T60" fmla="*/ 56 w 1129"/>
              <a:gd name="T61" fmla="*/ 1153 h 1250"/>
              <a:gd name="T62" fmla="*/ 199 w 1129"/>
              <a:gd name="T63" fmla="*/ 1051 h 1250"/>
              <a:gd name="T64" fmla="*/ 930 w 1129"/>
              <a:gd name="T65" fmla="*/ 1051 h 1250"/>
              <a:gd name="T66" fmla="*/ 1073 w 1129"/>
              <a:gd name="T67" fmla="*/ 1153 h 1250"/>
              <a:gd name="T68" fmla="*/ 56 w 1129"/>
              <a:gd name="T69" fmla="*/ 1153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29" h="1250">
                <a:moveTo>
                  <a:pt x="970" y="1043"/>
                </a:moveTo>
                <a:lnTo>
                  <a:pt x="970" y="959"/>
                </a:lnTo>
                <a:lnTo>
                  <a:pt x="783" y="959"/>
                </a:lnTo>
                <a:lnTo>
                  <a:pt x="783" y="910"/>
                </a:lnTo>
                <a:lnTo>
                  <a:pt x="1100" y="910"/>
                </a:lnTo>
                <a:cubicBezTo>
                  <a:pt x="1112" y="910"/>
                  <a:pt x="1121" y="901"/>
                  <a:pt x="1121" y="889"/>
                </a:cubicBezTo>
                <a:lnTo>
                  <a:pt x="1121" y="21"/>
                </a:lnTo>
                <a:cubicBezTo>
                  <a:pt x="1121" y="9"/>
                  <a:pt x="1112" y="0"/>
                  <a:pt x="1100" y="0"/>
                </a:cubicBezTo>
                <a:lnTo>
                  <a:pt x="25" y="0"/>
                </a:lnTo>
                <a:cubicBezTo>
                  <a:pt x="13" y="0"/>
                  <a:pt x="4" y="9"/>
                  <a:pt x="4" y="21"/>
                </a:cubicBezTo>
                <a:lnTo>
                  <a:pt x="4" y="889"/>
                </a:lnTo>
                <a:cubicBezTo>
                  <a:pt x="4" y="901"/>
                  <a:pt x="13" y="910"/>
                  <a:pt x="25" y="910"/>
                </a:cubicBezTo>
                <a:lnTo>
                  <a:pt x="346" y="910"/>
                </a:lnTo>
                <a:lnTo>
                  <a:pt x="346" y="959"/>
                </a:lnTo>
                <a:lnTo>
                  <a:pt x="159" y="959"/>
                </a:lnTo>
                <a:lnTo>
                  <a:pt x="159" y="1043"/>
                </a:lnTo>
                <a:lnTo>
                  <a:pt x="0" y="1158"/>
                </a:lnTo>
                <a:lnTo>
                  <a:pt x="0" y="1250"/>
                </a:lnTo>
                <a:lnTo>
                  <a:pt x="1129" y="1250"/>
                </a:lnTo>
                <a:lnTo>
                  <a:pt x="1129" y="1158"/>
                </a:lnTo>
                <a:lnTo>
                  <a:pt x="970" y="1043"/>
                </a:lnTo>
                <a:close/>
                <a:moveTo>
                  <a:pt x="80" y="828"/>
                </a:moveTo>
                <a:lnTo>
                  <a:pt x="80" y="76"/>
                </a:lnTo>
                <a:cubicBezTo>
                  <a:pt x="80" y="66"/>
                  <a:pt x="87" y="58"/>
                  <a:pt x="97" y="58"/>
                </a:cubicBezTo>
                <a:lnTo>
                  <a:pt x="1024" y="58"/>
                </a:lnTo>
                <a:cubicBezTo>
                  <a:pt x="1034" y="58"/>
                  <a:pt x="1042" y="66"/>
                  <a:pt x="1042" y="76"/>
                </a:cubicBezTo>
                <a:lnTo>
                  <a:pt x="1042" y="828"/>
                </a:lnTo>
                <a:cubicBezTo>
                  <a:pt x="1042" y="838"/>
                  <a:pt x="1034" y="846"/>
                  <a:pt x="1024" y="846"/>
                </a:cubicBezTo>
                <a:lnTo>
                  <a:pt x="97" y="846"/>
                </a:lnTo>
                <a:cubicBezTo>
                  <a:pt x="87" y="846"/>
                  <a:pt x="80" y="838"/>
                  <a:pt x="80" y="828"/>
                </a:cubicBezTo>
                <a:close/>
                <a:moveTo>
                  <a:pt x="56" y="1153"/>
                </a:moveTo>
                <a:lnTo>
                  <a:pt x="199" y="1051"/>
                </a:lnTo>
                <a:lnTo>
                  <a:pt x="930" y="1051"/>
                </a:lnTo>
                <a:lnTo>
                  <a:pt x="1073" y="1153"/>
                </a:lnTo>
                <a:lnTo>
                  <a:pt x="56" y="1153"/>
                </a:lnTo>
                <a:close/>
              </a:path>
            </a:pathLst>
          </a:custGeom>
          <a:solidFill>
            <a:schemeClr val="accent2"/>
          </a:solidFill>
          <a:ln w="0">
            <a:noFill/>
            <a:prstDash val="solid"/>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274" name="Desktop_Tower">
            <a:extLst>
              <a:ext uri="{FF2B5EF4-FFF2-40B4-BE49-F238E27FC236}">
                <a16:creationId xmlns:a16="http://schemas.microsoft.com/office/drawing/2014/main" id="{D94A8BB3-254A-4D37-B4EA-45BB5CF2109B}"/>
              </a:ext>
            </a:extLst>
          </p:cNvPr>
          <p:cNvSpPr>
            <a:spLocks noChangeAspect="1" noEditPoints="1"/>
          </p:cNvSpPr>
          <p:nvPr>
            <p:custDataLst>
              <p:tags r:id="rId5"/>
            </p:custDataLst>
          </p:nvPr>
        </p:nvSpPr>
        <p:spPr bwMode="auto">
          <a:xfrm>
            <a:off x="4972050" y="3592513"/>
            <a:ext cx="376238" cy="669925"/>
          </a:xfrm>
          <a:custGeom>
            <a:avLst/>
            <a:gdLst>
              <a:gd name="T0" fmla="*/ 113 w 610"/>
              <a:gd name="T1" fmla="*/ 0 h 1188"/>
              <a:gd name="T2" fmla="*/ 0 w 610"/>
              <a:gd name="T3" fmla="*/ 113 h 1188"/>
              <a:gd name="T4" fmla="*/ 0 w 610"/>
              <a:gd name="T5" fmla="*/ 1075 h 1188"/>
              <a:gd name="T6" fmla="*/ 113 w 610"/>
              <a:gd name="T7" fmla="*/ 1188 h 1188"/>
              <a:gd name="T8" fmla="*/ 497 w 610"/>
              <a:gd name="T9" fmla="*/ 1188 h 1188"/>
              <a:gd name="T10" fmla="*/ 610 w 610"/>
              <a:gd name="T11" fmla="*/ 1075 h 1188"/>
              <a:gd name="T12" fmla="*/ 610 w 610"/>
              <a:gd name="T13" fmla="*/ 113 h 1188"/>
              <a:gd name="T14" fmla="*/ 497 w 610"/>
              <a:gd name="T15" fmla="*/ 0 h 1188"/>
              <a:gd name="T16" fmla="*/ 113 w 610"/>
              <a:gd name="T17" fmla="*/ 0 h 1188"/>
              <a:gd name="T18" fmla="*/ 124 w 610"/>
              <a:gd name="T19" fmla="*/ 275 h 1188"/>
              <a:gd name="T20" fmla="*/ 192 w 610"/>
              <a:gd name="T21" fmla="*/ 343 h 1188"/>
              <a:gd name="T22" fmla="*/ 124 w 610"/>
              <a:gd name="T23" fmla="*/ 411 h 1188"/>
              <a:gd name="T24" fmla="*/ 56 w 610"/>
              <a:gd name="T25" fmla="*/ 343 h 1188"/>
              <a:gd name="T26" fmla="*/ 124 w 610"/>
              <a:gd name="T27" fmla="*/ 275 h 1188"/>
              <a:gd name="T28" fmla="*/ 229 w 610"/>
              <a:gd name="T29" fmla="*/ 277 h 1188"/>
              <a:gd name="T30" fmla="*/ 541 w 610"/>
              <a:gd name="T31" fmla="*/ 277 h 1188"/>
              <a:gd name="T32" fmla="*/ 541 w 610"/>
              <a:gd name="T33" fmla="*/ 409 h 1188"/>
              <a:gd name="T34" fmla="*/ 229 w 610"/>
              <a:gd name="T35" fmla="*/ 409 h 1188"/>
              <a:gd name="T36" fmla="*/ 229 w 610"/>
              <a:gd name="T37" fmla="*/ 277 h 1188"/>
              <a:gd name="T38" fmla="*/ 157 w 610"/>
              <a:gd name="T39" fmla="*/ 811 h 1188"/>
              <a:gd name="T40" fmla="*/ 453 w 610"/>
              <a:gd name="T41" fmla="*/ 811 h 1188"/>
              <a:gd name="T42" fmla="*/ 453 w 610"/>
              <a:gd name="T43" fmla="*/ 828 h 1188"/>
              <a:gd name="T44" fmla="*/ 157 w 610"/>
              <a:gd name="T45" fmla="*/ 828 h 1188"/>
              <a:gd name="T46" fmla="*/ 157 w 610"/>
              <a:gd name="T47" fmla="*/ 811 h 1188"/>
              <a:gd name="T48" fmla="*/ 157 w 610"/>
              <a:gd name="T49" fmla="*/ 890 h 1188"/>
              <a:gd name="T50" fmla="*/ 453 w 610"/>
              <a:gd name="T51" fmla="*/ 890 h 1188"/>
              <a:gd name="T52" fmla="*/ 453 w 610"/>
              <a:gd name="T53" fmla="*/ 907 h 1188"/>
              <a:gd name="T54" fmla="*/ 157 w 610"/>
              <a:gd name="T55" fmla="*/ 907 h 1188"/>
              <a:gd name="T56" fmla="*/ 157 w 610"/>
              <a:gd name="T57" fmla="*/ 890 h 1188"/>
              <a:gd name="T58" fmla="*/ 157 w 610"/>
              <a:gd name="T59" fmla="*/ 969 h 1188"/>
              <a:gd name="T60" fmla="*/ 453 w 610"/>
              <a:gd name="T61" fmla="*/ 969 h 1188"/>
              <a:gd name="T62" fmla="*/ 453 w 610"/>
              <a:gd name="T63" fmla="*/ 985 h 1188"/>
              <a:gd name="T64" fmla="*/ 157 w 610"/>
              <a:gd name="T65" fmla="*/ 985 h 1188"/>
              <a:gd name="T66" fmla="*/ 157 w 610"/>
              <a:gd name="T67" fmla="*/ 969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0" h="1188">
                <a:moveTo>
                  <a:pt x="113" y="0"/>
                </a:moveTo>
                <a:cubicBezTo>
                  <a:pt x="51" y="0"/>
                  <a:pt x="0" y="51"/>
                  <a:pt x="0" y="113"/>
                </a:cubicBezTo>
                <a:lnTo>
                  <a:pt x="0" y="1075"/>
                </a:lnTo>
                <a:cubicBezTo>
                  <a:pt x="0" y="1137"/>
                  <a:pt x="51" y="1188"/>
                  <a:pt x="113" y="1188"/>
                </a:cubicBezTo>
                <a:lnTo>
                  <a:pt x="497" y="1188"/>
                </a:lnTo>
                <a:cubicBezTo>
                  <a:pt x="559" y="1188"/>
                  <a:pt x="610" y="1137"/>
                  <a:pt x="610" y="1075"/>
                </a:cubicBezTo>
                <a:lnTo>
                  <a:pt x="610" y="113"/>
                </a:lnTo>
                <a:cubicBezTo>
                  <a:pt x="610" y="51"/>
                  <a:pt x="559" y="0"/>
                  <a:pt x="497" y="0"/>
                </a:cubicBezTo>
                <a:lnTo>
                  <a:pt x="113" y="0"/>
                </a:lnTo>
                <a:close/>
                <a:moveTo>
                  <a:pt x="124" y="275"/>
                </a:moveTo>
                <a:cubicBezTo>
                  <a:pt x="162" y="275"/>
                  <a:pt x="192" y="305"/>
                  <a:pt x="192" y="343"/>
                </a:cubicBezTo>
                <a:cubicBezTo>
                  <a:pt x="192" y="380"/>
                  <a:pt x="162" y="411"/>
                  <a:pt x="124" y="411"/>
                </a:cubicBezTo>
                <a:cubicBezTo>
                  <a:pt x="86" y="411"/>
                  <a:pt x="56" y="380"/>
                  <a:pt x="56" y="343"/>
                </a:cubicBezTo>
                <a:cubicBezTo>
                  <a:pt x="56" y="305"/>
                  <a:pt x="86" y="275"/>
                  <a:pt x="124" y="275"/>
                </a:cubicBezTo>
                <a:close/>
                <a:moveTo>
                  <a:pt x="229" y="277"/>
                </a:moveTo>
                <a:lnTo>
                  <a:pt x="541" y="277"/>
                </a:lnTo>
                <a:lnTo>
                  <a:pt x="541" y="409"/>
                </a:lnTo>
                <a:lnTo>
                  <a:pt x="229" y="409"/>
                </a:lnTo>
                <a:lnTo>
                  <a:pt x="229" y="277"/>
                </a:lnTo>
                <a:close/>
                <a:moveTo>
                  <a:pt x="157" y="811"/>
                </a:moveTo>
                <a:lnTo>
                  <a:pt x="453" y="811"/>
                </a:lnTo>
                <a:lnTo>
                  <a:pt x="453" y="828"/>
                </a:lnTo>
                <a:lnTo>
                  <a:pt x="157" y="828"/>
                </a:lnTo>
                <a:lnTo>
                  <a:pt x="157" y="811"/>
                </a:lnTo>
                <a:close/>
                <a:moveTo>
                  <a:pt x="157" y="890"/>
                </a:moveTo>
                <a:lnTo>
                  <a:pt x="453" y="890"/>
                </a:lnTo>
                <a:lnTo>
                  <a:pt x="453" y="907"/>
                </a:lnTo>
                <a:lnTo>
                  <a:pt x="157" y="907"/>
                </a:lnTo>
                <a:lnTo>
                  <a:pt x="157" y="890"/>
                </a:lnTo>
                <a:close/>
                <a:moveTo>
                  <a:pt x="157" y="969"/>
                </a:moveTo>
                <a:lnTo>
                  <a:pt x="453" y="969"/>
                </a:lnTo>
                <a:lnTo>
                  <a:pt x="453" y="985"/>
                </a:lnTo>
                <a:lnTo>
                  <a:pt x="157" y="985"/>
                </a:lnTo>
                <a:lnTo>
                  <a:pt x="157" y="969"/>
                </a:lnTo>
                <a:close/>
              </a:path>
            </a:pathLst>
          </a:custGeom>
          <a:solidFill>
            <a:schemeClr val="accent2"/>
          </a:solidFill>
          <a:ln>
            <a:noFill/>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275" name="User3">
            <a:extLst>
              <a:ext uri="{FF2B5EF4-FFF2-40B4-BE49-F238E27FC236}">
                <a16:creationId xmlns:a16="http://schemas.microsoft.com/office/drawing/2014/main" id="{30D70326-086E-4459-BD98-41357A4845E1}"/>
              </a:ext>
            </a:extLst>
          </p:cNvPr>
          <p:cNvSpPr>
            <a:spLocks noChangeAspect="1"/>
          </p:cNvSpPr>
          <p:nvPr>
            <p:custDataLst>
              <p:tags r:id="rId6"/>
            </p:custDataLst>
          </p:nvPr>
        </p:nvSpPr>
        <p:spPr bwMode="auto">
          <a:xfrm>
            <a:off x="4021138" y="3611563"/>
            <a:ext cx="346075" cy="625475"/>
          </a:xfrm>
          <a:custGeom>
            <a:avLst/>
            <a:gdLst>
              <a:gd name="T0" fmla="*/ 187 w 274"/>
              <a:gd name="T1" fmla="*/ 199 h 322"/>
              <a:gd name="T2" fmla="*/ 165 w 274"/>
              <a:gd name="T3" fmla="*/ 240 h 322"/>
              <a:gd name="T4" fmla="*/ 144 w 274"/>
              <a:gd name="T5" fmla="*/ 203 h 322"/>
              <a:gd name="T6" fmla="*/ 173 w 274"/>
              <a:gd name="T7" fmla="*/ 187 h 322"/>
              <a:gd name="T8" fmla="*/ 175 w 274"/>
              <a:gd name="T9" fmla="*/ 167 h 322"/>
              <a:gd name="T10" fmla="*/ 175 w 274"/>
              <a:gd name="T11" fmla="*/ 167 h 322"/>
              <a:gd name="T12" fmla="*/ 211 w 274"/>
              <a:gd name="T13" fmla="*/ 78 h 322"/>
              <a:gd name="T14" fmla="*/ 137 w 274"/>
              <a:gd name="T15" fmla="*/ 0 h 322"/>
              <a:gd name="T16" fmla="*/ 63 w 274"/>
              <a:gd name="T17" fmla="*/ 78 h 322"/>
              <a:gd name="T18" fmla="*/ 100 w 274"/>
              <a:gd name="T19" fmla="*/ 167 h 322"/>
              <a:gd name="T20" fmla="*/ 100 w 274"/>
              <a:gd name="T21" fmla="*/ 187 h 322"/>
              <a:gd name="T22" fmla="*/ 131 w 274"/>
              <a:gd name="T23" fmla="*/ 203 h 322"/>
              <a:gd name="T24" fmla="*/ 109 w 274"/>
              <a:gd name="T25" fmla="*/ 240 h 322"/>
              <a:gd name="T26" fmla="*/ 87 w 274"/>
              <a:gd name="T27" fmla="*/ 198 h 322"/>
              <a:gd name="T28" fmla="*/ 87 w 274"/>
              <a:gd name="T29" fmla="*/ 198 h 322"/>
              <a:gd name="T30" fmla="*/ 0 w 274"/>
              <a:gd name="T31" fmla="*/ 266 h 322"/>
              <a:gd name="T32" fmla="*/ 0 w 274"/>
              <a:gd name="T33" fmla="*/ 276 h 322"/>
              <a:gd name="T34" fmla="*/ 138 w 274"/>
              <a:gd name="T35" fmla="*/ 322 h 322"/>
              <a:gd name="T36" fmla="*/ 274 w 274"/>
              <a:gd name="T37" fmla="*/ 276 h 322"/>
              <a:gd name="T38" fmla="*/ 274 w 274"/>
              <a:gd name="T39" fmla="*/ 266 h 322"/>
              <a:gd name="T40" fmla="*/ 187 w 274"/>
              <a:gd name="T41" fmla="*/ 19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4" h="322">
                <a:moveTo>
                  <a:pt x="187" y="199"/>
                </a:moveTo>
                <a:cubicBezTo>
                  <a:pt x="187" y="199"/>
                  <a:pt x="178" y="222"/>
                  <a:pt x="165" y="240"/>
                </a:cubicBezTo>
                <a:cubicBezTo>
                  <a:pt x="158" y="226"/>
                  <a:pt x="150" y="211"/>
                  <a:pt x="144" y="203"/>
                </a:cubicBezTo>
                <a:cubicBezTo>
                  <a:pt x="160" y="201"/>
                  <a:pt x="170" y="191"/>
                  <a:pt x="173" y="187"/>
                </a:cubicBezTo>
                <a:cubicBezTo>
                  <a:pt x="172" y="183"/>
                  <a:pt x="172" y="176"/>
                  <a:pt x="175" y="167"/>
                </a:cubicBezTo>
                <a:lnTo>
                  <a:pt x="175" y="167"/>
                </a:lnTo>
                <a:cubicBezTo>
                  <a:pt x="195" y="146"/>
                  <a:pt x="211" y="112"/>
                  <a:pt x="211" y="78"/>
                </a:cubicBezTo>
                <a:cubicBezTo>
                  <a:pt x="211" y="27"/>
                  <a:pt x="177" y="0"/>
                  <a:pt x="137" y="0"/>
                </a:cubicBezTo>
                <a:cubicBezTo>
                  <a:pt x="97" y="0"/>
                  <a:pt x="63" y="27"/>
                  <a:pt x="63" y="78"/>
                </a:cubicBezTo>
                <a:cubicBezTo>
                  <a:pt x="63" y="112"/>
                  <a:pt x="79" y="146"/>
                  <a:pt x="100" y="167"/>
                </a:cubicBezTo>
                <a:cubicBezTo>
                  <a:pt x="103" y="176"/>
                  <a:pt x="102" y="182"/>
                  <a:pt x="100" y="187"/>
                </a:cubicBezTo>
                <a:cubicBezTo>
                  <a:pt x="103" y="190"/>
                  <a:pt x="113" y="201"/>
                  <a:pt x="131" y="203"/>
                </a:cubicBezTo>
                <a:cubicBezTo>
                  <a:pt x="124" y="211"/>
                  <a:pt x="116" y="226"/>
                  <a:pt x="109" y="240"/>
                </a:cubicBezTo>
                <a:cubicBezTo>
                  <a:pt x="96" y="222"/>
                  <a:pt x="87" y="198"/>
                  <a:pt x="87" y="198"/>
                </a:cubicBezTo>
                <a:lnTo>
                  <a:pt x="87" y="198"/>
                </a:lnTo>
                <a:cubicBezTo>
                  <a:pt x="46" y="213"/>
                  <a:pt x="0" y="240"/>
                  <a:pt x="0" y="266"/>
                </a:cubicBezTo>
                <a:lnTo>
                  <a:pt x="0" y="276"/>
                </a:lnTo>
                <a:cubicBezTo>
                  <a:pt x="0" y="313"/>
                  <a:pt x="71" y="322"/>
                  <a:pt x="138" y="322"/>
                </a:cubicBezTo>
                <a:cubicBezTo>
                  <a:pt x="204" y="322"/>
                  <a:pt x="274" y="313"/>
                  <a:pt x="274" y="276"/>
                </a:cubicBezTo>
                <a:lnTo>
                  <a:pt x="274" y="266"/>
                </a:lnTo>
                <a:cubicBezTo>
                  <a:pt x="274" y="240"/>
                  <a:pt x="229" y="213"/>
                  <a:pt x="187" y="199"/>
                </a:cubicBezTo>
                <a:close/>
              </a:path>
            </a:pathLst>
          </a:custGeom>
          <a:solidFill>
            <a:schemeClr val="accent1"/>
          </a:solidFill>
          <a:ln w="0">
            <a:noFill/>
            <a:prstDash val="solid"/>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grpSp>
        <p:nvGrpSpPr>
          <p:cNvPr id="278" name="Certificate">
            <a:extLst>
              <a:ext uri="{FF2B5EF4-FFF2-40B4-BE49-F238E27FC236}">
                <a16:creationId xmlns:a16="http://schemas.microsoft.com/office/drawing/2014/main" id="{83D97CE1-02BC-40FB-B1F6-253C3CE00D71}"/>
              </a:ext>
            </a:extLst>
          </p:cNvPr>
          <p:cNvGrpSpPr>
            <a:grpSpLocks noChangeAspect="1"/>
          </p:cNvGrpSpPr>
          <p:nvPr>
            <p:custDataLst>
              <p:tags r:id="rId7"/>
            </p:custDataLst>
          </p:nvPr>
        </p:nvGrpSpPr>
        <p:grpSpPr bwMode="auto">
          <a:xfrm>
            <a:off x="5999089" y="2807981"/>
            <a:ext cx="704840" cy="960201"/>
            <a:chOff x="44" y="66"/>
            <a:chExt cx="413" cy="323"/>
          </a:xfrm>
          <a:solidFill>
            <a:schemeClr val="accent1"/>
          </a:solidFill>
        </p:grpSpPr>
        <p:sp>
          <p:nvSpPr>
            <p:cNvPr id="279" name="Certificate">
              <a:extLst>
                <a:ext uri="{FF2B5EF4-FFF2-40B4-BE49-F238E27FC236}">
                  <a16:creationId xmlns:a16="http://schemas.microsoft.com/office/drawing/2014/main" id="{AEDAB49A-27AC-465A-A8AC-5FF7771F5500}"/>
                </a:ext>
              </a:extLst>
            </p:cNvPr>
            <p:cNvSpPr>
              <a:spLocks noEditPoints="1"/>
            </p:cNvSpPr>
            <p:nvPr/>
          </p:nvSpPr>
          <p:spPr bwMode="auto">
            <a:xfrm>
              <a:off x="44" y="66"/>
              <a:ext cx="413" cy="323"/>
            </a:xfrm>
            <a:custGeom>
              <a:avLst/>
              <a:gdLst>
                <a:gd name="T0" fmla="*/ 0 w 896"/>
                <a:gd name="T1" fmla="*/ 0 h 698"/>
                <a:gd name="T2" fmla="*/ 0 w 896"/>
                <a:gd name="T3" fmla="*/ 37 h 698"/>
                <a:gd name="T4" fmla="*/ 0 w 896"/>
                <a:gd name="T5" fmla="*/ 661 h 698"/>
                <a:gd name="T6" fmla="*/ 0 w 896"/>
                <a:gd name="T7" fmla="*/ 698 h 698"/>
                <a:gd name="T8" fmla="*/ 36 w 896"/>
                <a:gd name="T9" fmla="*/ 698 h 698"/>
                <a:gd name="T10" fmla="*/ 860 w 896"/>
                <a:gd name="T11" fmla="*/ 698 h 698"/>
                <a:gd name="T12" fmla="*/ 896 w 896"/>
                <a:gd name="T13" fmla="*/ 698 h 698"/>
                <a:gd name="T14" fmla="*/ 896 w 896"/>
                <a:gd name="T15" fmla="*/ 661 h 698"/>
                <a:gd name="T16" fmla="*/ 896 w 896"/>
                <a:gd name="T17" fmla="*/ 37 h 698"/>
                <a:gd name="T18" fmla="*/ 896 w 896"/>
                <a:gd name="T19" fmla="*/ 0 h 698"/>
                <a:gd name="T20" fmla="*/ 860 w 896"/>
                <a:gd name="T21" fmla="*/ 0 h 698"/>
                <a:gd name="T22" fmla="*/ 36 w 896"/>
                <a:gd name="T23" fmla="*/ 0 h 698"/>
                <a:gd name="T24" fmla="*/ 0 w 896"/>
                <a:gd name="T25" fmla="*/ 0 h 698"/>
                <a:gd name="T26" fmla="*/ 72 w 896"/>
                <a:gd name="T27" fmla="*/ 74 h 698"/>
                <a:gd name="T28" fmla="*/ 824 w 896"/>
                <a:gd name="T29" fmla="*/ 74 h 698"/>
                <a:gd name="T30" fmla="*/ 824 w 896"/>
                <a:gd name="T31" fmla="*/ 624 h 698"/>
                <a:gd name="T32" fmla="*/ 72 w 896"/>
                <a:gd name="T33" fmla="*/ 624 h 698"/>
                <a:gd name="T34" fmla="*/ 72 w 896"/>
                <a:gd name="T35" fmla="*/ 74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6" h="698">
                  <a:moveTo>
                    <a:pt x="0" y="0"/>
                  </a:moveTo>
                  <a:lnTo>
                    <a:pt x="0" y="37"/>
                  </a:lnTo>
                  <a:lnTo>
                    <a:pt x="0" y="661"/>
                  </a:lnTo>
                  <a:lnTo>
                    <a:pt x="0" y="698"/>
                  </a:lnTo>
                  <a:lnTo>
                    <a:pt x="36" y="698"/>
                  </a:lnTo>
                  <a:lnTo>
                    <a:pt x="860" y="698"/>
                  </a:lnTo>
                  <a:lnTo>
                    <a:pt x="896" y="698"/>
                  </a:lnTo>
                  <a:lnTo>
                    <a:pt x="896" y="661"/>
                  </a:lnTo>
                  <a:lnTo>
                    <a:pt x="896" y="37"/>
                  </a:lnTo>
                  <a:lnTo>
                    <a:pt x="896" y="0"/>
                  </a:lnTo>
                  <a:lnTo>
                    <a:pt x="860" y="0"/>
                  </a:lnTo>
                  <a:lnTo>
                    <a:pt x="36" y="0"/>
                  </a:lnTo>
                  <a:lnTo>
                    <a:pt x="0" y="0"/>
                  </a:lnTo>
                  <a:close/>
                  <a:moveTo>
                    <a:pt x="72" y="74"/>
                  </a:moveTo>
                  <a:lnTo>
                    <a:pt x="824" y="74"/>
                  </a:lnTo>
                  <a:lnTo>
                    <a:pt x="824" y="624"/>
                  </a:lnTo>
                  <a:lnTo>
                    <a:pt x="72" y="624"/>
                  </a:lnTo>
                  <a:lnTo>
                    <a:pt x="72" y="74"/>
                  </a:lnTo>
                  <a:close/>
                </a:path>
              </a:pathLst>
            </a:custGeom>
            <a:grp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280" name="Certificate">
              <a:extLst>
                <a:ext uri="{FF2B5EF4-FFF2-40B4-BE49-F238E27FC236}">
                  <a16:creationId xmlns:a16="http://schemas.microsoft.com/office/drawing/2014/main" id="{4EF852F9-53F1-44F0-877C-CE4300237598}"/>
                </a:ext>
              </a:extLst>
            </p:cNvPr>
            <p:cNvSpPr>
              <a:spLocks noEditPoints="1"/>
            </p:cNvSpPr>
            <p:nvPr/>
          </p:nvSpPr>
          <p:spPr bwMode="auto">
            <a:xfrm>
              <a:off x="100" y="121"/>
              <a:ext cx="303" cy="213"/>
            </a:xfrm>
            <a:custGeom>
              <a:avLst/>
              <a:gdLst>
                <a:gd name="T0" fmla="*/ 0 w 657"/>
                <a:gd name="T1" fmla="*/ 0 h 462"/>
                <a:gd name="T2" fmla="*/ 0 w 657"/>
                <a:gd name="T3" fmla="*/ 6 h 462"/>
                <a:gd name="T4" fmla="*/ 0 w 657"/>
                <a:gd name="T5" fmla="*/ 456 h 462"/>
                <a:gd name="T6" fmla="*/ 0 w 657"/>
                <a:gd name="T7" fmla="*/ 462 h 462"/>
                <a:gd name="T8" fmla="*/ 5 w 657"/>
                <a:gd name="T9" fmla="*/ 462 h 462"/>
                <a:gd name="T10" fmla="*/ 651 w 657"/>
                <a:gd name="T11" fmla="*/ 462 h 462"/>
                <a:gd name="T12" fmla="*/ 657 w 657"/>
                <a:gd name="T13" fmla="*/ 462 h 462"/>
                <a:gd name="T14" fmla="*/ 657 w 657"/>
                <a:gd name="T15" fmla="*/ 456 h 462"/>
                <a:gd name="T16" fmla="*/ 657 w 657"/>
                <a:gd name="T17" fmla="*/ 6 h 462"/>
                <a:gd name="T18" fmla="*/ 657 w 657"/>
                <a:gd name="T19" fmla="*/ 0 h 462"/>
                <a:gd name="T20" fmla="*/ 651 w 657"/>
                <a:gd name="T21" fmla="*/ 0 h 462"/>
                <a:gd name="T22" fmla="*/ 5 w 657"/>
                <a:gd name="T23" fmla="*/ 0 h 462"/>
                <a:gd name="T24" fmla="*/ 0 w 657"/>
                <a:gd name="T25" fmla="*/ 0 h 462"/>
                <a:gd name="T26" fmla="*/ 11 w 657"/>
                <a:gd name="T27" fmla="*/ 12 h 462"/>
                <a:gd name="T28" fmla="*/ 645 w 657"/>
                <a:gd name="T29" fmla="*/ 12 h 462"/>
                <a:gd name="T30" fmla="*/ 645 w 657"/>
                <a:gd name="T31" fmla="*/ 450 h 462"/>
                <a:gd name="T32" fmla="*/ 11 w 657"/>
                <a:gd name="T33" fmla="*/ 450 h 462"/>
                <a:gd name="T34" fmla="*/ 11 w 657"/>
                <a:gd name="T35" fmla="*/ 12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7" h="462">
                  <a:moveTo>
                    <a:pt x="0" y="0"/>
                  </a:moveTo>
                  <a:lnTo>
                    <a:pt x="0" y="6"/>
                  </a:lnTo>
                  <a:lnTo>
                    <a:pt x="0" y="456"/>
                  </a:lnTo>
                  <a:lnTo>
                    <a:pt x="0" y="462"/>
                  </a:lnTo>
                  <a:lnTo>
                    <a:pt x="5" y="462"/>
                  </a:lnTo>
                  <a:lnTo>
                    <a:pt x="651" y="462"/>
                  </a:lnTo>
                  <a:lnTo>
                    <a:pt x="657" y="462"/>
                  </a:lnTo>
                  <a:lnTo>
                    <a:pt x="657" y="456"/>
                  </a:lnTo>
                  <a:lnTo>
                    <a:pt x="657" y="6"/>
                  </a:lnTo>
                  <a:lnTo>
                    <a:pt x="657" y="0"/>
                  </a:lnTo>
                  <a:lnTo>
                    <a:pt x="651" y="0"/>
                  </a:lnTo>
                  <a:lnTo>
                    <a:pt x="5" y="0"/>
                  </a:lnTo>
                  <a:lnTo>
                    <a:pt x="0" y="0"/>
                  </a:lnTo>
                  <a:close/>
                  <a:moveTo>
                    <a:pt x="11" y="12"/>
                  </a:moveTo>
                  <a:lnTo>
                    <a:pt x="645" y="12"/>
                  </a:lnTo>
                  <a:lnTo>
                    <a:pt x="645" y="450"/>
                  </a:lnTo>
                  <a:lnTo>
                    <a:pt x="11" y="450"/>
                  </a:lnTo>
                  <a:lnTo>
                    <a:pt x="11" y="12"/>
                  </a:lnTo>
                  <a:close/>
                </a:path>
              </a:pathLst>
            </a:custGeom>
            <a:grp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281" name="Certificate">
              <a:extLst>
                <a:ext uri="{FF2B5EF4-FFF2-40B4-BE49-F238E27FC236}">
                  <a16:creationId xmlns:a16="http://schemas.microsoft.com/office/drawing/2014/main" id="{D60C0601-B022-4C16-859A-7A82D59C6B6E}"/>
                </a:ext>
              </a:extLst>
            </p:cNvPr>
            <p:cNvSpPr>
              <a:spLocks noEditPoints="1"/>
            </p:cNvSpPr>
            <p:nvPr/>
          </p:nvSpPr>
          <p:spPr bwMode="auto">
            <a:xfrm>
              <a:off x="331" y="221"/>
              <a:ext cx="60" cy="93"/>
            </a:xfrm>
            <a:custGeom>
              <a:avLst/>
              <a:gdLst>
                <a:gd name="T0" fmla="*/ 57 w 130"/>
                <a:gd name="T1" fmla="*/ 13 h 202"/>
                <a:gd name="T2" fmla="*/ 65 w 130"/>
                <a:gd name="T3" fmla="*/ 0 h 202"/>
                <a:gd name="T4" fmla="*/ 73 w 130"/>
                <a:gd name="T5" fmla="*/ 13 h 202"/>
                <a:gd name="T6" fmla="*/ 85 w 130"/>
                <a:gd name="T7" fmla="*/ 3 h 202"/>
                <a:gd name="T8" fmla="*/ 89 w 130"/>
                <a:gd name="T9" fmla="*/ 18 h 202"/>
                <a:gd name="T10" fmla="*/ 103 w 130"/>
                <a:gd name="T11" fmla="*/ 12 h 202"/>
                <a:gd name="T12" fmla="*/ 102 w 130"/>
                <a:gd name="T13" fmla="*/ 28 h 202"/>
                <a:gd name="T14" fmla="*/ 118 w 130"/>
                <a:gd name="T15" fmla="*/ 26 h 202"/>
                <a:gd name="T16" fmla="*/ 111 w 130"/>
                <a:gd name="T17" fmla="*/ 41 h 202"/>
                <a:gd name="T18" fmla="*/ 127 w 130"/>
                <a:gd name="T19" fmla="*/ 44 h 202"/>
                <a:gd name="T20" fmla="*/ 117 w 130"/>
                <a:gd name="T21" fmla="*/ 57 h 202"/>
                <a:gd name="T22" fmla="*/ 130 w 130"/>
                <a:gd name="T23" fmla="*/ 65 h 202"/>
                <a:gd name="T24" fmla="*/ 116 w 130"/>
                <a:gd name="T25" fmla="*/ 73 h 202"/>
                <a:gd name="T26" fmla="*/ 127 w 130"/>
                <a:gd name="T27" fmla="*/ 85 h 202"/>
                <a:gd name="T28" fmla="*/ 111 w 130"/>
                <a:gd name="T29" fmla="*/ 88 h 202"/>
                <a:gd name="T30" fmla="*/ 118 w 130"/>
                <a:gd name="T31" fmla="*/ 103 h 202"/>
                <a:gd name="T32" fmla="*/ 102 w 130"/>
                <a:gd name="T33" fmla="*/ 101 h 202"/>
                <a:gd name="T34" fmla="*/ 103 w 130"/>
                <a:gd name="T35" fmla="*/ 117 h 202"/>
                <a:gd name="T36" fmla="*/ 89 w 130"/>
                <a:gd name="T37" fmla="*/ 111 h 202"/>
                <a:gd name="T38" fmla="*/ 88 w 130"/>
                <a:gd name="T39" fmla="*/ 118 h 202"/>
                <a:gd name="T40" fmla="*/ 114 w 130"/>
                <a:gd name="T41" fmla="*/ 194 h 202"/>
                <a:gd name="T42" fmla="*/ 93 w 130"/>
                <a:gd name="T43" fmla="*/ 182 h 202"/>
                <a:gd name="T44" fmla="*/ 83 w 130"/>
                <a:gd name="T45" fmla="*/ 202 h 202"/>
                <a:gd name="T46" fmla="*/ 82 w 130"/>
                <a:gd name="T47" fmla="*/ 198 h 202"/>
                <a:gd name="T48" fmla="*/ 66 w 130"/>
                <a:gd name="T49" fmla="*/ 129 h 202"/>
                <a:gd name="T50" fmla="*/ 65 w 130"/>
                <a:gd name="T51" fmla="*/ 129 h 202"/>
                <a:gd name="T52" fmla="*/ 52 w 130"/>
                <a:gd name="T53" fmla="*/ 183 h 202"/>
                <a:gd name="T54" fmla="*/ 48 w 130"/>
                <a:gd name="T55" fmla="*/ 202 h 202"/>
                <a:gd name="T56" fmla="*/ 37 w 130"/>
                <a:gd name="T57" fmla="*/ 182 h 202"/>
                <a:gd name="T58" fmla="*/ 17 w 130"/>
                <a:gd name="T59" fmla="*/ 194 h 202"/>
                <a:gd name="T60" fmla="*/ 42 w 130"/>
                <a:gd name="T61" fmla="*/ 118 h 202"/>
                <a:gd name="T62" fmla="*/ 42 w 130"/>
                <a:gd name="T63" fmla="*/ 111 h 202"/>
                <a:gd name="T64" fmla="*/ 27 w 130"/>
                <a:gd name="T65" fmla="*/ 117 h 202"/>
                <a:gd name="T66" fmla="*/ 28 w 130"/>
                <a:gd name="T67" fmla="*/ 101 h 202"/>
                <a:gd name="T68" fmla="*/ 13 w 130"/>
                <a:gd name="T69" fmla="*/ 103 h 202"/>
                <a:gd name="T70" fmla="*/ 19 w 130"/>
                <a:gd name="T71" fmla="*/ 88 h 202"/>
                <a:gd name="T72" fmla="*/ 4 w 130"/>
                <a:gd name="T73" fmla="*/ 85 h 202"/>
                <a:gd name="T74" fmla="*/ 14 w 130"/>
                <a:gd name="T75" fmla="*/ 73 h 202"/>
                <a:gd name="T76" fmla="*/ 0 w 130"/>
                <a:gd name="T77" fmla="*/ 65 h 202"/>
                <a:gd name="T78" fmla="*/ 14 w 130"/>
                <a:gd name="T79" fmla="*/ 57 h 202"/>
                <a:gd name="T80" fmla="*/ 4 w 130"/>
                <a:gd name="T81" fmla="*/ 44 h 202"/>
                <a:gd name="T82" fmla="*/ 19 w 130"/>
                <a:gd name="T83" fmla="*/ 41 h 202"/>
                <a:gd name="T84" fmla="*/ 13 w 130"/>
                <a:gd name="T85" fmla="*/ 26 h 202"/>
                <a:gd name="T86" fmla="*/ 28 w 130"/>
                <a:gd name="T87" fmla="*/ 28 h 202"/>
                <a:gd name="T88" fmla="*/ 27 w 130"/>
                <a:gd name="T89" fmla="*/ 12 h 202"/>
                <a:gd name="T90" fmla="*/ 42 w 130"/>
                <a:gd name="T91" fmla="*/ 18 h 202"/>
                <a:gd name="T92" fmla="*/ 45 w 130"/>
                <a:gd name="T93" fmla="*/ 3 h 202"/>
                <a:gd name="T94" fmla="*/ 57 w 130"/>
                <a:gd name="T95" fmla="*/ 13 h 202"/>
                <a:gd name="T96" fmla="*/ 63 w 130"/>
                <a:gd name="T97" fmla="*/ 22 h 202"/>
                <a:gd name="T98" fmla="*/ 31 w 130"/>
                <a:gd name="T99" fmla="*/ 39 h 202"/>
                <a:gd name="T100" fmla="*/ 26 w 130"/>
                <a:gd name="T101" fmla="*/ 78 h 202"/>
                <a:gd name="T102" fmla="*/ 45 w 130"/>
                <a:gd name="T103" fmla="*/ 100 h 202"/>
                <a:gd name="T104" fmla="*/ 84 w 130"/>
                <a:gd name="T105" fmla="*/ 101 h 202"/>
                <a:gd name="T106" fmla="*/ 100 w 130"/>
                <a:gd name="T107" fmla="*/ 86 h 202"/>
                <a:gd name="T108" fmla="*/ 99 w 130"/>
                <a:gd name="T109" fmla="*/ 39 h 202"/>
                <a:gd name="T110" fmla="*/ 63 w 130"/>
                <a:gd name="T111" fmla="*/ 2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 h="202">
                  <a:moveTo>
                    <a:pt x="57" y="13"/>
                  </a:moveTo>
                  <a:cubicBezTo>
                    <a:pt x="60" y="9"/>
                    <a:pt x="62" y="4"/>
                    <a:pt x="65" y="0"/>
                  </a:cubicBezTo>
                  <a:cubicBezTo>
                    <a:pt x="68" y="4"/>
                    <a:pt x="71" y="9"/>
                    <a:pt x="73" y="13"/>
                  </a:cubicBezTo>
                  <a:cubicBezTo>
                    <a:pt x="77" y="10"/>
                    <a:pt x="81" y="6"/>
                    <a:pt x="85" y="3"/>
                  </a:cubicBezTo>
                  <a:cubicBezTo>
                    <a:pt x="86" y="8"/>
                    <a:pt x="88" y="13"/>
                    <a:pt x="89" y="18"/>
                  </a:cubicBezTo>
                  <a:cubicBezTo>
                    <a:pt x="94" y="16"/>
                    <a:pt x="98" y="14"/>
                    <a:pt x="103" y="12"/>
                  </a:cubicBezTo>
                  <a:cubicBezTo>
                    <a:pt x="103" y="17"/>
                    <a:pt x="102" y="23"/>
                    <a:pt x="102" y="28"/>
                  </a:cubicBezTo>
                  <a:cubicBezTo>
                    <a:pt x="107" y="27"/>
                    <a:pt x="112" y="27"/>
                    <a:pt x="118" y="26"/>
                  </a:cubicBezTo>
                  <a:cubicBezTo>
                    <a:pt x="116" y="31"/>
                    <a:pt x="113" y="36"/>
                    <a:pt x="111" y="41"/>
                  </a:cubicBezTo>
                  <a:cubicBezTo>
                    <a:pt x="117" y="42"/>
                    <a:pt x="122" y="43"/>
                    <a:pt x="127" y="44"/>
                  </a:cubicBezTo>
                  <a:cubicBezTo>
                    <a:pt x="123" y="49"/>
                    <a:pt x="120" y="52"/>
                    <a:pt x="117" y="57"/>
                  </a:cubicBezTo>
                  <a:cubicBezTo>
                    <a:pt x="121" y="59"/>
                    <a:pt x="126" y="62"/>
                    <a:pt x="130" y="65"/>
                  </a:cubicBezTo>
                  <a:cubicBezTo>
                    <a:pt x="126" y="67"/>
                    <a:pt x="121" y="70"/>
                    <a:pt x="116" y="73"/>
                  </a:cubicBezTo>
                  <a:cubicBezTo>
                    <a:pt x="120" y="77"/>
                    <a:pt x="123" y="81"/>
                    <a:pt x="127" y="85"/>
                  </a:cubicBezTo>
                  <a:cubicBezTo>
                    <a:pt x="122" y="86"/>
                    <a:pt x="117" y="87"/>
                    <a:pt x="111" y="88"/>
                  </a:cubicBezTo>
                  <a:cubicBezTo>
                    <a:pt x="113" y="93"/>
                    <a:pt x="116" y="98"/>
                    <a:pt x="118" y="103"/>
                  </a:cubicBezTo>
                  <a:cubicBezTo>
                    <a:pt x="112" y="102"/>
                    <a:pt x="107" y="102"/>
                    <a:pt x="102" y="101"/>
                  </a:cubicBezTo>
                  <a:cubicBezTo>
                    <a:pt x="102" y="107"/>
                    <a:pt x="103" y="112"/>
                    <a:pt x="103" y="117"/>
                  </a:cubicBezTo>
                  <a:cubicBezTo>
                    <a:pt x="98" y="115"/>
                    <a:pt x="94" y="113"/>
                    <a:pt x="89" y="111"/>
                  </a:cubicBezTo>
                  <a:cubicBezTo>
                    <a:pt x="88" y="113"/>
                    <a:pt x="87" y="116"/>
                    <a:pt x="88" y="118"/>
                  </a:cubicBezTo>
                  <a:cubicBezTo>
                    <a:pt x="97" y="144"/>
                    <a:pt x="105" y="169"/>
                    <a:pt x="114" y="194"/>
                  </a:cubicBezTo>
                  <a:cubicBezTo>
                    <a:pt x="107" y="190"/>
                    <a:pt x="100" y="186"/>
                    <a:pt x="93" y="182"/>
                  </a:cubicBezTo>
                  <a:cubicBezTo>
                    <a:pt x="90" y="189"/>
                    <a:pt x="87" y="196"/>
                    <a:pt x="83" y="202"/>
                  </a:cubicBezTo>
                  <a:cubicBezTo>
                    <a:pt x="82" y="201"/>
                    <a:pt x="82" y="199"/>
                    <a:pt x="82" y="198"/>
                  </a:cubicBezTo>
                  <a:cubicBezTo>
                    <a:pt x="76" y="175"/>
                    <a:pt x="71" y="152"/>
                    <a:pt x="66" y="129"/>
                  </a:cubicBezTo>
                  <a:lnTo>
                    <a:pt x="65" y="129"/>
                  </a:lnTo>
                  <a:cubicBezTo>
                    <a:pt x="61" y="147"/>
                    <a:pt x="56" y="165"/>
                    <a:pt x="52" y="183"/>
                  </a:cubicBezTo>
                  <a:cubicBezTo>
                    <a:pt x="51" y="189"/>
                    <a:pt x="49" y="196"/>
                    <a:pt x="48" y="202"/>
                  </a:cubicBezTo>
                  <a:cubicBezTo>
                    <a:pt x="44" y="195"/>
                    <a:pt x="41" y="188"/>
                    <a:pt x="37" y="182"/>
                  </a:cubicBezTo>
                  <a:cubicBezTo>
                    <a:pt x="30" y="186"/>
                    <a:pt x="23" y="190"/>
                    <a:pt x="17" y="194"/>
                  </a:cubicBezTo>
                  <a:cubicBezTo>
                    <a:pt x="25" y="169"/>
                    <a:pt x="33" y="144"/>
                    <a:pt x="42" y="118"/>
                  </a:cubicBezTo>
                  <a:cubicBezTo>
                    <a:pt x="43" y="116"/>
                    <a:pt x="42" y="113"/>
                    <a:pt x="42" y="111"/>
                  </a:cubicBezTo>
                  <a:cubicBezTo>
                    <a:pt x="37" y="113"/>
                    <a:pt x="32" y="115"/>
                    <a:pt x="27" y="117"/>
                  </a:cubicBezTo>
                  <a:cubicBezTo>
                    <a:pt x="27" y="112"/>
                    <a:pt x="28" y="107"/>
                    <a:pt x="28" y="101"/>
                  </a:cubicBezTo>
                  <a:cubicBezTo>
                    <a:pt x="23" y="102"/>
                    <a:pt x="18" y="102"/>
                    <a:pt x="13" y="103"/>
                  </a:cubicBezTo>
                  <a:cubicBezTo>
                    <a:pt x="15" y="98"/>
                    <a:pt x="17" y="93"/>
                    <a:pt x="19" y="88"/>
                  </a:cubicBezTo>
                  <a:cubicBezTo>
                    <a:pt x="14" y="87"/>
                    <a:pt x="9" y="86"/>
                    <a:pt x="4" y="85"/>
                  </a:cubicBezTo>
                  <a:cubicBezTo>
                    <a:pt x="7" y="81"/>
                    <a:pt x="11" y="77"/>
                    <a:pt x="14" y="73"/>
                  </a:cubicBezTo>
                  <a:cubicBezTo>
                    <a:pt x="9" y="70"/>
                    <a:pt x="5" y="67"/>
                    <a:pt x="0" y="65"/>
                  </a:cubicBezTo>
                  <a:cubicBezTo>
                    <a:pt x="5" y="62"/>
                    <a:pt x="9" y="59"/>
                    <a:pt x="14" y="57"/>
                  </a:cubicBezTo>
                  <a:cubicBezTo>
                    <a:pt x="11" y="52"/>
                    <a:pt x="7" y="49"/>
                    <a:pt x="4" y="44"/>
                  </a:cubicBezTo>
                  <a:cubicBezTo>
                    <a:pt x="9" y="43"/>
                    <a:pt x="14" y="42"/>
                    <a:pt x="19" y="41"/>
                  </a:cubicBezTo>
                  <a:cubicBezTo>
                    <a:pt x="17" y="36"/>
                    <a:pt x="15" y="31"/>
                    <a:pt x="13" y="26"/>
                  </a:cubicBezTo>
                  <a:cubicBezTo>
                    <a:pt x="18" y="27"/>
                    <a:pt x="23" y="27"/>
                    <a:pt x="28" y="28"/>
                  </a:cubicBezTo>
                  <a:cubicBezTo>
                    <a:pt x="28" y="23"/>
                    <a:pt x="28" y="17"/>
                    <a:pt x="27" y="12"/>
                  </a:cubicBezTo>
                  <a:cubicBezTo>
                    <a:pt x="32" y="14"/>
                    <a:pt x="37" y="16"/>
                    <a:pt x="42" y="18"/>
                  </a:cubicBezTo>
                  <a:cubicBezTo>
                    <a:pt x="43" y="13"/>
                    <a:pt x="44" y="8"/>
                    <a:pt x="45" y="3"/>
                  </a:cubicBezTo>
                  <a:cubicBezTo>
                    <a:pt x="49" y="6"/>
                    <a:pt x="53" y="10"/>
                    <a:pt x="57" y="13"/>
                  </a:cubicBezTo>
                  <a:close/>
                  <a:moveTo>
                    <a:pt x="63" y="22"/>
                  </a:moveTo>
                  <a:cubicBezTo>
                    <a:pt x="51" y="22"/>
                    <a:pt x="39" y="29"/>
                    <a:pt x="31" y="39"/>
                  </a:cubicBezTo>
                  <a:cubicBezTo>
                    <a:pt x="23" y="50"/>
                    <a:pt x="22" y="65"/>
                    <a:pt x="26" y="78"/>
                  </a:cubicBezTo>
                  <a:cubicBezTo>
                    <a:pt x="29" y="87"/>
                    <a:pt x="36" y="95"/>
                    <a:pt x="45" y="100"/>
                  </a:cubicBezTo>
                  <a:cubicBezTo>
                    <a:pt x="56" y="106"/>
                    <a:pt x="71" y="107"/>
                    <a:pt x="84" y="101"/>
                  </a:cubicBezTo>
                  <a:cubicBezTo>
                    <a:pt x="90" y="98"/>
                    <a:pt x="96" y="92"/>
                    <a:pt x="100" y="86"/>
                  </a:cubicBezTo>
                  <a:cubicBezTo>
                    <a:pt x="109" y="72"/>
                    <a:pt x="109" y="53"/>
                    <a:pt x="99" y="39"/>
                  </a:cubicBezTo>
                  <a:cubicBezTo>
                    <a:pt x="91" y="28"/>
                    <a:pt x="77" y="21"/>
                    <a:pt x="63" y="22"/>
                  </a:cubicBezTo>
                  <a:close/>
                </a:path>
              </a:pathLst>
            </a:custGeom>
            <a:grp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282" name="Certificate">
              <a:extLst>
                <a:ext uri="{FF2B5EF4-FFF2-40B4-BE49-F238E27FC236}">
                  <a16:creationId xmlns:a16="http://schemas.microsoft.com/office/drawing/2014/main" id="{56AF8A43-00BB-49A2-828C-360A6C3937F6}"/>
                </a:ext>
              </a:extLst>
            </p:cNvPr>
            <p:cNvSpPr>
              <a:spLocks/>
            </p:cNvSpPr>
            <p:nvPr/>
          </p:nvSpPr>
          <p:spPr bwMode="auto">
            <a:xfrm>
              <a:off x="342" y="232"/>
              <a:ext cx="37" cy="37"/>
            </a:xfrm>
            <a:custGeom>
              <a:avLst/>
              <a:gdLst>
                <a:gd name="T0" fmla="*/ 39 w 80"/>
                <a:gd name="T1" fmla="*/ 1 h 80"/>
                <a:gd name="T2" fmla="*/ 75 w 80"/>
                <a:gd name="T3" fmla="*/ 21 h 80"/>
                <a:gd name="T4" fmla="*/ 80 w 80"/>
                <a:gd name="T5" fmla="*/ 42 h 80"/>
                <a:gd name="T6" fmla="*/ 48 w 80"/>
                <a:gd name="T7" fmla="*/ 77 h 80"/>
                <a:gd name="T8" fmla="*/ 9 w 80"/>
                <a:gd name="T9" fmla="*/ 60 h 80"/>
                <a:gd name="T10" fmla="*/ 10 w 80"/>
                <a:gd name="T11" fmla="*/ 16 h 80"/>
                <a:gd name="T12" fmla="*/ 39 w 80"/>
                <a:gd name="T13" fmla="*/ 1 h 80"/>
              </a:gdLst>
              <a:ahLst/>
              <a:cxnLst>
                <a:cxn ang="0">
                  <a:pos x="T0" y="T1"/>
                </a:cxn>
                <a:cxn ang="0">
                  <a:pos x="T2" y="T3"/>
                </a:cxn>
                <a:cxn ang="0">
                  <a:pos x="T4" y="T5"/>
                </a:cxn>
                <a:cxn ang="0">
                  <a:pos x="T6" y="T7"/>
                </a:cxn>
                <a:cxn ang="0">
                  <a:pos x="T8" y="T9"/>
                </a:cxn>
                <a:cxn ang="0">
                  <a:pos x="T10" y="T11"/>
                </a:cxn>
                <a:cxn ang="0">
                  <a:pos x="T12" y="T13"/>
                </a:cxn>
              </a:cxnLst>
              <a:rect l="0" t="0" r="r" b="b"/>
              <a:pathLst>
                <a:path w="80" h="80">
                  <a:moveTo>
                    <a:pt x="39" y="1"/>
                  </a:moveTo>
                  <a:cubicBezTo>
                    <a:pt x="53" y="0"/>
                    <a:pt x="69" y="8"/>
                    <a:pt x="75" y="21"/>
                  </a:cubicBezTo>
                  <a:cubicBezTo>
                    <a:pt x="79" y="28"/>
                    <a:pt x="80" y="35"/>
                    <a:pt x="80" y="42"/>
                  </a:cubicBezTo>
                  <a:cubicBezTo>
                    <a:pt x="79" y="59"/>
                    <a:pt x="65" y="75"/>
                    <a:pt x="48" y="77"/>
                  </a:cubicBezTo>
                  <a:cubicBezTo>
                    <a:pt x="33" y="80"/>
                    <a:pt x="17" y="73"/>
                    <a:pt x="9" y="60"/>
                  </a:cubicBezTo>
                  <a:cubicBezTo>
                    <a:pt x="0" y="47"/>
                    <a:pt x="1" y="29"/>
                    <a:pt x="10" y="16"/>
                  </a:cubicBezTo>
                  <a:cubicBezTo>
                    <a:pt x="17" y="7"/>
                    <a:pt x="27" y="2"/>
                    <a:pt x="39" y="1"/>
                  </a:cubicBezTo>
                  <a:close/>
                </a:path>
              </a:pathLst>
            </a:custGeom>
            <a:grp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283" name="Certificate">
              <a:extLst>
                <a:ext uri="{FF2B5EF4-FFF2-40B4-BE49-F238E27FC236}">
                  <a16:creationId xmlns:a16="http://schemas.microsoft.com/office/drawing/2014/main" id="{669A71B0-D95D-4D0F-A561-D236F401A9E2}"/>
                </a:ext>
              </a:extLst>
            </p:cNvPr>
            <p:cNvSpPr>
              <a:spLocks noEditPoints="1"/>
            </p:cNvSpPr>
            <p:nvPr/>
          </p:nvSpPr>
          <p:spPr bwMode="auto">
            <a:xfrm>
              <a:off x="132" y="165"/>
              <a:ext cx="236" cy="32"/>
            </a:xfrm>
            <a:custGeom>
              <a:avLst/>
              <a:gdLst>
                <a:gd name="T0" fmla="*/ 265 w 511"/>
                <a:gd name="T1" fmla="*/ 0 h 68"/>
                <a:gd name="T2" fmla="*/ 265 w 511"/>
                <a:gd name="T3" fmla="*/ 20 h 68"/>
                <a:gd name="T4" fmla="*/ 443 w 511"/>
                <a:gd name="T5" fmla="*/ 44 h 68"/>
                <a:gd name="T6" fmla="*/ 500 w 511"/>
                <a:gd name="T7" fmla="*/ 68 h 68"/>
                <a:gd name="T8" fmla="*/ 511 w 511"/>
                <a:gd name="T9" fmla="*/ 52 h 68"/>
                <a:gd name="T10" fmla="*/ 449 w 511"/>
                <a:gd name="T11" fmla="*/ 26 h 68"/>
                <a:gd name="T12" fmla="*/ 265 w 511"/>
                <a:gd name="T13" fmla="*/ 0 h 68"/>
                <a:gd name="T14" fmla="*/ 224 w 511"/>
                <a:gd name="T15" fmla="*/ 0 h 68"/>
                <a:gd name="T16" fmla="*/ 125 w 511"/>
                <a:gd name="T17" fmla="*/ 11 h 68"/>
                <a:gd name="T18" fmla="*/ 129 w 511"/>
                <a:gd name="T19" fmla="*/ 30 h 68"/>
                <a:gd name="T20" fmla="*/ 226 w 511"/>
                <a:gd name="T21" fmla="*/ 21 h 68"/>
                <a:gd name="T22" fmla="*/ 226 w 511"/>
                <a:gd name="T23" fmla="*/ 0 h 68"/>
                <a:gd name="T24" fmla="*/ 224 w 511"/>
                <a:gd name="T25" fmla="*/ 0 h 68"/>
                <a:gd name="T26" fmla="*/ 87 w 511"/>
                <a:gd name="T27" fmla="*/ 19 h 68"/>
                <a:gd name="T28" fmla="*/ 63 w 511"/>
                <a:gd name="T29" fmla="*/ 26 h 68"/>
                <a:gd name="T30" fmla="*/ 0 w 511"/>
                <a:gd name="T31" fmla="*/ 52 h 68"/>
                <a:gd name="T32" fmla="*/ 11 w 511"/>
                <a:gd name="T33" fmla="*/ 68 h 68"/>
                <a:gd name="T34" fmla="*/ 68 w 511"/>
                <a:gd name="T35" fmla="*/ 44 h 68"/>
                <a:gd name="T36" fmla="*/ 91 w 511"/>
                <a:gd name="T37" fmla="*/ 38 h 68"/>
                <a:gd name="T38" fmla="*/ 87 w 511"/>
                <a:gd name="T39"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1" h="68">
                  <a:moveTo>
                    <a:pt x="265" y="0"/>
                  </a:moveTo>
                  <a:lnTo>
                    <a:pt x="265" y="20"/>
                  </a:lnTo>
                  <a:cubicBezTo>
                    <a:pt x="346" y="21"/>
                    <a:pt x="404" y="33"/>
                    <a:pt x="443" y="44"/>
                  </a:cubicBezTo>
                  <a:cubicBezTo>
                    <a:pt x="483" y="57"/>
                    <a:pt x="500" y="68"/>
                    <a:pt x="500" y="68"/>
                  </a:cubicBezTo>
                  <a:lnTo>
                    <a:pt x="511" y="52"/>
                  </a:lnTo>
                  <a:cubicBezTo>
                    <a:pt x="511" y="52"/>
                    <a:pt x="490" y="38"/>
                    <a:pt x="449" y="26"/>
                  </a:cubicBezTo>
                  <a:cubicBezTo>
                    <a:pt x="409" y="13"/>
                    <a:pt x="348" y="1"/>
                    <a:pt x="265" y="0"/>
                  </a:cubicBezTo>
                  <a:close/>
                  <a:moveTo>
                    <a:pt x="224" y="0"/>
                  </a:moveTo>
                  <a:cubicBezTo>
                    <a:pt x="185" y="2"/>
                    <a:pt x="153" y="6"/>
                    <a:pt x="125" y="11"/>
                  </a:cubicBezTo>
                  <a:lnTo>
                    <a:pt x="129" y="30"/>
                  </a:lnTo>
                  <a:cubicBezTo>
                    <a:pt x="156" y="26"/>
                    <a:pt x="188" y="22"/>
                    <a:pt x="226" y="21"/>
                  </a:cubicBezTo>
                  <a:lnTo>
                    <a:pt x="226" y="0"/>
                  </a:lnTo>
                  <a:cubicBezTo>
                    <a:pt x="225" y="0"/>
                    <a:pt x="224" y="0"/>
                    <a:pt x="224" y="0"/>
                  </a:cubicBezTo>
                  <a:close/>
                  <a:moveTo>
                    <a:pt x="87" y="19"/>
                  </a:moveTo>
                  <a:cubicBezTo>
                    <a:pt x="78" y="21"/>
                    <a:pt x="70" y="23"/>
                    <a:pt x="63" y="26"/>
                  </a:cubicBezTo>
                  <a:cubicBezTo>
                    <a:pt x="21" y="38"/>
                    <a:pt x="0" y="52"/>
                    <a:pt x="0" y="52"/>
                  </a:cubicBezTo>
                  <a:lnTo>
                    <a:pt x="11" y="68"/>
                  </a:lnTo>
                  <a:cubicBezTo>
                    <a:pt x="11" y="68"/>
                    <a:pt x="28" y="57"/>
                    <a:pt x="68" y="44"/>
                  </a:cubicBezTo>
                  <a:cubicBezTo>
                    <a:pt x="75" y="42"/>
                    <a:pt x="83" y="40"/>
                    <a:pt x="91" y="38"/>
                  </a:cubicBezTo>
                  <a:lnTo>
                    <a:pt x="87" y="19"/>
                  </a:lnTo>
                  <a:close/>
                </a:path>
              </a:pathLst>
            </a:custGeom>
            <a:grp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284" name="Certificate">
              <a:extLst>
                <a:ext uri="{FF2B5EF4-FFF2-40B4-BE49-F238E27FC236}">
                  <a16:creationId xmlns:a16="http://schemas.microsoft.com/office/drawing/2014/main" id="{103ECFFB-5C15-480E-9C0E-7954C2829462}"/>
                </a:ext>
              </a:extLst>
            </p:cNvPr>
            <p:cNvSpPr>
              <a:spLocks noChangeArrowheads="1"/>
            </p:cNvSpPr>
            <p:nvPr/>
          </p:nvSpPr>
          <p:spPr bwMode="auto">
            <a:xfrm>
              <a:off x="123" y="283"/>
              <a:ext cx="69" cy="5"/>
            </a:xfrm>
            <a:prstGeom prst="rect">
              <a:avLst/>
            </a:prstGeom>
            <a:grpFill/>
            <a:ln w="9525">
              <a:noFill/>
              <a:miter lim="800000"/>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285" name="Certificate">
              <a:extLst>
                <a:ext uri="{FF2B5EF4-FFF2-40B4-BE49-F238E27FC236}">
                  <a16:creationId xmlns:a16="http://schemas.microsoft.com/office/drawing/2014/main" id="{6849B39E-5730-440E-9F2F-E3B00BCE6BCD}"/>
                </a:ext>
              </a:extLst>
            </p:cNvPr>
            <p:cNvSpPr>
              <a:spLocks noChangeArrowheads="1"/>
            </p:cNvSpPr>
            <p:nvPr/>
          </p:nvSpPr>
          <p:spPr bwMode="auto">
            <a:xfrm>
              <a:off x="123" y="306"/>
              <a:ext cx="69" cy="5"/>
            </a:xfrm>
            <a:prstGeom prst="rect">
              <a:avLst/>
            </a:prstGeom>
            <a:grpFill/>
            <a:ln w="9525">
              <a:noFill/>
              <a:miter lim="800000"/>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grpSp>
      <p:grpSp>
        <p:nvGrpSpPr>
          <p:cNvPr id="295" name="Locker">
            <a:extLst>
              <a:ext uri="{FF2B5EF4-FFF2-40B4-BE49-F238E27FC236}">
                <a16:creationId xmlns:a16="http://schemas.microsoft.com/office/drawing/2014/main" id="{3A94E723-1D08-402D-A053-83B046CA47EE}"/>
              </a:ext>
            </a:extLst>
          </p:cNvPr>
          <p:cNvGrpSpPr>
            <a:grpSpLocks noChangeAspect="1"/>
          </p:cNvGrpSpPr>
          <p:nvPr>
            <p:custDataLst>
              <p:tags r:id="rId8"/>
            </p:custDataLst>
          </p:nvPr>
        </p:nvGrpSpPr>
        <p:grpSpPr bwMode="auto">
          <a:xfrm>
            <a:off x="926602" y="1543051"/>
            <a:ext cx="1033175" cy="1385219"/>
            <a:chOff x="23" y="8"/>
            <a:chExt cx="262" cy="471"/>
          </a:xfrm>
          <a:solidFill>
            <a:schemeClr val="accent1"/>
          </a:solidFill>
        </p:grpSpPr>
        <p:sp>
          <p:nvSpPr>
            <p:cNvPr id="296" name="Locker">
              <a:extLst>
                <a:ext uri="{FF2B5EF4-FFF2-40B4-BE49-F238E27FC236}">
                  <a16:creationId xmlns:a16="http://schemas.microsoft.com/office/drawing/2014/main" id="{7AEEC74C-EADD-4AF7-BA29-FD1656F2CB6F}"/>
                </a:ext>
              </a:extLst>
            </p:cNvPr>
            <p:cNvSpPr>
              <a:spLocks noEditPoints="1"/>
            </p:cNvSpPr>
            <p:nvPr/>
          </p:nvSpPr>
          <p:spPr bwMode="auto">
            <a:xfrm>
              <a:off x="23" y="8"/>
              <a:ext cx="123" cy="471"/>
            </a:xfrm>
            <a:custGeom>
              <a:avLst/>
              <a:gdLst>
                <a:gd name="T0" fmla="*/ 0 w 329"/>
                <a:gd name="T1" fmla="*/ 1250 h 1250"/>
                <a:gd name="T2" fmla="*/ 329 w 329"/>
                <a:gd name="T3" fmla="*/ 1250 h 1250"/>
                <a:gd name="T4" fmla="*/ 329 w 329"/>
                <a:gd name="T5" fmla="*/ 0 h 1250"/>
                <a:gd name="T6" fmla="*/ 0 w 329"/>
                <a:gd name="T7" fmla="*/ 0 h 1250"/>
                <a:gd name="T8" fmla="*/ 0 w 329"/>
                <a:gd name="T9" fmla="*/ 1250 h 1250"/>
                <a:gd name="T10" fmla="*/ 31 w 329"/>
                <a:gd name="T11" fmla="*/ 823 h 1250"/>
                <a:gd name="T12" fmla="*/ 31 w 329"/>
                <a:gd name="T13" fmla="*/ 822 h 1250"/>
                <a:gd name="T14" fmla="*/ 31 w 329"/>
                <a:gd name="T15" fmla="*/ 428 h 1250"/>
                <a:gd name="T16" fmla="*/ 31 w 329"/>
                <a:gd name="T17" fmla="*/ 427 h 1250"/>
                <a:gd name="T18" fmla="*/ 31 w 329"/>
                <a:gd name="T19" fmla="*/ 31 h 1250"/>
                <a:gd name="T20" fmla="*/ 298 w 329"/>
                <a:gd name="T21" fmla="*/ 31 h 1250"/>
                <a:gd name="T22" fmla="*/ 298 w 329"/>
                <a:gd name="T23" fmla="*/ 427 h 1250"/>
                <a:gd name="T24" fmla="*/ 298 w 329"/>
                <a:gd name="T25" fmla="*/ 428 h 1250"/>
                <a:gd name="T26" fmla="*/ 298 w 329"/>
                <a:gd name="T27" fmla="*/ 822 h 1250"/>
                <a:gd name="T28" fmla="*/ 298 w 329"/>
                <a:gd name="T29" fmla="*/ 823 h 1250"/>
                <a:gd name="T30" fmla="*/ 298 w 329"/>
                <a:gd name="T31" fmla="*/ 1219 h 1250"/>
                <a:gd name="T32" fmla="*/ 31 w 329"/>
                <a:gd name="T33" fmla="*/ 1219 h 1250"/>
                <a:gd name="T34" fmla="*/ 31 w 329"/>
                <a:gd name="T35" fmla="*/ 823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1250">
                  <a:moveTo>
                    <a:pt x="0" y="1250"/>
                  </a:moveTo>
                  <a:lnTo>
                    <a:pt x="329" y="1250"/>
                  </a:lnTo>
                  <a:lnTo>
                    <a:pt x="329" y="0"/>
                  </a:lnTo>
                  <a:lnTo>
                    <a:pt x="0" y="0"/>
                  </a:lnTo>
                  <a:lnTo>
                    <a:pt x="0" y="1250"/>
                  </a:lnTo>
                  <a:close/>
                  <a:moveTo>
                    <a:pt x="31" y="823"/>
                  </a:moveTo>
                  <a:lnTo>
                    <a:pt x="31" y="822"/>
                  </a:lnTo>
                  <a:lnTo>
                    <a:pt x="31" y="428"/>
                  </a:lnTo>
                  <a:lnTo>
                    <a:pt x="31" y="427"/>
                  </a:lnTo>
                  <a:lnTo>
                    <a:pt x="31" y="31"/>
                  </a:lnTo>
                  <a:lnTo>
                    <a:pt x="298" y="31"/>
                  </a:lnTo>
                  <a:lnTo>
                    <a:pt x="298" y="427"/>
                  </a:lnTo>
                  <a:lnTo>
                    <a:pt x="298" y="428"/>
                  </a:lnTo>
                  <a:lnTo>
                    <a:pt x="298" y="822"/>
                  </a:lnTo>
                  <a:lnTo>
                    <a:pt x="298" y="823"/>
                  </a:lnTo>
                  <a:lnTo>
                    <a:pt x="298" y="1219"/>
                  </a:lnTo>
                  <a:lnTo>
                    <a:pt x="31" y="1219"/>
                  </a:lnTo>
                  <a:lnTo>
                    <a:pt x="31" y="823"/>
                  </a:lnTo>
                  <a:close/>
                </a:path>
              </a:pathLst>
            </a:custGeom>
            <a:grpFill/>
            <a:ln w="0">
              <a:noFill/>
              <a:prstDash val="solid"/>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297" name="Locker">
              <a:extLst>
                <a:ext uri="{FF2B5EF4-FFF2-40B4-BE49-F238E27FC236}">
                  <a16:creationId xmlns:a16="http://schemas.microsoft.com/office/drawing/2014/main" id="{DD9B4FCF-6E2C-4DB5-B3C7-8280AAA8DA9A}"/>
                </a:ext>
              </a:extLst>
            </p:cNvPr>
            <p:cNvSpPr>
              <a:spLocks noEditPoints="1"/>
            </p:cNvSpPr>
            <p:nvPr/>
          </p:nvSpPr>
          <p:spPr bwMode="auto">
            <a:xfrm>
              <a:off x="37" y="171"/>
              <a:ext cx="95" cy="144"/>
            </a:xfrm>
            <a:custGeom>
              <a:avLst/>
              <a:gdLst>
                <a:gd name="T0" fmla="*/ 0 w 253"/>
                <a:gd name="T1" fmla="*/ 229 h 382"/>
                <a:gd name="T2" fmla="*/ 17 w 253"/>
                <a:gd name="T3" fmla="*/ 229 h 382"/>
                <a:gd name="T4" fmla="*/ 17 w 253"/>
                <a:gd name="T5" fmla="*/ 304 h 382"/>
                <a:gd name="T6" fmla="*/ 0 w 253"/>
                <a:gd name="T7" fmla="*/ 304 h 382"/>
                <a:gd name="T8" fmla="*/ 0 w 253"/>
                <a:gd name="T9" fmla="*/ 382 h 382"/>
                <a:gd name="T10" fmla="*/ 253 w 253"/>
                <a:gd name="T11" fmla="*/ 382 h 382"/>
                <a:gd name="T12" fmla="*/ 253 w 253"/>
                <a:gd name="T13" fmla="*/ 0 h 382"/>
                <a:gd name="T14" fmla="*/ 0 w 253"/>
                <a:gd name="T15" fmla="*/ 0 h 382"/>
                <a:gd name="T16" fmla="*/ 0 w 253"/>
                <a:gd name="T17" fmla="*/ 229 h 382"/>
                <a:gd name="T18" fmla="*/ 58 w 253"/>
                <a:gd name="T19" fmla="*/ 28 h 382"/>
                <a:gd name="T20" fmla="*/ 196 w 253"/>
                <a:gd name="T21" fmla="*/ 28 h 382"/>
                <a:gd name="T22" fmla="*/ 224 w 253"/>
                <a:gd name="T23" fmla="*/ 57 h 382"/>
                <a:gd name="T24" fmla="*/ 29 w 253"/>
                <a:gd name="T25" fmla="*/ 57 h 382"/>
                <a:gd name="T26" fmla="*/ 58 w 253"/>
                <a:gd name="T27" fmla="*/ 28 h 382"/>
                <a:gd name="T28" fmla="*/ 58 w 253"/>
                <a:gd name="T29" fmla="*/ 66 h 382"/>
                <a:gd name="T30" fmla="*/ 196 w 253"/>
                <a:gd name="T31" fmla="*/ 66 h 382"/>
                <a:gd name="T32" fmla="*/ 224 w 253"/>
                <a:gd name="T33" fmla="*/ 95 h 382"/>
                <a:gd name="T34" fmla="*/ 29 w 253"/>
                <a:gd name="T35" fmla="*/ 95 h 382"/>
                <a:gd name="T36" fmla="*/ 58 w 253"/>
                <a:gd name="T37" fmla="*/ 6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3" h="382">
                  <a:moveTo>
                    <a:pt x="0" y="229"/>
                  </a:moveTo>
                  <a:lnTo>
                    <a:pt x="17" y="229"/>
                  </a:lnTo>
                  <a:lnTo>
                    <a:pt x="17" y="304"/>
                  </a:lnTo>
                  <a:lnTo>
                    <a:pt x="0" y="304"/>
                  </a:lnTo>
                  <a:lnTo>
                    <a:pt x="0" y="382"/>
                  </a:lnTo>
                  <a:lnTo>
                    <a:pt x="253" y="382"/>
                  </a:lnTo>
                  <a:lnTo>
                    <a:pt x="253" y="0"/>
                  </a:lnTo>
                  <a:lnTo>
                    <a:pt x="0" y="0"/>
                  </a:lnTo>
                  <a:lnTo>
                    <a:pt x="0" y="229"/>
                  </a:lnTo>
                  <a:close/>
                  <a:moveTo>
                    <a:pt x="58" y="28"/>
                  </a:moveTo>
                  <a:lnTo>
                    <a:pt x="196" y="28"/>
                  </a:lnTo>
                  <a:cubicBezTo>
                    <a:pt x="211" y="28"/>
                    <a:pt x="224" y="41"/>
                    <a:pt x="224" y="57"/>
                  </a:cubicBezTo>
                  <a:lnTo>
                    <a:pt x="29" y="57"/>
                  </a:lnTo>
                  <a:cubicBezTo>
                    <a:pt x="29" y="41"/>
                    <a:pt x="42" y="28"/>
                    <a:pt x="58" y="28"/>
                  </a:cubicBezTo>
                  <a:close/>
                  <a:moveTo>
                    <a:pt x="58" y="66"/>
                  </a:moveTo>
                  <a:lnTo>
                    <a:pt x="196" y="66"/>
                  </a:lnTo>
                  <a:cubicBezTo>
                    <a:pt x="211" y="66"/>
                    <a:pt x="224" y="79"/>
                    <a:pt x="224" y="95"/>
                  </a:cubicBezTo>
                  <a:lnTo>
                    <a:pt x="29" y="95"/>
                  </a:lnTo>
                  <a:cubicBezTo>
                    <a:pt x="29" y="79"/>
                    <a:pt x="42" y="66"/>
                    <a:pt x="58" y="66"/>
                  </a:cubicBezTo>
                  <a:close/>
                </a:path>
              </a:pathLst>
            </a:custGeom>
            <a:grpFill/>
            <a:ln w="0">
              <a:noFill/>
              <a:prstDash val="solid"/>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298" name="Locker">
              <a:extLst>
                <a:ext uri="{FF2B5EF4-FFF2-40B4-BE49-F238E27FC236}">
                  <a16:creationId xmlns:a16="http://schemas.microsoft.com/office/drawing/2014/main" id="{CF7B4F8B-D00A-4403-B178-5A0188CA85AA}"/>
                </a:ext>
              </a:extLst>
            </p:cNvPr>
            <p:cNvSpPr>
              <a:spLocks noEditPoints="1"/>
            </p:cNvSpPr>
            <p:nvPr/>
          </p:nvSpPr>
          <p:spPr bwMode="auto">
            <a:xfrm>
              <a:off x="37" y="22"/>
              <a:ext cx="95" cy="144"/>
            </a:xfrm>
            <a:custGeom>
              <a:avLst/>
              <a:gdLst>
                <a:gd name="T0" fmla="*/ 0 w 253"/>
                <a:gd name="T1" fmla="*/ 229 h 383"/>
                <a:gd name="T2" fmla="*/ 17 w 253"/>
                <a:gd name="T3" fmla="*/ 229 h 383"/>
                <a:gd name="T4" fmla="*/ 17 w 253"/>
                <a:gd name="T5" fmla="*/ 305 h 383"/>
                <a:gd name="T6" fmla="*/ 0 w 253"/>
                <a:gd name="T7" fmla="*/ 305 h 383"/>
                <a:gd name="T8" fmla="*/ 0 w 253"/>
                <a:gd name="T9" fmla="*/ 383 h 383"/>
                <a:gd name="T10" fmla="*/ 253 w 253"/>
                <a:gd name="T11" fmla="*/ 383 h 383"/>
                <a:gd name="T12" fmla="*/ 253 w 253"/>
                <a:gd name="T13" fmla="*/ 0 h 383"/>
                <a:gd name="T14" fmla="*/ 0 w 253"/>
                <a:gd name="T15" fmla="*/ 0 h 383"/>
                <a:gd name="T16" fmla="*/ 0 w 253"/>
                <a:gd name="T17" fmla="*/ 229 h 383"/>
                <a:gd name="T18" fmla="*/ 58 w 253"/>
                <a:gd name="T19" fmla="*/ 29 h 383"/>
                <a:gd name="T20" fmla="*/ 196 w 253"/>
                <a:gd name="T21" fmla="*/ 29 h 383"/>
                <a:gd name="T22" fmla="*/ 224 w 253"/>
                <a:gd name="T23" fmla="*/ 57 h 383"/>
                <a:gd name="T24" fmla="*/ 29 w 253"/>
                <a:gd name="T25" fmla="*/ 57 h 383"/>
                <a:gd name="T26" fmla="*/ 58 w 253"/>
                <a:gd name="T27" fmla="*/ 29 h 383"/>
                <a:gd name="T28" fmla="*/ 58 w 253"/>
                <a:gd name="T29" fmla="*/ 67 h 383"/>
                <a:gd name="T30" fmla="*/ 196 w 253"/>
                <a:gd name="T31" fmla="*/ 67 h 383"/>
                <a:gd name="T32" fmla="*/ 224 w 253"/>
                <a:gd name="T33" fmla="*/ 95 h 383"/>
                <a:gd name="T34" fmla="*/ 29 w 253"/>
                <a:gd name="T35" fmla="*/ 95 h 383"/>
                <a:gd name="T36" fmla="*/ 58 w 253"/>
                <a:gd name="T37" fmla="*/ 6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3" h="383">
                  <a:moveTo>
                    <a:pt x="0" y="229"/>
                  </a:moveTo>
                  <a:lnTo>
                    <a:pt x="17" y="229"/>
                  </a:lnTo>
                  <a:lnTo>
                    <a:pt x="17" y="305"/>
                  </a:lnTo>
                  <a:lnTo>
                    <a:pt x="0" y="305"/>
                  </a:lnTo>
                  <a:lnTo>
                    <a:pt x="0" y="383"/>
                  </a:lnTo>
                  <a:lnTo>
                    <a:pt x="253" y="383"/>
                  </a:lnTo>
                  <a:lnTo>
                    <a:pt x="253" y="0"/>
                  </a:lnTo>
                  <a:lnTo>
                    <a:pt x="0" y="0"/>
                  </a:lnTo>
                  <a:lnTo>
                    <a:pt x="0" y="229"/>
                  </a:lnTo>
                  <a:close/>
                  <a:moveTo>
                    <a:pt x="58" y="29"/>
                  </a:moveTo>
                  <a:lnTo>
                    <a:pt x="196" y="29"/>
                  </a:lnTo>
                  <a:cubicBezTo>
                    <a:pt x="211" y="29"/>
                    <a:pt x="224" y="42"/>
                    <a:pt x="224" y="57"/>
                  </a:cubicBezTo>
                  <a:lnTo>
                    <a:pt x="29" y="57"/>
                  </a:lnTo>
                  <a:cubicBezTo>
                    <a:pt x="29" y="42"/>
                    <a:pt x="42" y="29"/>
                    <a:pt x="58" y="29"/>
                  </a:cubicBezTo>
                  <a:close/>
                  <a:moveTo>
                    <a:pt x="58" y="67"/>
                  </a:moveTo>
                  <a:lnTo>
                    <a:pt x="196" y="67"/>
                  </a:lnTo>
                  <a:cubicBezTo>
                    <a:pt x="211" y="67"/>
                    <a:pt x="224" y="80"/>
                    <a:pt x="224" y="95"/>
                  </a:cubicBezTo>
                  <a:lnTo>
                    <a:pt x="29" y="95"/>
                  </a:lnTo>
                  <a:cubicBezTo>
                    <a:pt x="29" y="80"/>
                    <a:pt x="42" y="67"/>
                    <a:pt x="58" y="67"/>
                  </a:cubicBezTo>
                  <a:close/>
                </a:path>
              </a:pathLst>
            </a:custGeom>
            <a:grpFill/>
            <a:ln w="0">
              <a:noFill/>
              <a:prstDash val="solid"/>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299" name="Locker">
              <a:extLst>
                <a:ext uri="{FF2B5EF4-FFF2-40B4-BE49-F238E27FC236}">
                  <a16:creationId xmlns:a16="http://schemas.microsoft.com/office/drawing/2014/main" id="{88EC4536-1C8D-4EE9-B957-45C69E1CED45}"/>
                </a:ext>
              </a:extLst>
            </p:cNvPr>
            <p:cNvSpPr>
              <a:spLocks noEditPoints="1"/>
            </p:cNvSpPr>
            <p:nvPr/>
          </p:nvSpPr>
          <p:spPr bwMode="auto">
            <a:xfrm>
              <a:off x="37" y="320"/>
              <a:ext cx="95" cy="144"/>
            </a:xfrm>
            <a:custGeom>
              <a:avLst/>
              <a:gdLst>
                <a:gd name="T0" fmla="*/ 0 w 253"/>
                <a:gd name="T1" fmla="*/ 229 h 383"/>
                <a:gd name="T2" fmla="*/ 17 w 253"/>
                <a:gd name="T3" fmla="*/ 229 h 383"/>
                <a:gd name="T4" fmla="*/ 17 w 253"/>
                <a:gd name="T5" fmla="*/ 305 h 383"/>
                <a:gd name="T6" fmla="*/ 0 w 253"/>
                <a:gd name="T7" fmla="*/ 305 h 383"/>
                <a:gd name="T8" fmla="*/ 0 w 253"/>
                <a:gd name="T9" fmla="*/ 383 h 383"/>
                <a:gd name="T10" fmla="*/ 253 w 253"/>
                <a:gd name="T11" fmla="*/ 383 h 383"/>
                <a:gd name="T12" fmla="*/ 253 w 253"/>
                <a:gd name="T13" fmla="*/ 0 h 383"/>
                <a:gd name="T14" fmla="*/ 0 w 253"/>
                <a:gd name="T15" fmla="*/ 0 h 383"/>
                <a:gd name="T16" fmla="*/ 0 w 253"/>
                <a:gd name="T17" fmla="*/ 229 h 383"/>
                <a:gd name="T18" fmla="*/ 58 w 253"/>
                <a:gd name="T19" fmla="*/ 29 h 383"/>
                <a:gd name="T20" fmla="*/ 196 w 253"/>
                <a:gd name="T21" fmla="*/ 29 h 383"/>
                <a:gd name="T22" fmla="*/ 224 w 253"/>
                <a:gd name="T23" fmla="*/ 57 h 383"/>
                <a:gd name="T24" fmla="*/ 29 w 253"/>
                <a:gd name="T25" fmla="*/ 57 h 383"/>
                <a:gd name="T26" fmla="*/ 58 w 253"/>
                <a:gd name="T27" fmla="*/ 29 h 383"/>
                <a:gd name="T28" fmla="*/ 58 w 253"/>
                <a:gd name="T29" fmla="*/ 67 h 383"/>
                <a:gd name="T30" fmla="*/ 196 w 253"/>
                <a:gd name="T31" fmla="*/ 67 h 383"/>
                <a:gd name="T32" fmla="*/ 224 w 253"/>
                <a:gd name="T33" fmla="*/ 95 h 383"/>
                <a:gd name="T34" fmla="*/ 29 w 253"/>
                <a:gd name="T35" fmla="*/ 95 h 383"/>
                <a:gd name="T36" fmla="*/ 58 w 253"/>
                <a:gd name="T37" fmla="*/ 6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3" h="383">
                  <a:moveTo>
                    <a:pt x="0" y="229"/>
                  </a:moveTo>
                  <a:lnTo>
                    <a:pt x="17" y="229"/>
                  </a:lnTo>
                  <a:lnTo>
                    <a:pt x="17" y="305"/>
                  </a:lnTo>
                  <a:lnTo>
                    <a:pt x="0" y="305"/>
                  </a:lnTo>
                  <a:lnTo>
                    <a:pt x="0" y="383"/>
                  </a:lnTo>
                  <a:lnTo>
                    <a:pt x="253" y="383"/>
                  </a:lnTo>
                  <a:lnTo>
                    <a:pt x="253" y="0"/>
                  </a:lnTo>
                  <a:lnTo>
                    <a:pt x="0" y="0"/>
                  </a:lnTo>
                  <a:lnTo>
                    <a:pt x="0" y="229"/>
                  </a:lnTo>
                  <a:close/>
                  <a:moveTo>
                    <a:pt x="58" y="29"/>
                  </a:moveTo>
                  <a:lnTo>
                    <a:pt x="196" y="29"/>
                  </a:lnTo>
                  <a:cubicBezTo>
                    <a:pt x="211" y="29"/>
                    <a:pt x="224" y="42"/>
                    <a:pt x="224" y="57"/>
                  </a:cubicBezTo>
                  <a:lnTo>
                    <a:pt x="29" y="57"/>
                  </a:lnTo>
                  <a:cubicBezTo>
                    <a:pt x="29" y="42"/>
                    <a:pt x="42" y="29"/>
                    <a:pt x="58" y="29"/>
                  </a:cubicBezTo>
                  <a:close/>
                  <a:moveTo>
                    <a:pt x="58" y="67"/>
                  </a:moveTo>
                  <a:lnTo>
                    <a:pt x="196" y="67"/>
                  </a:lnTo>
                  <a:cubicBezTo>
                    <a:pt x="211" y="67"/>
                    <a:pt x="224" y="80"/>
                    <a:pt x="224" y="95"/>
                  </a:cubicBezTo>
                  <a:lnTo>
                    <a:pt x="29" y="95"/>
                  </a:lnTo>
                  <a:cubicBezTo>
                    <a:pt x="29" y="80"/>
                    <a:pt x="42" y="67"/>
                    <a:pt x="58" y="67"/>
                  </a:cubicBezTo>
                  <a:close/>
                </a:path>
              </a:pathLst>
            </a:custGeom>
            <a:grpFill/>
            <a:ln w="0">
              <a:noFill/>
              <a:prstDash val="solid"/>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300" name="Locker">
              <a:extLst>
                <a:ext uri="{FF2B5EF4-FFF2-40B4-BE49-F238E27FC236}">
                  <a16:creationId xmlns:a16="http://schemas.microsoft.com/office/drawing/2014/main" id="{B6D4C1BC-8892-45BC-B0DC-54DD9996CDD9}"/>
                </a:ext>
              </a:extLst>
            </p:cNvPr>
            <p:cNvSpPr>
              <a:spLocks noEditPoints="1"/>
            </p:cNvSpPr>
            <p:nvPr/>
          </p:nvSpPr>
          <p:spPr bwMode="auto">
            <a:xfrm>
              <a:off x="161" y="8"/>
              <a:ext cx="124" cy="471"/>
            </a:xfrm>
            <a:custGeom>
              <a:avLst/>
              <a:gdLst>
                <a:gd name="T0" fmla="*/ 0 w 330"/>
                <a:gd name="T1" fmla="*/ 0 h 1250"/>
                <a:gd name="T2" fmla="*/ 0 w 330"/>
                <a:gd name="T3" fmla="*/ 1250 h 1250"/>
                <a:gd name="T4" fmla="*/ 330 w 330"/>
                <a:gd name="T5" fmla="*/ 1250 h 1250"/>
                <a:gd name="T6" fmla="*/ 330 w 330"/>
                <a:gd name="T7" fmla="*/ 0 h 1250"/>
                <a:gd name="T8" fmla="*/ 0 w 330"/>
                <a:gd name="T9" fmla="*/ 0 h 1250"/>
                <a:gd name="T10" fmla="*/ 299 w 330"/>
                <a:gd name="T11" fmla="*/ 427 h 1250"/>
                <a:gd name="T12" fmla="*/ 299 w 330"/>
                <a:gd name="T13" fmla="*/ 428 h 1250"/>
                <a:gd name="T14" fmla="*/ 299 w 330"/>
                <a:gd name="T15" fmla="*/ 822 h 1250"/>
                <a:gd name="T16" fmla="*/ 299 w 330"/>
                <a:gd name="T17" fmla="*/ 823 h 1250"/>
                <a:gd name="T18" fmla="*/ 299 w 330"/>
                <a:gd name="T19" fmla="*/ 1219 h 1250"/>
                <a:gd name="T20" fmla="*/ 32 w 330"/>
                <a:gd name="T21" fmla="*/ 1219 h 1250"/>
                <a:gd name="T22" fmla="*/ 32 w 330"/>
                <a:gd name="T23" fmla="*/ 823 h 1250"/>
                <a:gd name="T24" fmla="*/ 32 w 330"/>
                <a:gd name="T25" fmla="*/ 822 h 1250"/>
                <a:gd name="T26" fmla="*/ 32 w 330"/>
                <a:gd name="T27" fmla="*/ 428 h 1250"/>
                <a:gd name="T28" fmla="*/ 32 w 330"/>
                <a:gd name="T29" fmla="*/ 427 h 1250"/>
                <a:gd name="T30" fmla="*/ 32 w 330"/>
                <a:gd name="T31" fmla="*/ 31 h 1250"/>
                <a:gd name="T32" fmla="*/ 299 w 330"/>
                <a:gd name="T33" fmla="*/ 31 h 1250"/>
                <a:gd name="T34" fmla="*/ 299 w 330"/>
                <a:gd name="T35" fmla="*/ 427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0" h="1250">
                  <a:moveTo>
                    <a:pt x="0" y="0"/>
                  </a:moveTo>
                  <a:lnTo>
                    <a:pt x="0" y="1250"/>
                  </a:lnTo>
                  <a:lnTo>
                    <a:pt x="330" y="1250"/>
                  </a:lnTo>
                  <a:lnTo>
                    <a:pt x="330" y="0"/>
                  </a:lnTo>
                  <a:lnTo>
                    <a:pt x="0" y="0"/>
                  </a:lnTo>
                  <a:close/>
                  <a:moveTo>
                    <a:pt x="299" y="427"/>
                  </a:moveTo>
                  <a:lnTo>
                    <a:pt x="299" y="428"/>
                  </a:lnTo>
                  <a:lnTo>
                    <a:pt x="299" y="822"/>
                  </a:lnTo>
                  <a:lnTo>
                    <a:pt x="299" y="823"/>
                  </a:lnTo>
                  <a:lnTo>
                    <a:pt x="299" y="1219"/>
                  </a:lnTo>
                  <a:lnTo>
                    <a:pt x="32" y="1219"/>
                  </a:lnTo>
                  <a:lnTo>
                    <a:pt x="32" y="823"/>
                  </a:lnTo>
                  <a:lnTo>
                    <a:pt x="32" y="822"/>
                  </a:lnTo>
                  <a:lnTo>
                    <a:pt x="32" y="428"/>
                  </a:lnTo>
                  <a:lnTo>
                    <a:pt x="32" y="427"/>
                  </a:lnTo>
                  <a:lnTo>
                    <a:pt x="32" y="31"/>
                  </a:lnTo>
                  <a:lnTo>
                    <a:pt x="299" y="31"/>
                  </a:lnTo>
                  <a:lnTo>
                    <a:pt x="299" y="427"/>
                  </a:lnTo>
                  <a:close/>
                </a:path>
              </a:pathLst>
            </a:custGeom>
            <a:grpFill/>
            <a:ln w="0">
              <a:noFill/>
              <a:prstDash val="solid"/>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301" name="Locker">
              <a:extLst>
                <a:ext uri="{FF2B5EF4-FFF2-40B4-BE49-F238E27FC236}">
                  <a16:creationId xmlns:a16="http://schemas.microsoft.com/office/drawing/2014/main" id="{6F984F40-C332-4A82-B833-3F6BDB2AE8D6}"/>
                </a:ext>
              </a:extLst>
            </p:cNvPr>
            <p:cNvSpPr>
              <a:spLocks noEditPoints="1"/>
            </p:cNvSpPr>
            <p:nvPr/>
          </p:nvSpPr>
          <p:spPr bwMode="auto">
            <a:xfrm>
              <a:off x="176" y="171"/>
              <a:ext cx="95" cy="144"/>
            </a:xfrm>
            <a:custGeom>
              <a:avLst/>
              <a:gdLst>
                <a:gd name="T0" fmla="*/ 253 w 253"/>
                <a:gd name="T1" fmla="*/ 0 h 382"/>
                <a:gd name="T2" fmla="*/ 0 w 253"/>
                <a:gd name="T3" fmla="*/ 0 h 382"/>
                <a:gd name="T4" fmla="*/ 0 w 253"/>
                <a:gd name="T5" fmla="*/ 229 h 382"/>
                <a:gd name="T6" fmla="*/ 17 w 253"/>
                <a:gd name="T7" fmla="*/ 229 h 382"/>
                <a:gd name="T8" fmla="*/ 17 w 253"/>
                <a:gd name="T9" fmla="*/ 304 h 382"/>
                <a:gd name="T10" fmla="*/ 0 w 253"/>
                <a:gd name="T11" fmla="*/ 304 h 382"/>
                <a:gd name="T12" fmla="*/ 0 w 253"/>
                <a:gd name="T13" fmla="*/ 382 h 382"/>
                <a:gd name="T14" fmla="*/ 253 w 253"/>
                <a:gd name="T15" fmla="*/ 382 h 382"/>
                <a:gd name="T16" fmla="*/ 253 w 253"/>
                <a:gd name="T17" fmla="*/ 0 h 382"/>
                <a:gd name="T18" fmla="*/ 29 w 253"/>
                <a:gd name="T19" fmla="*/ 95 h 382"/>
                <a:gd name="T20" fmla="*/ 57 w 253"/>
                <a:gd name="T21" fmla="*/ 66 h 382"/>
                <a:gd name="T22" fmla="*/ 195 w 253"/>
                <a:gd name="T23" fmla="*/ 66 h 382"/>
                <a:gd name="T24" fmla="*/ 224 w 253"/>
                <a:gd name="T25" fmla="*/ 95 h 382"/>
                <a:gd name="T26" fmla="*/ 29 w 253"/>
                <a:gd name="T27" fmla="*/ 95 h 382"/>
                <a:gd name="T28" fmla="*/ 29 w 253"/>
                <a:gd name="T29" fmla="*/ 57 h 382"/>
                <a:gd name="T30" fmla="*/ 57 w 253"/>
                <a:gd name="T31" fmla="*/ 28 h 382"/>
                <a:gd name="T32" fmla="*/ 195 w 253"/>
                <a:gd name="T33" fmla="*/ 28 h 382"/>
                <a:gd name="T34" fmla="*/ 224 w 253"/>
                <a:gd name="T35" fmla="*/ 57 h 382"/>
                <a:gd name="T36" fmla="*/ 29 w 253"/>
                <a:gd name="T37" fmla="*/ 5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3" h="382">
                  <a:moveTo>
                    <a:pt x="253" y="0"/>
                  </a:moveTo>
                  <a:lnTo>
                    <a:pt x="0" y="0"/>
                  </a:lnTo>
                  <a:lnTo>
                    <a:pt x="0" y="229"/>
                  </a:lnTo>
                  <a:lnTo>
                    <a:pt x="17" y="229"/>
                  </a:lnTo>
                  <a:lnTo>
                    <a:pt x="17" y="304"/>
                  </a:lnTo>
                  <a:lnTo>
                    <a:pt x="0" y="304"/>
                  </a:lnTo>
                  <a:lnTo>
                    <a:pt x="0" y="382"/>
                  </a:lnTo>
                  <a:lnTo>
                    <a:pt x="253" y="382"/>
                  </a:lnTo>
                  <a:lnTo>
                    <a:pt x="253" y="0"/>
                  </a:lnTo>
                  <a:close/>
                  <a:moveTo>
                    <a:pt x="29" y="95"/>
                  </a:moveTo>
                  <a:cubicBezTo>
                    <a:pt x="29" y="79"/>
                    <a:pt x="42" y="66"/>
                    <a:pt x="57" y="66"/>
                  </a:cubicBezTo>
                  <a:lnTo>
                    <a:pt x="195" y="66"/>
                  </a:lnTo>
                  <a:cubicBezTo>
                    <a:pt x="211" y="66"/>
                    <a:pt x="224" y="79"/>
                    <a:pt x="224" y="95"/>
                  </a:cubicBezTo>
                  <a:lnTo>
                    <a:pt x="29" y="95"/>
                  </a:lnTo>
                  <a:close/>
                  <a:moveTo>
                    <a:pt x="29" y="57"/>
                  </a:moveTo>
                  <a:cubicBezTo>
                    <a:pt x="29" y="41"/>
                    <a:pt x="42" y="28"/>
                    <a:pt x="57" y="28"/>
                  </a:cubicBezTo>
                  <a:lnTo>
                    <a:pt x="195" y="28"/>
                  </a:lnTo>
                  <a:cubicBezTo>
                    <a:pt x="211" y="28"/>
                    <a:pt x="224" y="41"/>
                    <a:pt x="224" y="57"/>
                  </a:cubicBezTo>
                  <a:lnTo>
                    <a:pt x="29" y="57"/>
                  </a:lnTo>
                  <a:close/>
                </a:path>
              </a:pathLst>
            </a:custGeom>
            <a:grpFill/>
            <a:ln w="0">
              <a:noFill/>
              <a:prstDash val="solid"/>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302" name="Locker">
              <a:extLst>
                <a:ext uri="{FF2B5EF4-FFF2-40B4-BE49-F238E27FC236}">
                  <a16:creationId xmlns:a16="http://schemas.microsoft.com/office/drawing/2014/main" id="{6FD69BEC-23A5-4CF5-BD67-5A4A9CD2BDB1}"/>
                </a:ext>
              </a:extLst>
            </p:cNvPr>
            <p:cNvSpPr>
              <a:spLocks noEditPoints="1"/>
            </p:cNvSpPr>
            <p:nvPr/>
          </p:nvSpPr>
          <p:spPr bwMode="auto">
            <a:xfrm>
              <a:off x="176" y="22"/>
              <a:ext cx="95" cy="144"/>
            </a:xfrm>
            <a:custGeom>
              <a:avLst/>
              <a:gdLst>
                <a:gd name="T0" fmla="*/ 253 w 253"/>
                <a:gd name="T1" fmla="*/ 0 h 383"/>
                <a:gd name="T2" fmla="*/ 0 w 253"/>
                <a:gd name="T3" fmla="*/ 0 h 383"/>
                <a:gd name="T4" fmla="*/ 0 w 253"/>
                <a:gd name="T5" fmla="*/ 229 h 383"/>
                <a:gd name="T6" fmla="*/ 17 w 253"/>
                <a:gd name="T7" fmla="*/ 229 h 383"/>
                <a:gd name="T8" fmla="*/ 17 w 253"/>
                <a:gd name="T9" fmla="*/ 305 h 383"/>
                <a:gd name="T10" fmla="*/ 0 w 253"/>
                <a:gd name="T11" fmla="*/ 305 h 383"/>
                <a:gd name="T12" fmla="*/ 0 w 253"/>
                <a:gd name="T13" fmla="*/ 383 h 383"/>
                <a:gd name="T14" fmla="*/ 253 w 253"/>
                <a:gd name="T15" fmla="*/ 383 h 383"/>
                <a:gd name="T16" fmla="*/ 253 w 253"/>
                <a:gd name="T17" fmla="*/ 0 h 383"/>
                <a:gd name="T18" fmla="*/ 29 w 253"/>
                <a:gd name="T19" fmla="*/ 95 h 383"/>
                <a:gd name="T20" fmla="*/ 57 w 253"/>
                <a:gd name="T21" fmla="*/ 67 h 383"/>
                <a:gd name="T22" fmla="*/ 195 w 253"/>
                <a:gd name="T23" fmla="*/ 67 h 383"/>
                <a:gd name="T24" fmla="*/ 224 w 253"/>
                <a:gd name="T25" fmla="*/ 95 h 383"/>
                <a:gd name="T26" fmla="*/ 29 w 253"/>
                <a:gd name="T27" fmla="*/ 95 h 383"/>
                <a:gd name="T28" fmla="*/ 29 w 253"/>
                <a:gd name="T29" fmla="*/ 57 h 383"/>
                <a:gd name="T30" fmla="*/ 57 w 253"/>
                <a:gd name="T31" fmla="*/ 29 h 383"/>
                <a:gd name="T32" fmla="*/ 195 w 253"/>
                <a:gd name="T33" fmla="*/ 29 h 383"/>
                <a:gd name="T34" fmla="*/ 224 w 253"/>
                <a:gd name="T35" fmla="*/ 57 h 383"/>
                <a:gd name="T36" fmla="*/ 29 w 253"/>
                <a:gd name="T37" fmla="*/ 5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3" h="383">
                  <a:moveTo>
                    <a:pt x="253" y="0"/>
                  </a:moveTo>
                  <a:lnTo>
                    <a:pt x="0" y="0"/>
                  </a:lnTo>
                  <a:lnTo>
                    <a:pt x="0" y="229"/>
                  </a:lnTo>
                  <a:lnTo>
                    <a:pt x="17" y="229"/>
                  </a:lnTo>
                  <a:lnTo>
                    <a:pt x="17" y="305"/>
                  </a:lnTo>
                  <a:lnTo>
                    <a:pt x="0" y="305"/>
                  </a:lnTo>
                  <a:lnTo>
                    <a:pt x="0" y="383"/>
                  </a:lnTo>
                  <a:lnTo>
                    <a:pt x="253" y="383"/>
                  </a:lnTo>
                  <a:lnTo>
                    <a:pt x="253" y="0"/>
                  </a:lnTo>
                  <a:close/>
                  <a:moveTo>
                    <a:pt x="29" y="95"/>
                  </a:moveTo>
                  <a:cubicBezTo>
                    <a:pt x="29" y="80"/>
                    <a:pt x="42" y="67"/>
                    <a:pt x="57" y="67"/>
                  </a:cubicBezTo>
                  <a:lnTo>
                    <a:pt x="195" y="67"/>
                  </a:lnTo>
                  <a:cubicBezTo>
                    <a:pt x="211" y="67"/>
                    <a:pt x="224" y="80"/>
                    <a:pt x="224" y="95"/>
                  </a:cubicBezTo>
                  <a:lnTo>
                    <a:pt x="29" y="95"/>
                  </a:lnTo>
                  <a:close/>
                  <a:moveTo>
                    <a:pt x="29" y="57"/>
                  </a:moveTo>
                  <a:cubicBezTo>
                    <a:pt x="29" y="42"/>
                    <a:pt x="42" y="29"/>
                    <a:pt x="57" y="29"/>
                  </a:cubicBezTo>
                  <a:lnTo>
                    <a:pt x="195" y="29"/>
                  </a:lnTo>
                  <a:cubicBezTo>
                    <a:pt x="211" y="29"/>
                    <a:pt x="224" y="42"/>
                    <a:pt x="224" y="57"/>
                  </a:cubicBezTo>
                  <a:lnTo>
                    <a:pt x="29" y="57"/>
                  </a:lnTo>
                  <a:close/>
                </a:path>
              </a:pathLst>
            </a:custGeom>
            <a:grpFill/>
            <a:ln w="0">
              <a:noFill/>
              <a:prstDash val="solid"/>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303" name="Locker">
              <a:extLst>
                <a:ext uri="{FF2B5EF4-FFF2-40B4-BE49-F238E27FC236}">
                  <a16:creationId xmlns:a16="http://schemas.microsoft.com/office/drawing/2014/main" id="{1CC61ECE-1107-43AB-85A1-66F6FDB4A41C}"/>
                </a:ext>
              </a:extLst>
            </p:cNvPr>
            <p:cNvSpPr>
              <a:spLocks noEditPoints="1"/>
            </p:cNvSpPr>
            <p:nvPr/>
          </p:nvSpPr>
          <p:spPr bwMode="auto">
            <a:xfrm>
              <a:off x="176" y="320"/>
              <a:ext cx="95" cy="144"/>
            </a:xfrm>
            <a:custGeom>
              <a:avLst/>
              <a:gdLst>
                <a:gd name="T0" fmla="*/ 253 w 253"/>
                <a:gd name="T1" fmla="*/ 0 h 383"/>
                <a:gd name="T2" fmla="*/ 0 w 253"/>
                <a:gd name="T3" fmla="*/ 0 h 383"/>
                <a:gd name="T4" fmla="*/ 0 w 253"/>
                <a:gd name="T5" fmla="*/ 229 h 383"/>
                <a:gd name="T6" fmla="*/ 17 w 253"/>
                <a:gd name="T7" fmla="*/ 229 h 383"/>
                <a:gd name="T8" fmla="*/ 17 w 253"/>
                <a:gd name="T9" fmla="*/ 305 h 383"/>
                <a:gd name="T10" fmla="*/ 0 w 253"/>
                <a:gd name="T11" fmla="*/ 305 h 383"/>
                <a:gd name="T12" fmla="*/ 0 w 253"/>
                <a:gd name="T13" fmla="*/ 383 h 383"/>
                <a:gd name="T14" fmla="*/ 253 w 253"/>
                <a:gd name="T15" fmla="*/ 383 h 383"/>
                <a:gd name="T16" fmla="*/ 253 w 253"/>
                <a:gd name="T17" fmla="*/ 0 h 383"/>
                <a:gd name="T18" fmla="*/ 29 w 253"/>
                <a:gd name="T19" fmla="*/ 95 h 383"/>
                <a:gd name="T20" fmla="*/ 57 w 253"/>
                <a:gd name="T21" fmla="*/ 67 h 383"/>
                <a:gd name="T22" fmla="*/ 195 w 253"/>
                <a:gd name="T23" fmla="*/ 67 h 383"/>
                <a:gd name="T24" fmla="*/ 224 w 253"/>
                <a:gd name="T25" fmla="*/ 95 h 383"/>
                <a:gd name="T26" fmla="*/ 29 w 253"/>
                <a:gd name="T27" fmla="*/ 95 h 383"/>
                <a:gd name="T28" fmla="*/ 29 w 253"/>
                <a:gd name="T29" fmla="*/ 57 h 383"/>
                <a:gd name="T30" fmla="*/ 57 w 253"/>
                <a:gd name="T31" fmla="*/ 29 h 383"/>
                <a:gd name="T32" fmla="*/ 195 w 253"/>
                <a:gd name="T33" fmla="*/ 29 h 383"/>
                <a:gd name="T34" fmla="*/ 224 w 253"/>
                <a:gd name="T35" fmla="*/ 57 h 383"/>
                <a:gd name="T36" fmla="*/ 29 w 253"/>
                <a:gd name="T37" fmla="*/ 5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3" h="383">
                  <a:moveTo>
                    <a:pt x="253" y="0"/>
                  </a:moveTo>
                  <a:lnTo>
                    <a:pt x="0" y="0"/>
                  </a:lnTo>
                  <a:lnTo>
                    <a:pt x="0" y="229"/>
                  </a:lnTo>
                  <a:lnTo>
                    <a:pt x="17" y="229"/>
                  </a:lnTo>
                  <a:lnTo>
                    <a:pt x="17" y="305"/>
                  </a:lnTo>
                  <a:lnTo>
                    <a:pt x="0" y="305"/>
                  </a:lnTo>
                  <a:lnTo>
                    <a:pt x="0" y="383"/>
                  </a:lnTo>
                  <a:lnTo>
                    <a:pt x="253" y="383"/>
                  </a:lnTo>
                  <a:lnTo>
                    <a:pt x="253" y="0"/>
                  </a:lnTo>
                  <a:close/>
                  <a:moveTo>
                    <a:pt x="29" y="95"/>
                  </a:moveTo>
                  <a:cubicBezTo>
                    <a:pt x="29" y="80"/>
                    <a:pt x="42" y="67"/>
                    <a:pt x="57" y="67"/>
                  </a:cubicBezTo>
                  <a:lnTo>
                    <a:pt x="195" y="67"/>
                  </a:lnTo>
                  <a:cubicBezTo>
                    <a:pt x="211" y="67"/>
                    <a:pt x="224" y="80"/>
                    <a:pt x="224" y="95"/>
                  </a:cubicBezTo>
                  <a:lnTo>
                    <a:pt x="29" y="95"/>
                  </a:lnTo>
                  <a:close/>
                  <a:moveTo>
                    <a:pt x="29" y="57"/>
                  </a:moveTo>
                  <a:cubicBezTo>
                    <a:pt x="29" y="42"/>
                    <a:pt x="42" y="29"/>
                    <a:pt x="57" y="29"/>
                  </a:cubicBezTo>
                  <a:lnTo>
                    <a:pt x="195" y="29"/>
                  </a:lnTo>
                  <a:cubicBezTo>
                    <a:pt x="211" y="29"/>
                    <a:pt x="224" y="42"/>
                    <a:pt x="224" y="57"/>
                  </a:cubicBezTo>
                  <a:lnTo>
                    <a:pt x="29" y="57"/>
                  </a:lnTo>
                  <a:close/>
                </a:path>
              </a:pathLst>
            </a:custGeom>
            <a:grpFill/>
            <a:ln w="0">
              <a:noFill/>
              <a:prstDash val="solid"/>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grpSp>
      <p:grpSp>
        <p:nvGrpSpPr>
          <p:cNvPr id="17418" name="Groupe 1">
            <a:extLst>
              <a:ext uri="{FF2B5EF4-FFF2-40B4-BE49-F238E27FC236}">
                <a16:creationId xmlns:a16="http://schemas.microsoft.com/office/drawing/2014/main" id="{84F375E1-5F25-4FBC-8756-EAB55F3201AA}"/>
              </a:ext>
            </a:extLst>
          </p:cNvPr>
          <p:cNvGrpSpPr>
            <a:grpSpLocks/>
          </p:cNvGrpSpPr>
          <p:nvPr/>
        </p:nvGrpSpPr>
        <p:grpSpPr bwMode="auto">
          <a:xfrm>
            <a:off x="752475" y="3579813"/>
            <a:ext cx="1135063" cy="565150"/>
            <a:chOff x="4136627" y="2734860"/>
            <a:chExt cx="2110791" cy="1335778"/>
          </a:xfrm>
        </p:grpSpPr>
        <p:sp>
          <p:nvSpPr>
            <p:cNvPr id="305" name="Forme libre : forme 22">
              <a:extLst>
                <a:ext uri="{FF2B5EF4-FFF2-40B4-BE49-F238E27FC236}">
                  <a16:creationId xmlns:a16="http://schemas.microsoft.com/office/drawing/2014/main" id="{6A2DAE81-B471-4249-B499-87F56AD5B2D0}"/>
                </a:ext>
              </a:extLst>
            </p:cNvPr>
            <p:cNvSpPr/>
            <p:nvPr/>
          </p:nvSpPr>
          <p:spPr>
            <a:xfrm flipH="1">
              <a:off x="4136627" y="2734860"/>
              <a:ext cx="1818527" cy="1317016"/>
            </a:xfrm>
            <a:custGeom>
              <a:avLst/>
              <a:gdLst>
                <a:gd name="connsiteX0" fmla="*/ 1168903 w 1817867"/>
                <a:gd name="connsiteY0" fmla="*/ 0 h 1318520"/>
                <a:gd name="connsiteX1" fmla="*/ 1168897 w 1817867"/>
                <a:gd name="connsiteY1" fmla="*/ 5 h 1318520"/>
                <a:gd name="connsiteX2" fmla="*/ 1164494 w 1817867"/>
                <a:gd name="connsiteY2" fmla="*/ 5 h 1318520"/>
                <a:gd name="connsiteX3" fmla="*/ 1163518 w 1817867"/>
                <a:gd name="connsiteY3" fmla="*/ 4367 h 1318520"/>
                <a:gd name="connsiteX4" fmla="*/ 941742 w 1817867"/>
                <a:gd name="connsiteY4" fmla="*/ 184223 h 1318520"/>
                <a:gd name="connsiteX5" fmla="*/ 240301 w 1817867"/>
                <a:gd name="connsiteY5" fmla="*/ 184223 h 1318520"/>
                <a:gd name="connsiteX6" fmla="*/ 0 w 1817867"/>
                <a:gd name="connsiteY6" fmla="*/ 1318520 h 1318520"/>
                <a:gd name="connsiteX7" fmla="*/ 1498589 w 1817867"/>
                <a:gd name="connsiteY7" fmla="*/ 1318520 h 1318520"/>
                <a:gd name="connsiteX8" fmla="*/ 1498589 w 1817867"/>
                <a:gd name="connsiteY8" fmla="*/ 1318519 h 1318520"/>
                <a:gd name="connsiteX9" fmla="*/ 1554139 w 1817867"/>
                <a:gd name="connsiteY9" fmla="*/ 1318519 h 1318520"/>
                <a:gd name="connsiteX10" fmla="*/ 1817867 w 1817867"/>
                <a:gd name="connsiteY10" fmla="*/ 139977 h 1318520"/>
                <a:gd name="connsiteX11" fmla="*/ 1681103 w 1817867"/>
                <a:gd name="connsiteY11" fmla="*/ 5 h 1318520"/>
                <a:gd name="connsiteX12" fmla="*/ 1168903 w 1817867"/>
                <a:gd name="connsiteY12" fmla="*/ 5 h 131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7867" h="1318520">
                  <a:moveTo>
                    <a:pt x="1168903" y="0"/>
                  </a:moveTo>
                  <a:lnTo>
                    <a:pt x="1168897" y="5"/>
                  </a:lnTo>
                  <a:lnTo>
                    <a:pt x="1164494" y="5"/>
                  </a:lnTo>
                  <a:lnTo>
                    <a:pt x="1163518" y="4367"/>
                  </a:lnTo>
                  <a:lnTo>
                    <a:pt x="941742" y="184223"/>
                  </a:lnTo>
                  <a:lnTo>
                    <a:pt x="240301" y="184223"/>
                  </a:lnTo>
                  <a:lnTo>
                    <a:pt x="0" y="1318520"/>
                  </a:lnTo>
                  <a:lnTo>
                    <a:pt x="1498589" y="1318520"/>
                  </a:lnTo>
                  <a:lnTo>
                    <a:pt x="1498589" y="1318519"/>
                  </a:lnTo>
                  <a:lnTo>
                    <a:pt x="1554139" y="1318519"/>
                  </a:lnTo>
                  <a:lnTo>
                    <a:pt x="1817867" y="139977"/>
                  </a:lnTo>
                  <a:lnTo>
                    <a:pt x="1681103" y="5"/>
                  </a:lnTo>
                  <a:lnTo>
                    <a:pt x="1168903" y="5"/>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685800" eaLnBrk="1" fontAlgn="auto" hangingPunct="1">
                <a:spcBef>
                  <a:spcPts val="0"/>
                </a:spcBef>
                <a:spcAft>
                  <a:spcPts val="0"/>
                </a:spcAft>
                <a:defRPr/>
              </a:pPr>
              <a:endParaRPr lang="en-US" sz="1350" dirty="0">
                <a:solidFill>
                  <a:schemeClr val="accent2"/>
                </a:solidFill>
                <a:latin typeface="Calibri"/>
              </a:endParaRPr>
            </a:p>
          </p:txBody>
        </p:sp>
        <p:sp>
          <p:nvSpPr>
            <p:cNvPr id="306" name="Rectangle 305">
              <a:extLst>
                <a:ext uri="{FF2B5EF4-FFF2-40B4-BE49-F238E27FC236}">
                  <a16:creationId xmlns:a16="http://schemas.microsoft.com/office/drawing/2014/main" id="{CC0F9BCB-0BEC-4F6E-9F6E-A3B05C6E42A5}"/>
                </a:ext>
              </a:extLst>
            </p:cNvPr>
            <p:cNvSpPr/>
            <p:nvPr/>
          </p:nvSpPr>
          <p:spPr>
            <a:xfrm>
              <a:off x="4399370" y="3110079"/>
              <a:ext cx="1405225" cy="941797"/>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685800" eaLnBrk="1" fontAlgn="auto" hangingPunct="1">
                <a:spcBef>
                  <a:spcPts val="0"/>
                </a:spcBef>
                <a:spcAft>
                  <a:spcPts val="0"/>
                </a:spcAft>
                <a:defRPr/>
              </a:pPr>
              <a:endParaRPr lang="en-US" sz="1350" dirty="0">
                <a:solidFill>
                  <a:schemeClr val="accent2"/>
                </a:solidFill>
                <a:latin typeface="Calibri"/>
              </a:endParaRPr>
            </a:p>
          </p:txBody>
        </p:sp>
        <p:sp>
          <p:nvSpPr>
            <p:cNvPr id="307" name="Rectangle 306">
              <a:extLst>
                <a:ext uri="{FF2B5EF4-FFF2-40B4-BE49-F238E27FC236}">
                  <a16:creationId xmlns:a16="http://schemas.microsoft.com/office/drawing/2014/main" id="{20AAA8CA-F24B-4256-B86C-4C73CFE6B9D3}"/>
                </a:ext>
              </a:extLst>
            </p:cNvPr>
            <p:cNvSpPr/>
            <p:nvPr/>
          </p:nvSpPr>
          <p:spPr>
            <a:xfrm rot="335292">
              <a:off x="4467268" y="3042539"/>
              <a:ext cx="1405225" cy="941797"/>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685800" eaLnBrk="1" fontAlgn="auto" hangingPunct="1">
                <a:spcBef>
                  <a:spcPts val="0"/>
                </a:spcBef>
                <a:spcAft>
                  <a:spcPts val="0"/>
                </a:spcAft>
                <a:defRPr/>
              </a:pPr>
              <a:endParaRPr lang="en-US" sz="1350" dirty="0">
                <a:solidFill>
                  <a:schemeClr val="accent2"/>
                </a:solidFill>
                <a:latin typeface="Calibri"/>
              </a:endParaRPr>
            </a:p>
          </p:txBody>
        </p:sp>
        <p:sp>
          <p:nvSpPr>
            <p:cNvPr id="308" name="Rectangle 307">
              <a:extLst>
                <a:ext uri="{FF2B5EF4-FFF2-40B4-BE49-F238E27FC236}">
                  <a16:creationId xmlns:a16="http://schemas.microsoft.com/office/drawing/2014/main" id="{73C7C97C-7521-4DDA-A252-F60DF7DD3D65}"/>
                </a:ext>
              </a:extLst>
            </p:cNvPr>
            <p:cNvSpPr/>
            <p:nvPr/>
          </p:nvSpPr>
          <p:spPr>
            <a:xfrm rot="775497">
              <a:off x="4541073" y="2963742"/>
              <a:ext cx="1405225" cy="941800"/>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685800" eaLnBrk="1" fontAlgn="auto" hangingPunct="1">
                <a:spcBef>
                  <a:spcPts val="0"/>
                </a:spcBef>
                <a:spcAft>
                  <a:spcPts val="0"/>
                </a:spcAft>
                <a:defRPr/>
              </a:pPr>
              <a:endParaRPr lang="en-US" sz="1350" dirty="0">
                <a:solidFill>
                  <a:schemeClr val="accent2"/>
                </a:solidFill>
                <a:latin typeface="Calibri"/>
              </a:endParaRPr>
            </a:p>
          </p:txBody>
        </p:sp>
        <p:sp>
          <p:nvSpPr>
            <p:cNvPr id="309" name="Forme libre : forme 23">
              <a:extLst>
                <a:ext uri="{FF2B5EF4-FFF2-40B4-BE49-F238E27FC236}">
                  <a16:creationId xmlns:a16="http://schemas.microsoft.com/office/drawing/2014/main" id="{CE41FD8F-372F-4A47-96B1-D50488945C96}"/>
                </a:ext>
              </a:extLst>
            </p:cNvPr>
            <p:cNvSpPr/>
            <p:nvPr/>
          </p:nvSpPr>
          <p:spPr>
            <a:xfrm>
              <a:off x="4399370" y="2839921"/>
              <a:ext cx="1848048" cy="1230717"/>
            </a:xfrm>
            <a:custGeom>
              <a:avLst/>
              <a:gdLst>
                <a:gd name="connsiteX0" fmla="*/ 1168903 w 1849189"/>
                <a:gd name="connsiteY0" fmla="*/ 0 h 1232263"/>
                <a:gd name="connsiteX1" fmla="*/ 1168903 w 1849189"/>
                <a:gd name="connsiteY1" fmla="*/ 4 h 1232263"/>
                <a:gd name="connsiteX2" fmla="*/ 1849189 w 1849189"/>
                <a:gd name="connsiteY2" fmla="*/ 4 h 1232263"/>
                <a:gd name="connsiteX3" fmla="*/ 1554139 w 1849189"/>
                <a:gd name="connsiteY3" fmla="*/ 1232262 h 1232263"/>
                <a:gd name="connsiteX4" fmla="*/ 1514310 w 1849189"/>
                <a:gd name="connsiteY4" fmla="*/ 1232262 h 1232263"/>
                <a:gd name="connsiteX5" fmla="*/ 1514310 w 1849189"/>
                <a:gd name="connsiteY5" fmla="*/ 1232263 h 1232263"/>
                <a:gd name="connsiteX6" fmla="*/ 0 w 1849189"/>
                <a:gd name="connsiteY6" fmla="*/ 1232263 h 1232263"/>
                <a:gd name="connsiteX7" fmla="*/ 224580 w 1849189"/>
                <a:gd name="connsiteY7" fmla="*/ 172171 h 1232263"/>
                <a:gd name="connsiteX8" fmla="*/ 1123271 w 1849189"/>
                <a:gd name="connsiteY8" fmla="*/ 172171 h 1232263"/>
                <a:gd name="connsiteX9" fmla="*/ 1123271 w 1849189"/>
                <a:gd name="connsiteY9" fmla="*/ 172170 h 1232263"/>
                <a:gd name="connsiteX10" fmla="*/ 941742 w 1849189"/>
                <a:gd name="connsiteY10" fmla="*/ 172170 h 1232263"/>
                <a:gd name="connsiteX11" fmla="*/ 1163518 w 1849189"/>
                <a:gd name="connsiteY11" fmla="*/ 4082 h 1232263"/>
                <a:gd name="connsiteX12" fmla="*/ 1164494 w 1849189"/>
                <a:gd name="connsiteY12" fmla="*/ 4 h 1232263"/>
                <a:gd name="connsiteX13" fmla="*/ 1168898 w 1849189"/>
                <a:gd name="connsiteY13" fmla="*/ 4 h 1232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9189" h="1232263">
                  <a:moveTo>
                    <a:pt x="1168903" y="0"/>
                  </a:moveTo>
                  <a:lnTo>
                    <a:pt x="1168903" y="4"/>
                  </a:lnTo>
                  <a:lnTo>
                    <a:pt x="1849189" y="4"/>
                  </a:lnTo>
                  <a:lnTo>
                    <a:pt x="1554139" y="1232262"/>
                  </a:lnTo>
                  <a:lnTo>
                    <a:pt x="1514310" y="1232262"/>
                  </a:lnTo>
                  <a:lnTo>
                    <a:pt x="1514310" y="1232263"/>
                  </a:lnTo>
                  <a:lnTo>
                    <a:pt x="0" y="1232263"/>
                  </a:lnTo>
                  <a:lnTo>
                    <a:pt x="224580" y="172171"/>
                  </a:lnTo>
                  <a:lnTo>
                    <a:pt x="1123271" y="172171"/>
                  </a:lnTo>
                  <a:lnTo>
                    <a:pt x="1123271" y="172170"/>
                  </a:lnTo>
                  <a:lnTo>
                    <a:pt x="941742" y="172170"/>
                  </a:lnTo>
                  <a:lnTo>
                    <a:pt x="1163518" y="4082"/>
                  </a:lnTo>
                  <a:lnTo>
                    <a:pt x="1164494" y="4"/>
                  </a:lnTo>
                  <a:lnTo>
                    <a:pt x="1168898" y="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685800" eaLnBrk="1" fontAlgn="auto" hangingPunct="1">
                <a:spcBef>
                  <a:spcPts val="0"/>
                </a:spcBef>
                <a:spcAft>
                  <a:spcPts val="0"/>
                </a:spcAft>
                <a:defRPr/>
              </a:pPr>
              <a:r>
                <a:rPr lang="en-US" sz="3300" dirty="0">
                  <a:solidFill>
                    <a:schemeClr val="accent2"/>
                  </a:solidFill>
                  <a:latin typeface="Calibri"/>
                </a:rPr>
                <a:t>03</a:t>
              </a:r>
            </a:p>
          </p:txBody>
        </p:sp>
        <p:sp>
          <p:nvSpPr>
            <p:cNvPr id="310" name="Forme libre : forme 25">
              <a:extLst>
                <a:ext uri="{FF2B5EF4-FFF2-40B4-BE49-F238E27FC236}">
                  <a16:creationId xmlns:a16="http://schemas.microsoft.com/office/drawing/2014/main" id="{E1C5A855-9ED2-4680-8195-3A8514A4068B}"/>
                </a:ext>
              </a:extLst>
            </p:cNvPr>
            <p:cNvSpPr/>
            <p:nvPr/>
          </p:nvSpPr>
          <p:spPr>
            <a:xfrm>
              <a:off x="4399370" y="3714179"/>
              <a:ext cx="1635493" cy="356459"/>
            </a:xfrm>
            <a:custGeom>
              <a:avLst/>
              <a:gdLst>
                <a:gd name="connsiteX0" fmla="*/ 1639597 w 1639597"/>
                <a:gd name="connsiteY0" fmla="*/ 0 h 356915"/>
                <a:gd name="connsiteX1" fmla="*/ 1554137 w 1639597"/>
                <a:gd name="connsiteY1" fmla="*/ 356915 h 356915"/>
                <a:gd name="connsiteX2" fmla="*/ 0 w 1639597"/>
                <a:gd name="connsiteY2" fmla="*/ 356915 h 356915"/>
              </a:gdLst>
              <a:ahLst/>
              <a:cxnLst>
                <a:cxn ang="0">
                  <a:pos x="connsiteX0" y="connsiteY0"/>
                </a:cxn>
                <a:cxn ang="0">
                  <a:pos x="connsiteX1" y="connsiteY1"/>
                </a:cxn>
                <a:cxn ang="0">
                  <a:pos x="connsiteX2" y="connsiteY2"/>
                </a:cxn>
              </a:cxnLst>
              <a:rect l="l" t="t" r="r" b="b"/>
              <a:pathLst>
                <a:path w="1639597" h="356915">
                  <a:moveTo>
                    <a:pt x="1639597" y="0"/>
                  </a:moveTo>
                  <a:lnTo>
                    <a:pt x="1554137" y="356915"/>
                  </a:lnTo>
                  <a:lnTo>
                    <a:pt x="0" y="356915"/>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685800" eaLnBrk="1" fontAlgn="auto" hangingPunct="1">
                <a:spcBef>
                  <a:spcPts val="0"/>
                </a:spcBef>
                <a:spcAft>
                  <a:spcPts val="0"/>
                </a:spcAft>
                <a:defRPr/>
              </a:pPr>
              <a:endParaRPr lang="en-US" sz="1350" dirty="0">
                <a:solidFill>
                  <a:schemeClr val="accent2"/>
                </a:solidFill>
                <a:latin typeface="Calibri"/>
              </a:endParaRPr>
            </a:p>
          </p:txBody>
        </p:sp>
      </p:grpSp>
      <p:sp>
        <p:nvSpPr>
          <p:cNvPr id="311" name="Arrow13">
            <a:extLst>
              <a:ext uri="{FF2B5EF4-FFF2-40B4-BE49-F238E27FC236}">
                <a16:creationId xmlns:a16="http://schemas.microsoft.com/office/drawing/2014/main" id="{CE44D9EB-1632-43FD-A949-C1030703B984}"/>
              </a:ext>
            </a:extLst>
          </p:cNvPr>
          <p:cNvSpPr>
            <a:spLocks noChangeAspect="1"/>
          </p:cNvSpPr>
          <p:nvPr>
            <p:custDataLst>
              <p:tags r:id="rId9"/>
            </p:custDataLst>
          </p:nvPr>
        </p:nvSpPr>
        <p:spPr bwMode="auto">
          <a:xfrm rot="2929849">
            <a:off x="1952625" y="3130550"/>
            <a:ext cx="387350" cy="406400"/>
          </a:xfrm>
          <a:custGeom>
            <a:avLst/>
            <a:gdLst>
              <a:gd name="T0" fmla="*/ 377 w 644"/>
              <a:gd name="T1" fmla="*/ 37 h 676"/>
              <a:gd name="T2" fmla="*/ 268 w 644"/>
              <a:gd name="T3" fmla="*/ 37 h 676"/>
              <a:gd name="T4" fmla="*/ 30 w 644"/>
              <a:gd name="T5" fmla="*/ 340 h 676"/>
              <a:gd name="T6" fmla="*/ 58 w 644"/>
              <a:gd name="T7" fmla="*/ 409 h 676"/>
              <a:gd name="T8" fmla="*/ 189 w 644"/>
              <a:gd name="T9" fmla="*/ 409 h 676"/>
              <a:gd name="T10" fmla="*/ 189 w 644"/>
              <a:gd name="T11" fmla="*/ 609 h 676"/>
              <a:gd name="T12" fmla="*/ 256 w 644"/>
              <a:gd name="T13" fmla="*/ 676 h 676"/>
              <a:gd name="T14" fmla="*/ 389 w 644"/>
              <a:gd name="T15" fmla="*/ 676 h 676"/>
              <a:gd name="T16" fmla="*/ 456 w 644"/>
              <a:gd name="T17" fmla="*/ 609 h 676"/>
              <a:gd name="T18" fmla="*/ 456 w 644"/>
              <a:gd name="T19" fmla="*/ 409 h 676"/>
              <a:gd name="T20" fmla="*/ 586 w 644"/>
              <a:gd name="T21" fmla="*/ 409 h 676"/>
              <a:gd name="T22" fmla="*/ 614 w 644"/>
              <a:gd name="T23" fmla="*/ 340 h 676"/>
              <a:gd name="T24" fmla="*/ 377 w 644"/>
              <a:gd name="T25" fmla="*/ 3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4" h="676">
                <a:moveTo>
                  <a:pt x="377" y="37"/>
                </a:moveTo>
                <a:cubicBezTo>
                  <a:pt x="347" y="0"/>
                  <a:pt x="298" y="0"/>
                  <a:pt x="268" y="37"/>
                </a:cubicBezTo>
                <a:lnTo>
                  <a:pt x="30" y="340"/>
                </a:lnTo>
                <a:cubicBezTo>
                  <a:pt x="0" y="378"/>
                  <a:pt x="13" y="409"/>
                  <a:pt x="58" y="409"/>
                </a:cubicBezTo>
                <a:lnTo>
                  <a:pt x="189" y="409"/>
                </a:lnTo>
                <a:lnTo>
                  <a:pt x="189" y="609"/>
                </a:lnTo>
                <a:cubicBezTo>
                  <a:pt x="189" y="646"/>
                  <a:pt x="219" y="676"/>
                  <a:pt x="256" y="676"/>
                </a:cubicBezTo>
                <a:lnTo>
                  <a:pt x="389" y="676"/>
                </a:lnTo>
                <a:cubicBezTo>
                  <a:pt x="426" y="676"/>
                  <a:pt x="456" y="646"/>
                  <a:pt x="456" y="609"/>
                </a:cubicBezTo>
                <a:lnTo>
                  <a:pt x="456" y="409"/>
                </a:lnTo>
                <a:lnTo>
                  <a:pt x="586" y="409"/>
                </a:lnTo>
                <a:cubicBezTo>
                  <a:pt x="632" y="409"/>
                  <a:pt x="644" y="378"/>
                  <a:pt x="614" y="340"/>
                </a:cubicBezTo>
                <a:lnTo>
                  <a:pt x="377" y="37"/>
                </a:lnTo>
                <a:close/>
              </a:path>
            </a:pathLst>
          </a:custGeom>
          <a:solidFill>
            <a:schemeClr val="accent1"/>
          </a:solid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312" name="Arrow13">
            <a:extLst>
              <a:ext uri="{FF2B5EF4-FFF2-40B4-BE49-F238E27FC236}">
                <a16:creationId xmlns:a16="http://schemas.microsoft.com/office/drawing/2014/main" id="{4377151C-D902-4605-8113-F8FDB842E910}"/>
              </a:ext>
            </a:extLst>
          </p:cNvPr>
          <p:cNvSpPr>
            <a:spLocks noChangeAspect="1"/>
          </p:cNvSpPr>
          <p:nvPr>
            <p:custDataLst>
              <p:tags r:id="rId10"/>
            </p:custDataLst>
          </p:nvPr>
        </p:nvSpPr>
        <p:spPr bwMode="auto">
          <a:xfrm rot="5400000">
            <a:off x="1944688" y="3729038"/>
            <a:ext cx="387350" cy="406400"/>
          </a:xfrm>
          <a:custGeom>
            <a:avLst/>
            <a:gdLst>
              <a:gd name="T0" fmla="*/ 377 w 644"/>
              <a:gd name="T1" fmla="*/ 37 h 676"/>
              <a:gd name="T2" fmla="*/ 268 w 644"/>
              <a:gd name="T3" fmla="*/ 37 h 676"/>
              <a:gd name="T4" fmla="*/ 30 w 644"/>
              <a:gd name="T5" fmla="*/ 340 h 676"/>
              <a:gd name="T6" fmla="*/ 58 w 644"/>
              <a:gd name="T7" fmla="*/ 409 h 676"/>
              <a:gd name="T8" fmla="*/ 189 w 644"/>
              <a:gd name="T9" fmla="*/ 409 h 676"/>
              <a:gd name="T10" fmla="*/ 189 w 644"/>
              <a:gd name="T11" fmla="*/ 609 h 676"/>
              <a:gd name="T12" fmla="*/ 256 w 644"/>
              <a:gd name="T13" fmla="*/ 676 h 676"/>
              <a:gd name="T14" fmla="*/ 389 w 644"/>
              <a:gd name="T15" fmla="*/ 676 h 676"/>
              <a:gd name="T16" fmla="*/ 456 w 644"/>
              <a:gd name="T17" fmla="*/ 609 h 676"/>
              <a:gd name="T18" fmla="*/ 456 w 644"/>
              <a:gd name="T19" fmla="*/ 409 h 676"/>
              <a:gd name="T20" fmla="*/ 586 w 644"/>
              <a:gd name="T21" fmla="*/ 409 h 676"/>
              <a:gd name="T22" fmla="*/ 614 w 644"/>
              <a:gd name="T23" fmla="*/ 340 h 676"/>
              <a:gd name="T24" fmla="*/ 377 w 644"/>
              <a:gd name="T25" fmla="*/ 3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4" h="676">
                <a:moveTo>
                  <a:pt x="377" y="37"/>
                </a:moveTo>
                <a:cubicBezTo>
                  <a:pt x="347" y="0"/>
                  <a:pt x="298" y="0"/>
                  <a:pt x="268" y="37"/>
                </a:cubicBezTo>
                <a:lnTo>
                  <a:pt x="30" y="340"/>
                </a:lnTo>
                <a:cubicBezTo>
                  <a:pt x="0" y="378"/>
                  <a:pt x="13" y="409"/>
                  <a:pt x="58" y="409"/>
                </a:cubicBezTo>
                <a:lnTo>
                  <a:pt x="189" y="409"/>
                </a:lnTo>
                <a:lnTo>
                  <a:pt x="189" y="609"/>
                </a:lnTo>
                <a:cubicBezTo>
                  <a:pt x="189" y="646"/>
                  <a:pt x="219" y="676"/>
                  <a:pt x="256" y="676"/>
                </a:cubicBezTo>
                <a:lnTo>
                  <a:pt x="389" y="676"/>
                </a:lnTo>
                <a:cubicBezTo>
                  <a:pt x="426" y="676"/>
                  <a:pt x="456" y="646"/>
                  <a:pt x="456" y="609"/>
                </a:cubicBezTo>
                <a:lnTo>
                  <a:pt x="456" y="409"/>
                </a:lnTo>
                <a:lnTo>
                  <a:pt x="586" y="409"/>
                </a:lnTo>
                <a:cubicBezTo>
                  <a:pt x="632" y="409"/>
                  <a:pt x="644" y="378"/>
                  <a:pt x="614" y="340"/>
                </a:cubicBezTo>
                <a:lnTo>
                  <a:pt x="377" y="37"/>
                </a:lnTo>
                <a:close/>
              </a:path>
            </a:pathLst>
          </a:custGeom>
          <a:solidFill>
            <a:schemeClr val="accent1"/>
          </a:solid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313" name="Arrow13">
            <a:extLst>
              <a:ext uri="{FF2B5EF4-FFF2-40B4-BE49-F238E27FC236}">
                <a16:creationId xmlns:a16="http://schemas.microsoft.com/office/drawing/2014/main" id="{E6132108-0777-45F8-A127-1851B5135D94}"/>
              </a:ext>
            </a:extLst>
          </p:cNvPr>
          <p:cNvSpPr>
            <a:spLocks noChangeAspect="1"/>
          </p:cNvSpPr>
          <p:nvPr>
            <p:custDataLst>
              <p:tags r:id="rId11"/>
            </p:custDataLst>
          </p:nvPr>
        </p:nvSpPr>
        <p:spPr bwMode="auto">
          <a:xfrm rot="7729841">
            <a:off x="1944688" y="4348163"/>
            <a:ext cx="387350" cy="406400"/>
          </a:xfrm>
          <a:custGeom>
            <a:avLst/>
            <a:gdLst>
              <a:gd name="T0" fmla="*/ 377 w 644"/>
              <a:gd name="T1" fmla="*/ 37 h 676"/>
              <a:gd name="T2" fmla="*/ 268 w 644"/>
              <a:gd name="T3" fmla="*/ 37 h 676"/>
              <a:gd name="T4" fmla="*/ 30 w 644"/>
              <a:gd name="T5" fmla="*/ 340 h 676"/>
              <a:gd name="T6" fmla="*/ 58 w 644"/>
              <a:gd name="T7" fmla="*/ 409 h 676"/>
              <a:gd name="T8" fmla="*/ 189 w 644"/>
              <a:gd name="T9" fmla="*/ 409 h 676"/>
              <a:gd name="T10" fmla="*/ 189 w 644"/>
              <a:gd name="T11" fmla="*/ 609 h 676"/>
              <a:gd name="T12" fmla="*/ 256 w 644"/>
              <a:gd name="T13" fmla="*/ 676 h 676"/>
              <a:gd name="T14" fmla="*/ 389 w 644"/>
              <a:gd name="T15" fmla="*/ 676 h 676"/>
              <a:gd name="T16" fmla="*/ 456 w 644"/>
              <a:gd name="T17" fmla="*/ 609 h 676"/>
              <a:gd name="T18" fmla="*/ 456 w 644"/>
              <a:gd name="T19" fmla="*/ 409 h 676"/>
              <a:gd name="T20" fmla="*/ 586 w 644"/>
              <a:gd name="T21" fmla="*/ 409 h 676"/>
              <a:gd name="T22" fmla="*/ 614 w 644"/>
              <a:gd name="T23" fmla="*/ 340 h 676"/>
              <a:gd name="T24" fmla="*/ 377 w 644"/>
              <a:gd name="T25" fmla="*/ 3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4" h="676">
                <a:moveTo>
                  <a:pt x="377" y="37"/>
                </a:moveTo>
                <a:cubicBezTo>
                  <a:pt x="347" y="0"/>
                  <a:pt x="298" y="0"/>
                  <a:pt x="268" y="37"/>
                </a:cubicBezTo>
                <a:lnTo>
                  <a:pt x="30" y="340"/>
                </a:lnTo>
                <a:cubicBezTo>
                  <a:pt x="0" y="378"/>
                  <a:pt x="13" y="409"/>
                  <a:pt x="58" y="409"/>
                </a:cubicBezTo>
                <a:lnTo>
                  <a:pt x="189" y="409"/>
                </a:lnTo>
                <a:lnTo>
                  <a:pt x="189" y="609"/>
                </a:lnTo>
                <a:cubicBezTo>
                  <a:pt x="189" y="646"/>
                  <a:pt x="219" y="676"/>
                  <a:pt x="256" y="676"/>
                </a:cubicBezTo>
                <a:lnTo>
                  <a:pt x="389" y="676"/>
                </a:lnTo>
                <a:cubicBezTo>
                  <a:pt x="426" y="676"/>
                  <a:pt x="456" y="646"/>
                  <a:pt x="456" y="609"/>
                </a:cubicBezTo>
                <a:lnTo>
                  <a:pt x="456" y="409"/>
                </a:lnTo>
                <a:lnTo>
                  <a:pt x="586" y="409"/>
                </a:lnTo>
                <a:cubicBezTo>
                  <a:pt x="632" y="409"/>
                  <a:pt x="644" y="378"/>
                  <a:pt x="614" y="340"/>
                </a:cubicBezTo>
                <a:lnTo>
                  <a:pt x="377" y="37"/>
                </a:lnTo>
                <a:close/>
              </a:path>
            </a:pathLst>
          </a:custGeom>
          <a:solidFill>
            <a:schemeClr val="accent1"/>
          </a:solid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314" name="Arrow13">
            <a:extLst>
              <a:ext uri="{FF2B5EF4-FFF2-40B4-BE49-F238E27FC236}">
                <a16:creationId xmlns:a16="http://schemas.microsoft.com/office/drawing/2014/main" id="{351ABE2E-9C49-49CF-AE4F-2289F3B3D2B8}"/>
              </a:ext>
            </a:extLst>
          </p:cNvPr>
          <p:cNvSpPr>
            <a:spLocks noChangeAspect="1"/>
          </p:cNvSpPr>
          <p:nvPr>
            <p:custDataLst>
              <p:tags r:id="rId12"/>
            </p:custDataLst>
          </p:nvPr>
        </p:nvSpPr>
        <p:spPr bwMode="auto">
          <a:xfrm rot="8090022">
            <a:off x="3248819" y="3201194"/>
            <a:ext cx="387350" cy="407988"/>
          </a:xfrm>
          <a:custGeom>
            <a:avLst/>
            <a:gdLst>
              <a:gd name="T0" fmla="*/ 377 w 644"/>
              <a:gd name="T1" fmla="*/ 37 h 676"/>
              <a:gd name="T2" fmla="*/ 268 w 644"/>
              <a:gd name="T3" fmla="*/ 37 h 676"/>
              <a:gd name="T4" fmla="*/ 30 w 644"/>
              <a:gd name="T5" fmla="*/ 340 h 676"/>
              <a:gd name="T6" fmla="*/ 58 w 644"/>
              <a:gd name="T7" fmla="*/ 409 h 676"/>
              <a:gd name="T8" fmla="*/ 189 w 644"/>
              <a:gd name="T9" fmla="*/ 409 h 676"/>
              <a:gd name="T10" fmla="*/ 189 w 644"/>
              <a:gd name="T11" fmla="*/ 609 h 676"/>
              <a:gd name="T12" fmla="*/ 256 w 644"/>
              <a:gd name="T13" fmla="*/ 676 h 676"/>
              <a:gd name="T14" fmla="*/ 389 w 644"/>
              <a:gd name="T15" fmla="*/ 676 h 676"/>
              <a:gd name="T16" fmla="*/ 456 w 644"/>
              <a:gd name="T17" fmla="*/ 609 h 676"/>
              <a:gd name="T18" fmla="*/ 456 w 644"/>
              <a:gd name="T19" fmla="*/ 409 h 676"/>
              <a:gd name="T20" fmla="*/ 586 w 644"/>
              <a:gd name="T21" fmla="*/ 409 h 676"/>
              <a:gd name="T22" fmla="*/ 614 w 644"/>
              <a:gd name="T23" fmla="*/ 340 h 676"/>
              <a:gd name="T24" fmla="*/ 377 w 644"/>
              <a:gd name="T25" fmla="*/ 3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4" h="676">
                <a:moveTo>
                  <a:pt x="377" y="37"/>
                </a:moveTo>
                <a:cubicBezTo>
                  <a:pt x="347" y="0"/>
                  <a:pt x="298" y="0"/>
                  <a:pt x="268" y="37"/>
                </a:cubicBezTo>
                <a:lnTo>
                  <a:pt x="30" y="340"/>
                </a:lnTo>
                <a:cubicBezTo>
                  <a:pt x="0" y="378"/>
                  <a:pt x="13" y="409"/>
                  <a:pt x="58" y="409"/>
                </a:cubicBezTo>
                <a:lnTo>
                  <a:pt x="189" y="409"/>
                </a:lnTo>
                <a:lnTo>
                  <a:pt x="189" y="609"/>
                </a:lnTo>
                <a:cubicBezTo>
                  <a:pt x="189" y="646"/>
                  <a:pt x="219" y="676"/>
                  <a:pt x="256" y="676"/>
                </a:cubicBezTo>
                <a:lnTo>
                  <a:pt x="389" y="676"/>
                </a:lnTo>
                <a:cubicBezTo>
                  <a:pt x="426" y="676"/>
                  <a:pt x="456" y="646"/>
                  <a:pt x="456" y="609"/>
                </a:cubicBezTo>
                <a:lnTo>
                  <a:pt x="456" y="409"/>
                </a:lnTo>
                <a:lnTo>
                  <a:pt x="586" y="409"/>
                </a:lnTo>
                <a:cubicBezTo>
                  <a:pt x="632" y="409"/>
                  <a:pt x="644" y="378"/>
                  <a:pt x="614" y="340"/>
                </a:cubicBezTo>
                <a:lnTo>
                  <a:pt x="377" y="37"/>
                </a:lnTo>
                <a:close/>
              </a:path>
            </a:pathLst>
          </a:custGeom>
          <a:solidFill>
            <a:schemeClr val="accent1"/>
          </a:solid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315" name="Arrow13">
            <a:extLst>
              <a:ext uri="{FF2B5EF4-FFF2-40B4-BE49-F238E27FC236}">
                <a16:creationId xmlns:a16="http://schemas.microsoft.com/office/drawing/2014/main" id="{E80E1066-ACE2-461C-972D-BF9598CC720A}"/>
              </a:ext>
            </a:extLst>
          </p:cNvPr>
          <p:cNvSpPr>
            <a:spLocks noChangeAspect="1"/>
          </p:cNvSpPr>
          <p:nvPr>
            <p:custDataLst>
              <p:tags r:id="rId13"/>
            </p:custDataLst>
          </p:nvPr>
        </p:nvSpPr>
        <p:spPr bwMode="auto">
          <a:xfrm rot="5400000">
            <a:off x="3459957" y="3680619"/>
            <a:ext cx="387350" cy="407987"/>
          </a:xfrm>
          <a:custGeom>
            <a:avLst/>
            <a:gdLst>
              <a:gd name="T0" fmla="*/ 377 w 644"/>
              <a:gd name="T1" fmla="*/ 37 h 676"/>
              <a:gd name="T2" fmla="*/ 268 w 644"/>
              <a:gd name="T3" fmla="*/ 37 h 676"/>
              <a:gd name="T4" fmla="*/ 30 w 644"/>
              <a:gd name="T5" fmla="*/ 340 h 676"/>
              <a:gd name="T6" fmla="*/ 58 w 644"/>
              <a:gd name="T7" fmla="*/ 409 h 676"/>
              <a:gd name="T8" fmla="*/ 189 w 644"/>
              <a:gd name="T9" fmla="*/ 409 h 676"/>
              <a:gd name="T10" fmla="*/ 189 w 644"/>
              <a:gd name="T11" fmla="*/ 609 h 676"/>
              <a:gd name="T12" fmla="*/ 256 w 644"/>
              <a:gd name="T13" fmla="*/ 676 h 676"/>
              <a:gd name="T14" fmla="*/ 389 w 644"/>
              <a:gd name="T15" fmla="*/ 676 h 676"/>
              <a:gd name="T16" fmla="*/ 456 w 644"/>
              <a:gd name="T17" fmla="*/ 609 h 676"/>
              <a:gd name="T18" fmla="*/ 456 w 644"/>
              <a:gd name="T19" fmla="*/ 409 h 676"/>
              <a:gd name="T20" fmla="*/ 586 w 644"/>
              <a:gd name="T21" fmla="*/ 409 h 676"/>
              <a:gd name="T22" fmla="*/ 614 w 644"/>
              <a:gd name="T23" fmla="*/ 340 h 676"/>
              <a:gd name="T24" fmla="*/ 377 w 644"/>
              <a:gd name="T25" fmla="*/ 3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4" h="676">
                <a:moveTo>
                  <a:pt x="377" y="37"/>
                </a:moveTo>
                <a:cubicBezTo>
                  <a:pt x="347" y="0"/>
                  <a:pt x="298" y="0"/>
                  <a:pt x="268" y="37"/>
                </a:cubicBezTo>
                <a:lnTo>
                  <a:pt x="30" y="340"/>
                </a:lnTo>
                <a:cubicBezTo>
                  <a:pt x="0" y="378"/>
                  <a:pt x="13" y="409"/>
                  <a:pt x="58" y="409"/>
                </a:cubicBezTo>
                <a:lnTo>
                  <a:pt x="189" y="409"/>
                </a:lnTo>
                <a:lnTo>
                  <a:pt x="189" y="609"/>
                </a:lnTo>
                <a:cubicBezTo>
                  <a:pt x="189" y="646"/>
                  <a:pt x="219" y="676"/>
                  <a:pt x="256" y="676"/>
                </a:cubicBezTo>
                <a:lnTo>
                  <a:pt x="389" y="676"/>
                </a:lnTo>
                <a:cubicBezTo>
                  <a:pt x="426" y="676"/>
                  <a:pt x="456" y="646"/>
                  <a:pt x="456" y="609"/>
                </a:cubicBezTo>
                <a:lnTo>
                  <a:pt x="456" y="409"/>
                </a:lnTo>
                <a:lnTo>
                  <a:pt x="586" y="409"/>
                </a:lnTo>
                <a:cubicBezTo>
                  <a:pt x="632" y="409"/>
                  <a:pt x="644" y="378"/>
                  <a:pt x="614" y="340"/>
                </a:cubicBezTo>
                <a:lnTo>
                  <a:pt x="377" y="37"/>
                </a:lnTo>
                <a:close/>
              </a:path>
            </a:pathLst>
          </a:custGeom>
          <a:solidFill>
            <a:schemeClr val="accent1"/>
          </a:solid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316" name="Arrow13">
            <a:extLst>
              <a:ext uri="{FF2B5EF4-FFF2-40B4-BE49-F238E27FC236}">
                <a16:creationId xmlns:a16="http://schemas.microsoft.com/office/drawing/2014/main" id="{0DBE8594-95E8-4872-9963-CFBA1A5FD98D}"/>
              </a:ext>
            </a:extLst>
          </p:cNvPr>
          <p:cNvSpPr>
            <a:spLocks noChangeAspect="1"/>
          </p:cNvSpPr>
          <p:nvPr>
            <p:custDataLst>
              <p:tags r:id="rId14"/>
            </p:custDataLst>
          </p:nvPr>
        </p:nvSpPr>
        <p:spPr bwMode="auto">
          <a:xfrm rot="2929849">
            <a:off x="3225800" y="4175125"/>
            <a:ext cx="387350" cy="406400"/>
          </a:xfrm>
          <a:custGeom>
            <a:avLst/>
            <a:gdLst>
              <a:gd name="T0" fmla="*/ 377 w 644"/>
              <a:gd name="T1" fmla="*/ 37 h 676"/>
              <a:gd name="T2" fmla="*/ 268 w 644"/>
              <a:gd name="T3" fmla="*/ 37 h 676"/>
              <a:gd name="T4" fmla="*/ 30 w 644"/>
              <a:gd name="T5" fmla="*/ 340 h 676"/>
              <a:gd name="T6" fmla="*/ 58 w 644"/>
              <a:gd name="T7" fmla="*/ 409 h 676"/>
              <a:gd name="T8" fmla="*/ 189 w 644"/>
              <a:gd name="T9" fmla="*/ 409 h 676"/>
              <a:gd name="T10" fmla="*/ 189 w 644"/>
              <a:gd name="T11" fmla="*/ 609 h 676"/>
              <a:gd name="T12" fmla="*/ 256 w 644"/>
              <a:gd name="T13" fmla="*/ 676 h 676"/>
              <a:gd name="T14" fmla="*/ 389 w 644"/>
              <a:gd name="T15" fmla="*/ 676 h 676"/>
              <a:gd name="T16" fmla="*/ 456 w 644"/>
              <a:gd name="T17" fmla="*/ 609 h 676"/>
              <a:gd name="T18" fmla="*/ 456 w 644"/>
              <a:gd name="T19" fmla="*/ 409 h 676"/>
              <a:gd name="T20" fmla="*/ 586 w 644"/>
              <a:gd name="T21" fmla="*/ 409 h 676"/>
              <a:gd name="T22" fmla="*/ 614 w 644"/>
              <a:gd name="T23" fmla="*/ 340 h 676"/>
              <a:gd name="T24" fmla="*/ 377 w 644"/>
              <a:gd name="T25" fmla="*/ 3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4" h="676">
                <a:moveTo>
                  <a:pt x="377" y="37"/>
                </a:moveTo>
                <a:cubicBezTo>
                  <a:pt x="347" y="0"/>
                  <a:pt x="298" y="0"/>
                  <a:pt x="268" y="37"/>
                </a:cubicBezTo>
                <a:lnTo>
                  <a:pt x="30" y="340"/>
                </a:lnTo>
                <a:cubicBezTo>
                  <a:pt x="0" y="378"/>
                  <a:pt x="13" y="409"/>
                  <a:pt x="58" y="409"/>
                </a:cubicBezTo>
                <a:lnTo>
                  <a:pt x="189" y="409"/>
                </a:lnTo>
                <a:lnTo>
                  <a:pt x="189" y="609"/>
                </a:lnTo>
                <a:cubicBezTo>
                  <a:pt x="189" y="646"/>
                  <a:pt x="219" y="676"/>
                  <a:pt x="256" y="676"/>
                </a:cubicBezTo>
                <a:lnTo>
                  <a:pt x="389" y="676"/>
                </a:lnTo>
                <a:cubicBezTo>
                  <a:pt x="426" y="676"/>
                  <a:pt x="456" y="646"/>
                  <a:pt x="456" y="609"/>
                </a:cubicBezTo>
                <a:lnTo>
                  <a:pt x="456" y="409"/>
                </a:lnTo>
                <a:lnTo>
                  <a:pt x="586" y="409"/>
                </a:lnTo>
                <a:cubicBezTo>
                  <a:pt x="632" y="409"/>
                  <a:pt x="644" y="378"/>
                  <a:pt x="614" y="340"/>
                </a:cubicBezTo>
                <a:lnTo>
                  <a:pt x="377" y="37"/>
                </a:lnTo>
                <a:close/>
              </a:path>
            </a:pathLst>
          </a:custGeom>
          <a:solidFill>
            <a:schemeClr val="accent1"/>
          </a:solid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317" name="Arrow13">
            <a:extLst>
              <a:ext uri="{FF2B5EF4-FFF2-40B4-BE49-F238E27FC236}">
                <a16:creationId xmlns:a16="http://schemas.microsoft.com/office/drawing/2014/main" id="{0672CC11-125E-438D-AD34-A05865AE2E55}"/>
              </a:ext>
            </a:extLst>
          </p:cNvPr>
          <p:cNvSpPr>
            <a:spLocks noChangeAspect="1"/>
          </p:cNvSpPr>
          <p:nvPr>
            <p:custDataLst>
              <p:tags r:id="rId15"/>
            </p:custDataLst>
          </p:nvPr>
        </p:nvSpPr>
        <p:spPr bwMode="auto">
          <a:xfrm rot="10800000">
            <a:off x="1239838" y="2986088"/>
            <a:ext cx="387350" cy="406400"/>
          </a:xfrm>
          <a:custGeom>
            <a:avLst/>
            <a:gdLst>
              <a:gd name="T0" fmla="*/ 377 w 644"/>
              <a:gd name="T1" fmla="*/ 37 h 676"/>
              <a:gd name="T2" fmla="*/ 268 w 644"/>
              <a:gd name="T3" fmla="*/ 37 h 676"/>
              <a:gd name="T4" fmla="*/ 30 w 644"/>
              <a:gd name="T5" fmla="*/ 340 h 676"/>
              <a:gd name="T6" fmla="*/ 58 w 644"/>
              <a:gd name="T7" fmla="*/ 409 h 676"/>
              <a:gd name="T8" fmla="*/ 189 w 644"/>
              <a:gd name="T9" fmla="*/ 409 h 676"/>
              <a:gd name="T10" fmla="*/ 189 w 644"/>
              <a:gd name="T11" fmla="*/ 609 h 676"/>
              <a:gd name="T12" fmla="*/ 256 w 644"/>
              <a:gd name="T13" fmla="*/ 676 h 676"/>
              <a:gd name="T14" fmla="*/ 389 w 644"/>
              <a:gd name="T15" fmla="*/ 676 h 676"/>
              <a:gd name="T16" fmla="*/ 456 w 644"/>
              <a:gd name="T17" fmla="*/ 609 h 676"/>
              <a:gd name="T18" fmla="*/ 456 w 644"/>
              <a:gd name="T19" fmla="*/ 409 h 676"/>
              <a:gd name="T20" fmla="*/ 586 w 644"/>
              <a:gd name="T21" fmla="*/ 409 h 676"/>
              <a:gd name="T22" fmla="*/ 614 w 644"/>
              <a:gd name="T23" fmla="*/ 340 h 676"/>
              <a:gd name="T24" fmla="*/ 377 w 644"/>
              <a:gd name="T25" fmla="*/ 3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4" h="676">
                <a:moveTo>
                  <a:pt x="377" y="37"/>
                </a:moveTo>
                <a:cubicBezTo>
                  <a:pt x="347" y="0"/>
                  <a:pt x="298" y="0"/>
                  <a:pt x="268" y="37"/>
                </a:cubicBezTo>
                <a:lnTo>
                  <a:pt x="30" y="340"/>
                </a:lnTo>
                <a:cubicBezTo>
                  <a:pt x="0" y="378"/>
                  <a:pt x="13" y="409"/>
                  <a:pt x="58" y="409"/>
                </a:cubicBezTo>
                <a:lnTo>
                  <a:pt x="189" y="409"/>
                </a:lnTo>
                <a:lnTo>
                  <a:pt x="189" y="609"/>
                </a:lnTo>
                <a:cubicBezTo>
                  <a:pt x="189" y="646"/>
                  <a:pt x="219" y="676"/>
                  <a:pt x="256" y="676"/>
                </a:cubicBezTo>
                <a:lnTo>
                  <a:pt x="389" y="676"/>
                </a:lnTo>
                <a:cubicBezTo>
                  <a:pt x="426" y="676"/>
                  <a:pt x="456" y="646"/>
                  <a:pt x="456" y="609"/>
                </a:cubicBezTo>
                <a:lnTo>
                  <a:pt x="456" y="409"/>
                </a:lnTo>
                <a:lnTo>
                  <a:pt x="586" y="409"/>
                </a:lnTo>
                <a:cubicBezTo>
                  <a:pt x="632" y="409"/>
                  <a:pt x="644" y="378"/>
                  <a:pt x="614" y="340"/>
                </a:cubicBezTo>
                <a:lnTo>
                  <a:pt x="377" y="37"/>
                </a:lnTo>
                <a:close/>
              </a:path>
            </a:pathLst>
          </a:custGeom>
          <a:solidFill>
            <a:schemeClr val="accent1"/>
          </a:solid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grpSp>
        <p:nvGrpSpPr>
          <p:cNvPr id="318" name="Book7">
            <a:extLst>
              <a:ext uri="{FF2B5EF4-FFF2-40B4-BE49-F238E27FC236}">
                <a16:creationId xmlns:a16="http://schemas.microsoft.com/office/drawing/2014/main" id="{52CA62F8-80C9-4DC4-AD1F-1D684A92BE9A}"/>
              </a:ext>
            </a:extLst>
          </p:cNvPr>
          <p:cNvGrpSpPr>
            <a:grpSpLocks noChangeAspect="1"/>
          </p:cNvGrpSpPr>
          <p:nvPr>
            <p:custDataLst>
              <p:tags r:id="rId16"/>
            </p:custDataLst>
          </p:nvPr>
        </p:nvGrpSpPr>
        <p:grpSpPr>
          <a:xfrm>
            <a:off x="5990223" y="4272683"/>
            <a:ext cx="674577" cy="960201"/>
            <a:chOff x="2501737" y="2418754"/>
            <a:chExt cx="1625078" cy="2024359"/>
          </a:xfrm>
          <a:solidFill>
            <a:schemeClr val="accent1"/>
          </a:solidFill>
        </p:grpSpPr>
        <p:sp>
          <p:nvSpPr>
            <p:cNvPr id="319" name="Freeform: Shape 1816">
              <a:extLst>
                <a:ext uri="{FF2B5EF4-FFF2-40B4-BE49-F238E27FC236}">
                  <a16:creationId xmlns:a16="http://schemas.microsoft.com/office/drawing/2014/main" id="{730115E5-D4B0-4B64-86AB-CDAF9CEB9364}"/>
                </a:ext>
              </a:extLst>
            </p:cNvPr>
            <p:cNvSpPr>
              <a:spLocks/>
            </p:cNvSpPr>
            <p:nvPr/>
          </p:nvSpPr>
          <p:spPr bwMode="auto">
            <a:xfrm>
              <a:off x="2501737" y="2418754"/>
              <a:ext cx="1625078" cy="1914846"/>
            </a:xfrm>
            <a:custGeom>
              <a:avLst/>
              <a:gdLst>
                <a:gd name="connsiteX0" fmla="*/ 1469045 w 1625078"/>
                <a:gd name="connsiteY0" fmla="*/ 312436 h 1914846"/>
                <a:gd name="connsiteX1" fmla="*/ 1469052 w 1625078"/>
                <a:gd name="connsiteY1" fmla="*/ 312478 h 1914846"/>
                <a:gd name="connsiteX2" fmla="*/ 1459711 w 1625078"/>
                <a:gd name="connsiteY2" fmla="*/ 332733 h 1914846"/>
                <a:gd name="connsiteX3" fmla="*/ 1425650 w 1625078"/>
                <a:gd name="connsiteY3" fmla="*/ 345127 h 1914846"/>
                <a:gd name="connsiteX4" fmla="*/ 1425574 w 1625078"/>
                <a:gd name="connsiteY4" fmla="*/ 344989 h 1914846"/>
                <a:gd name="connsiteX5" fmla="*/ 1459799 w 1625078"/>
                <a:gd name="connsiteY5" fmla="*/ 332514 h 1914846"/>
                <a:gd name="connsiteX6" fmla="*/ 1466518 w 1625078"/>
                <a:gd name="connsiteY6" fmla="*/ 284541 h 1914846"/>
                <a:gd name="connsiteX7" fmla="*/ 1464497 w 1625078"/>
                <a:gd name="connsiteY7" fmla="*/ 285913 h 1914846"/>
                <a:gd name="connsiteX8" fmla="*/ 1464466 w 1625078"/>
                <a:gd name="connsiteY8" fmla="*/ 285735 h 1914846"/>
                <a:gd name="connsiteX9" fmla="*/ 1493178 w 1625078"/>
                <a:gd name="connsiteY9" fmla="*/ 225836 h 1914846"/>
                <a:gd name="connsiteX10" fmla="*/ 1493184 w 1625078"/>
                <a:gd name="connsiteY10" fmla="*/ 226008 h 1914846"/>
                <a:gd name="connsiteX11" fmla="*/ 1483156 w 1625078"/>
                <a:gd name="connsiteY11" fmla="*/ 246078 h 1914846"/>
                <a:gd name="connsiteX12" fmla="*/ 1483134 w 1625078"/>
                <a:gd name="connsiteY12" fmla="*/ 245973 h 1914846"/>
                <a:gd name="connsiteX13" fmla="*/ 1518134 w 1625078"/>
                <a:gd name="connsiteY13" fmla="*/ 191398 h 1914846"/>
                <a:gd name="connsiteX14" fmla="*/ 1518095 w 1625078"/>
                <a:gd name="connsiteY14" fmla="*/ 191731 h 1914846"/>
                <a:gd name="connsiteX15" fmla="*/ 1492478 w 1625078"/>
                <a:gd name="connsiteY15" fmla="*/ 203384 h 1914846"/>
                <a:gd name="connsiteX16" fmla="*/ 1492468 w 1625078"/>
                <a:gd name="connsiteY16" fmla="*/ 203092 h 1914846"/>
                <a:gd name="connsiteX17" fmla="*/ 1545283 w 1625078"/>
                <a:gd name="connsiteY17" fmla="*/ 150123 h 1914846"/>
                <a:gd name="connsiteX18" fmla="*/ 1545341 w 1625078"/>
                <a:gd name="connsiteY18" fmla="*/ 150444 h 1914846"/>
                <a:gd name="connsiteX19" fmla="*/ 1521209 w 1625078"/>
                <a:gd name="connsiteY19" fmla="*/ 165245 h 1914846"/>
                <a:gd name="connsiteX20" fmla="*/ 1519153 w 1625078"/>
                <a:gd name="connsiteY20" fmla="*/ 182735 h 1914846"/>
                <a:gd name="connsiteX21" fmla="*/ 1521247 w 1625078"/>
                <a:gd name="connsiteY21" fmla="*/ 164889 h 1914846"/>
                <a:gd name="connsiteX22" fmla="*/ 349375 w 1625078"/>
                <a:gd name="connsiteY22" fmla="*/ 0 h 1914846"/>
                <a:gd name="connsiteX23" fmla="*/ 1622745 w 1625078"/>
                <a:gd name="connsiteY23" fmla="*/ 0 h 1914846"/>
                <a:gd name="connsiteX24" fmla="*/ 1625078 w 1625078"/>
                <a:gd name="connsiteY24" fmla="*/ 1683381 h 1914846"/>
                <a:gd name="connsiteX25" fmla="*/ 1562370 w 1625078"/>
                <a:gd name="connsiteY25" fmla="*/ 1683381 h 1914846"/>
                <a:gd name="connsiteX26" fmla="*/ 1568695 w 1625078"/>
                <a:gd name="connsiteY26" fmla="*/ 1660172 h 1914846"/>
                <a:gd name="connsiteX27" fmla="*/ 1568695 w 1625078"/>
                <a:gd name="connsiteY27" fmla="*/ 63973 h 1914846"/>
                <a:gd name="connsiteX28" fmla="*/ 1562467 w 1625078"/>
                <a:gd name="connsiteY28" fmla="*/ 89681 h 1914846"/>
                <a:gd name="connsiteX29" fmla="*/ 1539928 w 1625078"/>
                <a:gd name="connsiteY29" fmla="*/ 102125 h 1914846"/>
                <a:gd name="connsiteX30" fmla="*/ 1539915 w 1625078"/>
                <a:gd name="connsiteY30" fmla="*/ 101737 h 1914846"/>
                <a:gd name="connsiteX31" fmla="*/ 1562473 w 1625078"/>
                <a:gd name="connsiteY31" fmla="*/ 89263 h 1914846"/>
                <a:gd name="connsiteX32" fmla="*/ 1568695 w 1625078"/>
                <a:gd name="connsiteY32" fmla="*/ 63534 h 1914846"/>
                <a:gd name="connsiteX33" fmla="*/ 358387 w 1625078"/>
                <a:gd name="connsiteY33" fmla="*/ 63534 h 1914846"/>
                <a:gd name="connsiteX34" fmla="*/ 28586 w 1625078"/>
                <a:gd name="connsiteY34" fmla="*/ 294311 h 1914846"/>
                <a:gd name="connsiteX35" fmla="*/ 206710 w 1625078"/>
                <a:gd name="connsiteY35" fmla="*/ 387090 h 1914846"/>
                <a:gd name="connsiteX36" fmla="*/ 1417018 w 1625078"/>
                <a:gd name="connsiteY36" fmla="*/ 387090 h 1914846"/>
                <a:gd name="connsiteX37" fmla="*/ 1440975 w 1625078"/>
                <a:gd name="connsiteY37" fmla="*/ 373147 h 1914846"/>
                <a:gd name="connsiteX38" fmla="*/ 1441027 w 1625078"/>
                <a:gd name="connsiteY38" fmla="*/ 373241 h 1914846"/>
                <a:gd name="connsiteX39" fmla="*/ 1416895 w 1625078"/>
                <a:gd name="connsiteY39" fmla="*/ 387264 h 1914846"/>
                <a:gd name="connsiteX40" fmla="*/ 1416895 w 1625078"/>
                <a:gd name="connsiteY40" fmla="*/ 1683381 h 1914846"/>
                <a:gd name="connsiteX41" fmla="*/ 349375 w 1625078"/>
                <a:gd name="connsiteY41" fmla="*/ 1683381 h 1914846"/>
                <a:gd name="connsiteX42" fmla="*/ 112 w 1625078"/>
                <a:gd name="connsiteY42" fmla="*/ 1914846 h 1914846"/>
                <a:gd name="connsiteX43" fmla="*/ 1668 w 1625078"/>
                <a:gd name="connsiteY43" fmla="*/ 243155 h 1914846"/>
                <a:gd name="connsiteX44" fmla="*/ 349375 w 1625078"/>
                <a:gd name="connsiteY44" fmla="*/ 0 h 1914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625078" h="1914846">
                  <a:moveTo>
                    <a:pt x="1469045" y="312436"/>
                  </a:moveTo>
                  <a:lnTo>
                    <a:pt x="1469052" y="312478"/>
                  </a:lnTo>
                  <a:lnTo>
                    <a:pt x="1459711" y="332733"/>
                  </a:lnTo>
                  <a:lnTo>
                    <a:pt x="1425650" y="345127"/>
                  </a:lnTo>
                  <a:lnTo>
                    <a:pt x="1425574" y="344989"/>
                  </a:lnTo>
                  <a:lnTo>
                    <a:pt x="1459799" y="332514"/>
                  </a:lnTo>
                  <a:close/>
                  <a:moveTo>
                    <a:pt x="1466518" y="284541"/>
                  </a:moveTo>
                  <a:lnTo>
                    <a:pt x="1464497" y="285913"/>
                  </a:lnTo>
                  <a:lnTo>
                    <a:pt x="1464466" y="285735"/>
                  </a:lnTo>
                  <a:close/>
                  <a:moveTo>
                    <a:pt x="1493178" y="225836"/>
                  </a:moveTo>
                  <a:lnTo>
                    <a:pt x="1493184" y="226008"/>
                  </a:lnTo>
                  <a:lnTo>
                    <a:pt x="1483156" y="246078"/>
                  </a:lnTo>
                  <a:lnTo>
                    <a:pt x="1483134" y="245973"/>
                  </a:lnTo>
                  <a:close/>
                  <a:moveTo>
                    <a:pt x="1518134" y="191398"/>
                  </a:moveTo>
                  <a:lnTo>
                    <a:pt x="1518095" y="191731"/>
                  </a:lnTo>
                  <a:lnTo>
                    <a:pt x="1492478" y="203384"/>
                  </a:lnTo>
                  <a:lnTo>
                    <a:pt x="1492468" y="203092"/>
                  </a:lnTo>
                  <a:close/>
                  <a:moveTo>
                    <a:pt x="1545283" y="150123"/>
                  </a:moveTo>
                  <a:lnTo>
                    <a:pt x="1545341" y="150444"/>
                  </a:lnTo>
                  <a:lnTo>
                    <a:pt x="1521209" y="165245"/>
                  </a:lnTo>
                  <a:lnTo>
                    <a:pt x="1519153" y="182735"/>
                  </a:lnTo>
                  <a:lnTo>
                    <a:pt x="1521247" y="164889"/>
                  </a:lnTo>
                  <a:close/>
                  <a:moveTo>
                    <a:pt x="349375" y="0"/>
                  </a:moveTo>
                  <a:lnTo>
                    <a:pt x="1622745" y="0"/>
                  </a:lnTo>
                  <a:lnTo>
                    <a:pt x="1625078" y="1683381"/>
                  </a:lnTo>
                  <a:lnTo>
                    <a:pt x="1562370" y="1683381"/>
                  </a:lnTo>
                  <a:lnTo>
                    <a:pt x="1568695" y="1660172"/>
                  </a:lnTo>
                  <a:lnTo>
                    <a:pt x="1568695" y="63973"/>
                  </a:lnTo>
                  <a:lnTo>
                    <a:pt x="1562467" y="89681"/>
                  </a:lnTo>
                  <a:lnTo>
                    <a:pt x="1539928" y="102125"/>
                  </a:lnTo>
                  <a:lnTo>
                    <a:pt x="1539915" y="101737"/>
                  </a:lnTo>
                  <a:lnTo>
                    <a:pt x="1562473" y="89263"/>
                  </a:lnTo>
                  <a:lnTo>
                    <a:pt x="1568695" y="63534"/>
                  </a:lnTo>
                  <a:lnTo>
                    <a:pt x="358387" y="63534"/>
                  </a:lnTo>
                  <a:cubicBezTo>
                    <a:pt x="146039" y="59636"/>
                    <a:pt x="19252" y="192177"/>
                    <a:pt x="28586" y="294311"/>
                  </a:cubicBezTo>
                  <a:cubicBezTo>
                    <a:pt x="32475" y="343430"/>
                    <a:pt x="97813" y="387090"/>
                    <a:pt x="206710" y="387090"/>
                  </a:cubicBezTo>
                  <a:lnTo>
                    <a:pt x="1417018" y="387090"/>
                  </a:lnTo>
                  <a:lnTo>
                    <a:pt x="1440975" y="373147"/>
                  </a:lnTo>
                  <a:lnTo>
                    <a:pt x="1441027" y="373241"/>
                  </a:lnTo>
                  <a:lnTo>
                    <a:pt x="1416895" y="387264"/>
                  </a:lnTo>
                  <a:lnTo>
                    <a:pt x="1416895" y="1683381"/>
                  </a:lnTo>
                  <a:lnTo>
                    <a:pt x="349375" y="1683381"/>
                  </a:lnTo>
                  <a:cubicBezTo>
                    <a:pt x="137795" y="1683381"/>
                    <a:pt x="-4555" y="1815090"/>
                    <a:pt x="112" y="1914846"/>
                  </a:cubicBezTo>
                  <a:lnTo>
                    <a:pt x="1668" y="243155"/>
                  </a:lnTo>
                  <a:cubicBezTo>
                    <a:pt x="-15445" y="142620"/>
                    <a:pt x="129239" y="0"/>
                    <a:pt x="349375" y="0"/>
                  </a:cubicBezTo>
                  <a:close/>
                </a:path>
              </a:pathLst>
            </a:custGeom>
            <a:grp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320" name="Freeform: Shape 1817">
              <a:extLst>
                <a:ext uri="{FF2B5EF4-FFF2-40B4-BE49-F238E27FC236}">
                  <a16:creationId xmlns:a16="http://schemas.microsoft.com/office/drawing/2014/main" id="{07C32A49-993A-4C23-AD3A-FD6E92C90B33}"/>
                </a:ext>
              </a:extLst>
            </p:cNvPr>
            <p:cNvSpPr>
              <a:spLocks/>
            </p:cNvSpPr>
            <p:nvPr/>
          </p:nvSpPr>
          <p:spPr bwMode="auto">
            <a:xfrm>
              <a:off x="2501737" y="2662718"/>
              <a:ext cx="1464869" cy="1780395"/>
            </a:xfrm>
            <a:custGeom>
              <a:avLst/>
              <a:gdLst>
                <a:gd name="connsiteX0" fmla="*/ 1464869 w 1464869"/>
                <a:gd name="connsiteY0" fmla="*/ 1638706 h 1780395"/>
                <a:gd name="connsiteX1" fmla="*/ 1464869 w 1464869"/>
                <a:gd name="connsiteY1" fmla="*/ 1641690 h 1780395"/>
                <a:gd name="connsiteX2" fmla="*/ 1464381 w 1464869"/>
                <a:gd name="connsiteY2" fmla="*/ 1639005 h 1780395"/>
                <a:gd name="connsiteX3" fmla="*/ 1435795 w 1464869"/>
                <a:gd name="connsiteY3" fmla="*/ 97396 h 1780395"/>
                <a:gd name="connsiteX4" fmla="*/ 1436002 w 1464869"/>
                <a:gd name="connsiteY4" fmla="*/ 97396 h 1780395"/>
                <a:gd name="connsiteX5" fmla="*/ 1425871 w 1464869"/>
                <a:gd name="connsiteY5" fmla="*/ 101083 h 1780395"/>
                <a:gd name="connsiteX6" fmla="*/ 1425839 w 1464869"/>
                <a:gd name="connsiteY6" fmla="*/ 101025 h 1780395"/>
                <a:gd name="connsiteX7" fmla="*/ 1556 w 1464869"/>
                <a:gd name="connsiteY7" fmla="*/ 0 h 1780395"/>
                <a:gd name="connsiteX8" fmla="*/ 18270 w 1464869"/>
                <a:gd name="connsiteY8" fmla="*/ 38118 h 1780395"/>
                <a:gd name="connsiteX9" fmla="*/ 29062 w 1464869"/>
                <a:gd name="connsiteY9" fmla="*/ 47361 h 1780395"/>
                <a:gd name="connsiteX10" fmla="*/ 28851 w 1464869"/>
                <a:gd name="connsiteY10" fmla="*/ 50347 h 1780395"/>
                <a:gd name="connsiteX11" fmla="*/ 206975 w 1464869"/>
                <a:gd name="connsiteY11" fmla="*/ 143126 h 1780395"/>
                <a:gd name="connsiteX12" fmla="*/ 1417194 w 1464869"/>
                <a:gd name="connsiteY12" fmla="*/ 143126 h 1780395"/>
                <a:gd name="connsiteX13" fmla="*/ 1416895 w 1464869"/>
                <a:gd name="connsiteY13" fmla="*/ 143300 h 1780395"/>
                <a:gd name="connsiteX14" fmla="*/ 1416895 w 1464869"/>
                <a:gd name="connsiteY14" fmla="*/ 1740277 h 1780395"/>
                <a:gd name="connsiteX15" fmla="*/ 1441027 w 1464869"/>
                <a:gd name="connsiteY15" fmla="*/ 1725476 h 1780395"/>
                <a:gd name="connsiteX16" fmla="*/ 1425458 w 1464869"/>
                <a:gd name="connsiteY16" fmla="*/ 1697431 h 1780395"/>
                <a:gd name="connsiteX17" fmla="*/ 1459711 w 1464869"/>
                <a:gd name="connsiteY17" fmla="*/ 1684967 h 1780395"/>
                <a:gd name="connsiteX18" fmla="*/ 1464869 w 1464869"/>
                <a:gd name="connsiteY18" fmla="*/ 1673783 h 1780395"/>
                <a:gd name="connsiteX19" fmla="*/ 1464869 w 1464869"/>
                <a:gd name="connsiteY19" fmla="*/ 1780395 h 1780395"/>
                <a:gd name="connsiteX20" fmla="*/ 189041 w 1464869"/>
                <a:gd name="connsiteY20" fmla="*/ 1780395 h 1780395"/>
                <a:gd name="connsiteX21" fmla="*/ 0 w 1464869"/>
                <a:gd name="connsiteY21" fmla="*/ 1669754 h 178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64869" h="1780395">
                  <a:moveTo>
                    <a:pt x="1464869" y="1638706"/>
                  </a:moveTo>
                  <a:lnTo>
                    <a:pt x="1464869" y="1641690"/>
                  </a:lnTo>
                  <a:lnTo>
                    <a:pt x="1464381" y="1639005"/>
                  </a:lnTo>
                  <a:close/>
                  <a:moveTo>
                    <a:pt x="1435795" y="97396"/>
                  </a:moveTo>
                  <a:lnTo>
                    <a:pt x="1436002" y="97396"/>
                  </a:lnTo>
                  <a:lnTo>
                    <a:pt x="1425871" y="101083"/>
                  </a:lnTo>
                  <a:lnTo>
                    <a:pt x="1425839" y="101025"/>
                  </a:lnTo>
                  <a:close/>
                  <a:moveTo>
                    <a:pt x="1556" y="0"/>
                  </a:moveTo>
                  <a:cubicBezTo>
                    <a:pt x="4084" y="13636"/>
                    <a:pt x="9579" y="26492"/>
                    <a:pt x="18270" y="38118"/>
                  </a:cubicBezTo>
                  <a:lnTo>
                    <a:pt x="29062" y="47361"/>
                  </a:lnTo>
                  <a:lnTo>
                    <a:pt x="28851" y="50347"/>
                  </a:lnTo>
                  <a:cubicBezTo>
                    <a:pt x="32740" y="99466"/>
                    <a:pt x="98078" y="143126"/>
                    <a:pt x="206975" y="143126"/>
                  </a:cubicBezTo>
                  <a:lnTo>
                    <a:pt x="1417194" y="143126"/>
                  </a:lnTo>
                  <a:lnTo>
                    <a:pt x="1416895" y="143300"/>
                  </a:lnTo>
                  <a:lnTo>
                    <a:pt x="1416895" y="1740277"/>
                  </a:lnTo>
                  <a:lnTo>
                    <a:pt x="1441027" y="1725476"/>
                  </a:lnTo>
                  <a:lnTo>
                    <a:pt x="1425458" y="1697431"/>
                  </a:lnTo>
                  <a:lnTo>
                    <a:pt x="1459711" y="1684967"/>
                  </a:lnTo>
                  <a:lnTo>
                    <a:pt x="1464869" y="1673783"/>
                  </a:lnTo>
                  <a:lnTo>
                    <a:pt x="1464869" y="1780395"/>
                  </a:lnTo>
                  <a:lnTo>
                    <a:pt x="189041" y="1780395"/>
                  </a:lnTo>
                  <a:cubicBezTo>
                    <a:pt x="60680" y="1779616"/>
                    <a:pt x="3112" y="1730529"/>
                    <a:pt x="0" y="1669754"/>
                  </a:cubicBezTo>
                  <a:close/>
                </a:path>
              </a:pathLst>
            </a:custGeom>
            <a:grp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321" name="Freeform 13">
              <a:extLst>
                <a:ext uri="{FF2B5EF4-FFF2-40B4-BE49-F238E27FC236}">
                  <a16:creationId xmlns:a16="http://schemas.microsoft.com/office/drawing/2014/main" id="{B6682F51-B463-4B72-A92C-C42C92AC2181}"/>
                </a:ext>
              </a:extLst>
            </p:cNvPr>
            <p:cNvSpPr>
              <a:spLocks/>
            </p:cNvSpPr>
            <p:nvPr/>
          </p:nvSpPr>
          <p:spPr bwMode="auto">
            <a:xfrm>
              <a:off x="3728882" y="2520677"/>
              <a:ext cx="314443" cy="14096"/>
            </a:xfrm>
            <a:custGeom>
              <a:avLst/>
              <a:gdLst>
                <a:gd name="T0" fmla="*/ 404 w 404"/>
                <a:gd name="T1" fmla="*/ 9 h 18"/>
                <a:gd name="T2" fmla="*/ 402 w 404"/>
                <a:gd name="T3" fmla="*/ 0 h 18"/>
                <a:gd name="T4" fmla="*/ 0 w 404"/>
                <a:gd name="T5" fmla="*/ 9 h 18"/>
                <a:gd name="T6" fmla="*/ 402 w 404"/>
                <a:gd name="T7" fmla="*/ 18 h 18"/>
                <a:gd name="T8" fmla="*/ 404 w 404"/>
                <a:gd name="T9" fmla="*/ 9 h 18"/>
              </a:gdLst>
              <a:ahLst/>
              <a:cxnLst>
                <a:cxn ang="0">
                  <a:pos x="T0" y="T1"/>
                </a:cxn>
                <a:cxn ang="0">
                  <a:pos x="T2" y="T3"/>
                </a:cxn>
                <a:cxn ang="0">
                  <a:pos x="T4" y="T5"/>
                </a:cxn>
                <a:cxn ang="0">
                  <a:pos x="T6" y="T7"/>
                </a:cxn>
                <a:cxn ang="0">
                  <a:pos x="T8" y="T9"/>
                </a:cxn>
              </a:cxnLst>
              <a:rect l="0" t="0" r="r" b="b"/>
              <a:pathLst>
                <a:path w="404" h="18">
                  <a:moveTo>
                    <a:pt x="404" y="9"/>
                  </a:moveTo>
                  <a:lnTo>
                    <a:pt x="402" y="0"/>
                  </a:lnTo>
                  <a:lnTo>
                    <a:pt x="0" y="9"/>
                  </a:lnTo>
                  <a:lnTo>
                    <a:pt x="402" y="18"/>
                  </a:lnTo>
                  <a:lnTo>
                    <a:pt x="404" y="9"/>
                  </a:lnTo>
                  <a:close/>
                </a:path>
              </a:pathLst>
            </a:custGeom>
            <a:grp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322" name="Freeform 14">
              <a:extLst>
                <a:ext uri="{FF2B5EF4-FFF2-40B4-BE49-F238E27FC236}">
                  <a16:creationId xmlns:a16="http://schemas.microsoft.com/office/drawing/2014/main" id="{B618DCA9-5536-46B2-A50B-04E75DE87A47}"/>
                </a:ext>
              </a:extLst>
            </p:cNvPr>
            <p:cNvSpPr>
              <a:spLocks/>
            </p:cNvSpPr>
            <p:nvPr/>
          </p:nvSpPr>
          <p:spPr bwMode="auto">
            <a:xfrm>
              <a:off x="3308180" y="2598745"/>
              <a:ext cx="711291" cy="21686"/>
            </a:xfrm>
            <a:custGeom>
              <a:avLst/>
              <a:gdLst>
                <a:gd name="T0" fmla="*/ 915 w 915"/>
                <a:gd name="T1" fmla="*/ 15 h 29"/>
                <a:gd name="T2" fmla="*/ 909 w 915"/>
                <a:gd name="T3" fmla="*/ 0 h 29"/>
                <a:gd name="T4" fmla="*/ 0 w 915"/>
                <a:gd name="T5" fmla="*/ 15 h 29"/>
                <a:gd name="T6" fmla="*/ 909 w 915"/>
                <a:gd name="T7" fmla="*/ 29 h 29"/>
                <a:gd name="T8" fmla="*/ 915 w 915"/>
                <a:gd name="T9" fmla="*/ 15 h 29"/>
              </a:gdLst>
              <a:ahLst/>
              <a:cxnLst>
                <a:cxn ang="0">
                  <a:pos x="T0" y="T1"/>
                </a:cxn>
                <a:cxn ang="0">
                  <a:pos x="T2" y="T3"/>
                </a:cxn>
                <a:cxn ang="0">
                  <a:pos x="T4" y="T5"/>
                </a:cxn>
                <a:cxn ang="0">
                  <a:pos x="T6" y="T7"/>
                </a:cxn>
                <a:cxn ang="0">
                  <a:pos x="T8" y="T9"/>
                </a:cxn>
              </a:cxnLst>
              <a:rect l="0" t="0" r="r" b="b"/>
              <a:pathLst>
                <a:path w="915" h="29">
                  <a:moveTo>
                    <a:pt x="915" y="15"/>
                  </a:moveTo>
                  <a:lnTo>
                    <a:pt x="909" y="0"/>
                  </a:lnTo>
                  <a:lnTo>
                    <a:pt x="0" y="15"/>
                  </a:lnTo>
                  <a:lnTo>
                    <a:pt x="909" y="29"/>
                  </a:lnTo>
                  <a:lnTo>
                    <a:pt x="915" y="15"/>
                  </a:lnTo>
                  <a:close/>
                </a:path>
              </a:pathLst>
            </a:custGeom>
            <a:grp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323" name="Freeform 15">
              <a:extLst>
                <a:ext uri="{FF2B5EF4-FFF2-40B4-BE49-F238E27FC236}">
                  <a16:creationId xmlns:a16="http://schemas.microsoft.com/office/drawing/2014/main" id="{F00D53A2-E0C8-4552-9BFB-AD1B0CDD351B}"/>
                </a:ext>
              </a:extLst>
            </p:cNvPr>
            <p:cNvSpPr>
              <a:spLocks/>
            </p:cNvSpPr>
            <p:nvPr/>
          </p:nvSpPr>
          <p:spPr bwMode="auto">
            <a:xfrm>
              <a:off x="3835142" y="2651875"/>
              <a:ext cx="151800" cy="10843"/>
            </a:xfrm>
            <a:custGeom>
              <a:avLst/>
              <a:gdLst>
                <a:gd name="T0" fmla="*/ 195 w 195"/>
                <a:gd name="T1" fmla="*/ 6 h 13"/>
                <a:gd name="T2" fmla="*/ 194 w 195"/>
                <a:gd name="T3" fmla="*/ 0 h 13"/>
                <a:gd name="T4" fmla="*/ 0 w 195"/>
                <a:gd name="T5" fmla="*/ 6 h 13"/>
                <a:gd name="T6" fmla="*/ 194 w 195"/>
                <a:gd name="T7" fmla="*/ 13 h 13"/>
                <a:gd name="T8" fmla="*/ 195 w 195"/>
                <a:gd name="T9" fmla="*/ 6 h 13"/>
              </a:gdLst>
              <a:ahLst/>
              <a:cxnLst>
                <a:cxn ang="0">
                  <a:pos x="T0" y="T1"/>
                </a:cxn>
                <a:cxn ang="0">
                  <a:pos x="T2" y="T3"/>
                </a:cxn>
                <a:cxn ang="0">
                  <a:pos x="T4" y="T5"/>
                </a:cxn>
                <a:cxn ang="0">
                  <a:pos x="T6" y="T7"/>
                </a:cxn>
                <a:cxn ang="0">
                  <a:pos x="T8" y="T9"/>
                </a:cxn>
              </a:cxnLst>
              <a:rect l="0" t="0" r="r" b="b"/>
              <a:pathLst>
                <a:path w="195" h="13">
                  <a:moveTo>
                    <a:pt x="195" y="6"/>
                  </a:moveTo>
                  <a:lnTo>
                    <a:pt x="194" y="0"/>
                  </a:lnTo>
                  <a:lnTo>
                    <a:pt x="0" y="6"/>
                  </a:lnTo>
                  <a:lnTo>
                    <a:pt x="194" y="13"/>
                  </a:lnTo>
                  <a:lnTo>
                    <a:pt x="195" y="6"/>
                  </a:lnTo>
                  <a:close/>
                </a:path>
              </a:pathLst>
            </a:custGeom>
            <a:grp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324" name="Freeform 16">
              <a:extLst>
                <a:ext uri="{FF2B5EF4-FFF2-40B4-BE49-F238E27FC236}">
                  <a16:creationId xmlns:a16="http://schemas.microsoft.com/office/drawing/2014/main" id="{88C56A53-940B-485A-9B9E-FB85B08CBEA7}"/>
                </a:ext>
              </a:extLst>
            </p:cNvPr>
            <p:cNvSpPr>
              <a:spLocks/>
            </p:cNvSpPr>
            <p:nvPr/>
          </p:nvSpPr>
          <p:spPr bwMode="auto">
            <a:xfrm>
              <a:off x="4032482" y="2567301"/>
              <a:ext cx="18433" cy="457568"/>
            </a:xfrm>
            <a:custGeom>
              <a:avLst/>
              <a:gdLst>
                <a:gd name="T0" fmla="*/ 12 w 23"/>
                <a:gd name="T1" fmla="*/ 0 h 588"/>
                <a:gd name="T2" fmla="*/ 0 w 23"/>
                <a:gd name="T3" fmla="*/ 4 h 588"/>
                <a:gd name="T4" fmla="*/ 12 w 23"/>
                <a:gd name="T5" fmla="*/ 588 h 588"/>
                <a:gd name="T6" fmla="*/ 23 w 23"/>
                <a:gd name="T7" fmla="*/ 4 h 588"/>
                <a:gd name="T8" fmla="*/ 12 w 23"/>
                <a:gd name="T9" fmla="*/ 0 h 588"/>
              </a:gdLst>
              <a:ahLst/>
              <a:cxnLst>
                <a:cxn ang="0">
                  <a:pos x="T0" y="T1"/>
                </a:cxn>
                <a:cxn ang="0">
                  <a:pos x="T2" y="T3"/>
                </a:cxn>
                <a:cxn ang="0">
                  <a:pos x="T4" y="T5"/>
                </a:cxn>
                <a:cxn ang="0">
                  <a:pos x="T6" y="T7"/>
                </a:cxn>
                <a:cxn ang="0">
                  <a:pos x="T8" y="T9"/>
                </a:cxn>
              </a:cxnLst>
              <a:rect l="0" t="0" r="r" b="b"/>
              <a:pathLst>
                <a:path w="23" h="588">
                  <a:moveTo>
                    <a:pt x="12" y="0"/>
                  </a:moveTo>
                  <a:lnTo>
                    <a:pt x="0" y="4"/>
                  </a:lnTo>
                  <a:cubicBezTo>
                    <a:pt x="4" y="199"/>
                    <a:pt x="8" y="394"/>
                    <a:pt x="12" y="588"/>
                  </a:cubicBezTo>
                  <a:lnTo>
                    <a:pt x="23" y="4"/>
                  </a:lnTo>
                  <a:cubicBezTo>
                    <a:pt x="19" y="2"/>
                    <a:pt x="15" y="1"/>
                    <a:pt x="12" y="0"/>
                  </a:cubicBezTo>
                  <a:close/>
                </a:path>
              </a:pathLst>
            </a:custGeom>
            <a:grp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325" name="Freeform 17">
              <a:extLst>
                <a:ext uri="{FF2B5EF4-FFF2-40B4-BE49-F238E27FC236}">
                  <a16:creationId xmlns:a16="http://schemas.microsoft.com/office/drawing/2014/main" id="{793767CA-D933-4179-8D10-66990B4FCDA4}"/>
                </a:ext>
              </a:extLst>
            </p:cNvPr>
            <p:cNvSpPr>
              <a:spLocks/>
            </p:cNvSpPr>
            <p:nvPr/>
          </p:nvSpPr>
          <p:spPr bwMode="auto">
            <a:xfrm>
              <a:off x="4002122" y="2607419"/>
              <a:ext cx="21686" cy="736229"/>
            </a:xfrm>
            <a:custGeom>
              <a:avLst/>
              <a:gdLst>
                <a:gd name="T0" fmla="*/ 14 w 27"/>
                <a:gd name="T1" fmla="*/ 0 h 945"/>
                <a:gd name="T2" fmla="*/ 0 w 27"/>
                <a:gd name="T3" fmla="*/ 6 h 945"/>
                <a:gd name="T4" fmla="*/ 14 w 27"/>
                <a:gd name="T5" fmla="*/ 945 h 945"/>
                <a:gd name="T6" fmla="*/ 27 w 27"/>
                <a:gd name="T7" fmla="*/ 6 h 945"/>
                <a:gd name="T8" fmla="*/ 14 w 27"/>
                <a:gd name="T9" fmla="*/ 0 h 945"/>
              </a:gdLst>
              <a:ahLst/>
              <a:cxnLst>
                <a:cxn ang="0">
                  <a:pos x="T0" y="T1"/>
                </a:cxn>
                <a:cxn ang="0">
                  <a:pos x="T2" y="T3"/>
                </a:cxn>
                <a:cxn ang="0">
                  <a:pos x="T4" y="T5"/>
                </a:cxn>
                <a:cxn ang="0">
                  <a:pos x="T6" y="T7"/>
                </a:cxn>
                <a:cxn ang="0">
                  <a:pos x="T8" y="T9"/>
                </a:cxn>
              </a:cxnLst>
              <a:rect l="0" t="0" r="r" b="b"/>
              <a:pathLst>
                <a:path w="27" h="945">
                  <a:moveTo>
                    <a:pt x="14" y="0"/>
                  </a:moveTo>
                  <a:lnTo>
                    <a:pt x="0" y="6"/>
                  </a:lnTo>
                  <a:lnTo>
                    <a:pt x="14" y="945"/>
                  </a:lnTo>
                  <a:lnTo>
                    <a:pt x="27" y="6"/>
                  </a:lnTo>
                  <a:lnTo>
                    <a:pt x="14" y="0"/>
                  </a:lnTo>
                  <a:close/>
                </a:path>
              </a:pathLst>
            </a:custGeom>
            <a:grp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326" name="Freeform 18">
              <a:extLst>
                <a:ext uri="{FF2B5EF4-FFF2-40B4-BE49-F238E27FC236}">
                  <a16:creationId xmlns:a16="http://schemas.microsoft.com/office/drawing/2014/main" id="{D9EBB71C-9648-4F8D-B828-5ECA29F26B96}"/>
                </a:ext>
              </a:extLst>
            </p:cNvPr>
            <p:cNvSpPr>
              <a:spLocks/>
            </p:cNvSpPr>
            <p:nvPr/>
          </p:nvSpPr>
          <p:spPr bwMode="auto">
            <a:xfrm>
              <a:off x="3985858" y="2651875"/>
              <a:ext cx="11927" cy="222278"/>
            </a:xfrm>
            <a:custGeom>
              <a:avLst/>
              <a:gdLst>
                <a:gd name="T0" fmla="*/ 8 w 16"/>
                <a:gd name="T1" fmla="*/ 0 h 285"/>
                <a:gd name="T2" fmla="*/ 0 w 16"/>
                <a:gd name="T3" fmla="*/ 2 h 285"/>
                <a:gd name="T4" fmla="*/ 11 w 16"/>
                <a:gd name="T5" fmla="*/ 285 h 285"/>
                <a:gd name="T6" fmla="*/ 16 w 16"/>
                <a:gd name="T7" fmla="*/ 2 h 285"/>
                <a:gd name="T8" fmla="*/ 8 w 16"/>
                <a:gd name="T9" fmla="*/ 0 h 285"/>
              </a:gdLst>
              <a:ahLst/>
              <a:cxnLst>
                <a:cxn ang="0">
                  <a:pos x="T0" y="T1"/>
                </a:cxn>
                <a:cxn ang="0">
                  <a:pos x="T2" y="T3"/>
                </a:cxn>
                <a:cxn ang="0">
                  <a:pos x="T4" y="T5"/>
                </a:cxn>
                <a:cxn ang="0">
                  <a:pos x="T6" y="T7"/>
                </a:cxn>
                <a:cxn ang="0">
                  <a:pos x="T8" y="T9"/>
                </a:cxn>
              </a:cxnLst>
              <a:rect l="0" t="0" r="r" b="b"/>
              <a:pathLst>
                <a:path w="16" h="285">
                  <a:moveTo>
                    <a:pt x="8" y="0"/>
                  </a:moveTo>
                  <a:lnTo>
                    <a:pt x="0" y="2"/>
                  </a:lnTo>
                  <a:lnTo>
                    <a:pt x="11" y="285"/>
                  </a:lnTo>
                  <a:lnTo>
                    <a:pt x="16" y="2"/>
                  </a:lnTo>
                  <a:lnTo>
                    <a:pt x="8" y="0"/>
                  </a:lnTo>
                  <a:close/>
                </a:path>
              </a:pathLst>
            </a:custGeom>
            <a:grp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grpSp>
      <p:sp>
        <p:nvSpPr>
          <p:cNvPr id="327" name="Arrow13">
            <a:extLst>
              <a:ext uri="{FF2B5EF4-FFF2-40B4-BE49-F238E27FC236}">
                <a16:creationId xmlns:a16="http://schemas.microsoft.com/office/drawing/2014/main" id="{5F624427-034C-4298-9285-3E014132933D}"/>
              </a:ext>
            </a:extLst>
          </p:cNvPr>
          <p:cNvSpPr>
            <a:spLocks noChangeAspect="1"/>
          </p:cNvSpPr>
          <p:nvPr>
            <p:custDataLst>
              <p:tags r:id="rId17"/>
            </p:custDataLst>
          </p:nvPr>
        </p:nvSpPr>
        <p:spPr bwMode="auto">
          <a:xfrm rot="3729828">
            <a:off x="5514182" y="3278981"/>
            <a:ext cx="387350" cy="407987"/>
          </a:xfrm>
          <a:custGeom>
            <a:avLst/>
            <a:gdLst>
              <a:gd name="T0" fmla="*/ 377 w 644"/>
              <a:gd name="T1" fmla="*/ 37 h 676"/>
              <a:gd name="T2" fmla="*/ 268 w 644"/>
              <a:gd name="T3" fmla="*/ 37 h 676"/>
              <a:gd name="T4" fmla="*/ 30 w 644"/>
              <a:gd name="T5" fmla="*/ 340 h 676"/>
              <a:gd name="T6" fmla="*/ 58 w 644"/>
              <a:gd name="T7" fmla="*/ 409 h 676"/>
              <a:gd name="T8" fmla="*/ 189 w 644"/>
              <a:gd name="T9" fmla="*/ 409 h 676"/>
              <a:gd name="T10" fmla="*/ 189 w 644"/>
              <a:gd name="T11" fmla="*/ 609 h 676"/>
              <a:gd name="T12" fmla="*/ 256 w 644"/>
              <a:gd name="T13" fmla="*/ 676 h 676"/>
              <a:gd name="T14" fmla="*/ 389 w 644"/>
              <a:gd name="T15" fmla="*/ 676 h 676"/>
              <a:gd name="T16" fmla="*/ 456 w 644"/>
              <a:gd name="T17" fmla="*/ 609 h 676"/>
              <a:gd name="T18" fmla="*/ 456 w 644"/>
              <a:gd name="T19" fmla="*/ 409 h 676"/>
              <a:gd name="T20" fmla="*/ 586 w 644"/>
              <a:gd name="T21" fmla="*/ 409 h 676"/>
              <a:gd name="T22" fmla="*/ 614 w 644"/>
              <a:gd name="T23" fmla="*/ 340 h 676"/>
              <a:gd name="T24" fmla="*/ 377 w 644"/>
              <a:gd name="T25" fmla="*/ 3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4" h="676">
                <a:moveTo>
                  <a:pt x="377" y="37"/>
                </a:moveTo>
                <a:cubicBezTo>
                  <a:pt x="347" y="0"/>
                  <a:pt x="298" y="0"/>
                  <a:pt x="268" y="37"/>
                </a:cubicBezTo>
                <a:lnTo>
                  <a:pt x="30" y="340"/>
                </a:lnTo>
                <a:cubicBezTo>
                  <a:pt x="0" y="378"/>
                  <a:pt x="13" y="409"/>
                  <a:pt x="58" y="409"/>
                </a:cubicBezTo>
                <a:lnTo>
                  <a:pt x="189" y="409"/>
                </a:lnTo>
                <a:lnTo>
                  <a:pt x="189" y="609"/>
                </a:lnTo>
                <a:cubicBezTo>
                  <a:pt x="189" y="646"/>
                  <a:pt x="219" y="676"/>
                  <a:pt x="256" y="676"/>
                </a:cubicBezTo>
                <a:lnTo>
                  <a:pt x="389" y="676"/>
                </a:lnTo>
                <a:cubicBezTo>
                  <a:pt x="426" y="676"/>
                  <a:pt x="456" y="646"/>
                  <a:pt x="456" y="609"/>
                </a:cubicBezTo>
                <a:lnTo>
                  <a:pt x="456" y="409"/>
                </a:lnTo>
                <a:lnTo>
                  <a:pt x="586" y="409"/>
                </a:lnTo>
                <a:cubicBezTo>
                  <a:pt x="632" y="409"/>
                  <a:pt x="644" y="378"/>
                  <a:pt x="614" y="340"/>
                </a:cubicBezTo>
                <a:lnTo>
                  <a:pt x="377" y="37"/>
                </a:lnTo>
                <a:close/>
              </a:path>
            </a:pathLst>
          </a:custGeom>
          <a:solidFill>
            <a:schemeClr val="accent1"/>
          </a:solid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328" name="Arrow13">
            <a:extLst>
              <a:ext uri="{FF2B5EF4-FFF2-40B4-BE49-F238E27FC236}">
                <a16:creationId xmlns:a16="http://schemas.microsoft.com/office/drawing/2014/main" id="{C74AE3A1-4F27-4D95-9BAA-79F0B0EFBCAA}"/>
              </a:ext>
            </a:extLst>
          </p:cNvPr>
          <p:cNvSpPr>
            <a:spLocks noChangeAspect="1"/>
          </p:cNvSpPr>
          <p:nvPr>
            <p:custDataLst>
              <p:tags r:id="rId18"/>
            </p:custDataLst>
          </p:nvPr>
        </p:nvSpPr>
        <p:spPr bwMode="auto">
          <a:xfrm rot="7015057">
            <a:off x="5439569" y="4172744"/>
            <a:ext cx="387350" cy="407988"/>
          </a:xfrm>
          <a:custGeom>
            <a:avLst/>
            <a:gdLst>
              <a:gd name="T0" fmla="*/ 377 w 644"/>
              <a:gd name="T1" fmla="*/ 37 h 676"/>
              <a:gd name="T2" fmla="*/ 268 w 644"/>
              <a:gd name="T3" fmla="*/ 37 h 676"/>
              <a:gd name="T4" fmla="*/ 30 w 644"/>
              <a:gd name="T5" fmla="*/ 340 h 676"/>
              <a:gd name="T6" fmla="*/ 58 w 644"/>
              <a:gd name="T7" fmla="*/ 409 h 676"/>
              <a:gd name="T8" fmla="*/ 189 w 644"/>
              <a:gd name="T9" fmla="*/ 409 h 676"/>
              <a:gd name="T10" fmla="*/ 189 w 644"/>
              <a:gd name="T11" fmla="*/ 609 h 676"/>
              <a:gd name="T12" fmla="*/ 256 w 644"/>
              <a:gd name="T13" fmla="*/ 676 h 676"/>
              <a:gd name="T14" fmla="*/ 389 w 644"/>
              <a:gd name="T15" fmla="*/ 676 h 676"/>
              <a:gd name="T16" fmla="*/ 456 w 644"/>
              <a:gd name="T17" fmla="*/ 609 h 676"/>
              <a:gd name="T18" fmla="*/ 456 w 644"/>
              <a:gd name="T19" fmla="*/ 409 h 676"/>
              <a:gd name="T20" fmla="*/ 586 w 644"/>
              <a:gd name="T21" fmla="*/ 409 h 676"/>
              <a:gd name="T22" fmla="*/ 614 w 644"/>
              <a:gd name="T23" fmla="*/ 340 h 676"/>
              <a:gd name="T24" fmla="*/ 377 w 644"/>
              <a:gd name="T25" fmla="*/ 3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4" h="676">
                <a:moveTo>
                  <a:pt x="377" y="37"/>
                </a:moveTo>
                <a:cubicBezTo>
                  <a:pt x="347" y="0"/>
                  <a:pt x="298" y="0"/>
                  <a:pt x="268" y="37"/>
                </a:cubicBezTo>
                <a:lnTo>
                  <a:pt x="30" y="340"/>
                </a:lnTo>
                <a:cubicBezTo>
                  <a:pt x="0" y="378"/>
                  <a:pt x="13" y="409"/>
                  <a:pt x="58" y="409"/>
                </a:cubicBezTo>
                <a:lnTo>
                  <a:pt x="189" y="409"/>
                </a:lnTo>
                <a:lnTo>
                  <a:pt x="189" y="609"/>
                </a:lnTo>
                <a:cubicBezTo>
                  <a:pt x="189" y="646"/>
                  <a:pt x="219" y="676"/>
                  <a:pt x="256" y="676"/>
                </a:cubicBezTo>
                <a:lnTo>
                  <a:pt x="389" y="676"/>
                </a:lnTo>
                <a:cubicBezTo>
                  <a:pt x="426" y="676"/>
                  <a:pt x="456" y="646"/>
                  <a:pt x="456" y="609"/>
                </a:cubicBezTo>
                <a:lnTo>
                  <a:pt x="456" y="409"/>
                </a:lnTo>
                <a:lnTo>
                  <a:pt x="586" y="409"/>
                </a:lnTo>
                <a:cubicBezTo>
                  <a:pt x="632" y="409"/>
                  <a:pt x="644" y="378"/>
                  <a:pt x="614" y="340"/>
                </a:cubicBezTo>
                <a:lnTo>
                  <a:pt x="377" y="37"/>
                </a:lnTo>
                <a:close/>
              </a:path>
            </a:pathLst>
          </a:custGeom>
          <a:solidFill>
            <a:schemeClr val="accent1"/>
          </a:solid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332" name="Arrow13">
            <a:extLst>
              <a:ext uri="{FF2B5EF4-FFF2-40B4-BE49-F238E27FC236}">
                <a16:creationId xmlns:a16="http://schemas.microsoft.com/office/drawing/2014/main" id="{8BD2395B-CFA0-4A1C-974F-3BB26D8A8BF3}"/>
              </a:ext>
            </a:extLst>
          </p:cNvPr>
          <p:cNvSpPr>
            <a:spLocks noChangeAspect="1"/>
          </p:cNvSpPr>
          <p:nvPr>
            <p:custDataLst>
              <p:tags r:id="rId19"/>
            </p:custDataLst>
          </p:nvPr>
        </p:nvSpPr>
        <p:spPr bwMode="auto">
          <a:xfrm>
            <a:off x="6134100" y="2301875"/>
            <a:ext cx="387350" cy="406400"/>
          </a:xfrm>
          <a:custGeom>
            <a:avLst/>
            <a:gdLst>
              <a:gd name="T0" fmla="*/ 377 w 644"/>
              <a:gd name="T1" fmla="*/ 37 h 676"/>
              <a:gd name="T2" fmla="*/ 268 w 644"/>
              <a:gd name="T3" fmla="*/ 37 h 676"/>
              <a:gd name="T4" fmla="*/ 30 w 644"/>
              <a:gd name="T5" fmla="*/ 340 h 676"/>
              <a:gd name="T6" fmla="*/ 58 w 644"/>
              <a:gd name="T7" fmla="*/ 409 h 676"/>
              <a:gd name="T8" fmla="*/ 189 w 644"/>
              <a:gd name="T9" fmla="*/ 409 h 676"/>
              <a:gd name="T10" fmla="*/ 189 w 644"/>
              <a:gd name="T11" fmla="*/ 609 h 676"/>
              <a:gd name="T12" fmla="*/ 256 w 644"/>
              <a:gd name="T13" fmla="*/ 676 h 676"/>
              <a:gd name="T14" fmla="*/ 389 w 644"/>
              <a:gd name="T15" fmla="*/ 676 h 676"/>
              <a:gd name="T16" fmla="*/ 456 w 644"/>
              <a:gd name="T17" fmla="*/ 609 h 676"/>
              <a:gd name="T18" fmla="*/ 456 w 644"/>
              <a:gd name="T19" fmla="*/ 409 h 676"/>
              <a:gd name="T20" fmla="*/ 586 w 644"/>
              <a:gd name="T21" fmla="*/ 409 h 676"/>
              <a:gd name="T22" fmla="*/ 614 w 644"/>
              <a:gd name="T23" fmla="*/ 340 h 676"/>
              <a:gd name="T24" fmla="*/ 377 w 644"/>
              <a:gd name="T25" fmla="*/ 3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4" h="676">
                <a:moveTo>
                  <a:pt x="377" y="37"/>
                </a:moveTo>
                <a:cubicBezTo>
                  <a:pt x="347" y="0"/>
                  <a:pt x="298" y="0"/>
                  <a:pt x="268" y="37"/>
                </a:cubicBezTo>
                <a:lnTo>
                  <a:pt x="30" y="340"/>
                </a:lnTo>
                <a:cubicBezTo>
                  <a:pt x="0" y="378"/>
                  <a:pt x="13" y="409"/>
                  <a:pt x="58" y="409"/>
                </a:cubicBezTo>
                <a:lnTo>
                  <a:pt x="189" y="409"/>
                </a:lnTo>
                <a:lnTo>
                  <a:pt x="189" y="609"/>
                </a:lnTo>
                <a:cubicBezTo>
                  <a:pt x="189" y="646"/>
                  <a:pt x="219" y="676"/>
                  <a:pt x="256" y="676"/>
                </a:cubicBezTo>
                <a:lnTo>
                  <a:pt x="389" y="676"/>
                </a:lnTo>
                <a:cubicBezTo>
                  <a:pt x="426" y="676"/>
                  <a:pt x="456" y="646"/>
                  <a:pt x="456" y="609"/>
                </a:cubicBezTo>
                <a:lnTo>
                  <a:pt x="456" y="409"/>
                </a:lnTo>
                <a:lnTo>
                  <a:pt x="586" y="409"/>
                </a:lnTo>
                <a:cubicBezTo>
                  <a:pt x="632" y="409"/>
                  <a:pt x="644" y="378"/>
                  <a:pt x="614" y="340"/>
                </a:cubicBezTo>
                <a:lnTo>
                  <a:pt x="377" y="37"/>
                </a:lnTo>
                <a:close/>
              </a:path>
            </a:pathLst>
          </a:custGeom>
          <a:solidFill>
            <a:schemeClr val="accent1"/>
          </a:solid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333" name="Arrow13">
            <a:extLst>
              <a:ext uri="{FF2B5EF4-FFF2-40B4-BE49-F238E27FC236}">
                <a16:creationId xmlns:a16="http://schemas.microsoft.com/office/drawing/2014/main" id="{BCE51DAC-89B0-417B-A551-EB5BF06CA7F2}"/>
              </a:ext>
            </a:extLst>
          </p:cNvPr>
          <p:cNvSpPr>
            <a:spLocks noChangeAspect="1"/>
          </p:cNvSpPr>
          <p:nvPr>
            <p:custDataLst>
              <p:tags r:id="rId20"/>
            </p:custDataLst>
          </p:nvPr>
        </p:nvSpPr>
        <p:spPr bwMode="auto">
          <a:xfrm rot="5400000">
            <a:off x="6804819" y="4872832"/>
            <a:ext cx="387350" cy="461962"/>
          </a:xfrm>
          <a:custGeom>
            <a:avLst/>
            <a:gdLst>
              <a:gd name="T0" fmla="*/ 377 w 644"/>
              <a:gd name="T1" fmla="*/ 37 h 676"/>
              <a:gd name="T2" fmla="*/ 268 w 644"/>
              <a:gd name="T3" fmla="*/ 37 h 676"/>
              <a:gd name="T4" fmla="*/ 30 w 644"/>
              <a:gd name="T5" fmla="*/ 340 h 676"/>
              <a:gd name="T6" fmla="*/ 58 w 644"/>
              <a:gd name="T7" fmla="*/ 409 h 676"/>
              <a:gd name="T8" fmla="*/ 189 w 644"/>
              <a:gd name="T9" fmla="*/ 409 h 676"/>
              <a:gd name="T10" fmla="*/ 189 w 644"/>
              <a:gd name="T11" fmla="*/ 609 h 676"/>
              <a:gd name="T12" fmla="*/ 256 w 644"/>
              <a:gd name="T13" fmla="*/ 676 h 676"/>
              <a:gd name="T14" fmla="*/ 389 w 644"/>
              <a:gd name="T15" fmla="*/ 676 h 676"/>
              <a:gd name="T16" fmla="*/ 456 w 644"/>
              <a:gd name="T17" fmla="*/ 609 h 676"/>
              <a:gd name="T18" fmla="*/ 456 w 644"/>
              <a:gd name="T19" fmla="*/ 409 h 676"/>
              <a:gd name="T20" fmla="*/ 586 w 644"/>
              <a:gd name="T21" fmla="*/ 409 h 676"/>
              <a:gd name="T22" fmla="*/ 614 w 644"/>
              <a:gd name="T23" fmla="*/ 340 h 676"/>
              <a:gd name="T24" fmla="*/ 377 w 644"/>
              <a:gd name="T25" fmla="*/ 3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4" h="676">
                <a:moveTo>
                  <a:pt x="377" y="37"/>
                </a:moveTo>
                <a:cubicBezTo>
                  <a:pt x="347" y="0"/>
                  <a:pt x="298" y="0"/>
                  <a:pt x="268" y="37"/>
                </a:cubicBezTo>
                <a:lnTo>
                  <a:pt x="30" y="340"/>
                </a:lnTo>
                <a:cubicBezTo>
                  <a:pt x="0" y="378"/>
                  <a:pt x="13" y="409"/>
                  <a:pt x="58" y="409"/>
                </a:cubicBezTo>
                <a:lnTo>
                  <a:pt x="189" y="409"/>
                </a:lnTo>
                <a:lnTo>
                  <a:pt x="189" y="609"/>
                </a:lnTo>
                <a:cubicBezTo>
                  <a:pt x="189" y="646"/>
                  <a:pt x="219" y="676"/>
                  <a:pt x="256" y="676"/>
                </a:cubicBezTo>
                <a:lnTo>
                  <a:pt x="389" y="676"/>
                </a:lnTo>
                <a:cubicBezTo>
                  <a:pt x="426" y="676"/>
                  <a:pt x="456" y="646"/>
                  <a:pt x="456" y="609"/>
                </a:cubicBezTo>
                <a:lnTo>
                  <a:pt x="456" y="409"/>
                </a:lnTo>
                <a:lnTo>
                  <a:pt x="586" y="409"/>
                </a:lnTo>
                <a:cubicBezTo>
                  <a:pt x="632" y="409"/>
                  <a:pt x="644" y="378"/>
                  <a:pt x="614" y="340"/>
                </a:cubicBezTo>
                <a:lnTo>
                  <a:pt x="377" y="37"/>
                </a:lnTo>
                <a:close/>
              </a:path>
            </a:pathLst>
          </a:custGeom>
          <a:solidFill>
            <a:schemeClr val="accent1"/>
          </a:solidFill>
          <a:ln w="9525">
            <a:noFill/>
            <a:round/>
            <a:headEnd/>
            <a:tailEnd/>
          </a:ln>
        </p:spPr>
        <p:txBody>
          <a:bodyPr lIns="68580" tIns="34290" rIns="68580" bIns="34290"/>
          <a:lstStyle/>
          <a:p>
            <a:pPr defTabSz="685800" eaLnBrk="1" fontAlgn="auto" hangingPunct="1">
              <a:spcBef>
                <a:spcPts val="0"/>
              </a:spcBef>
              <a:spcAft>
                <a:spcPts val="0"/>
              </a:spcAft>
              <a:defRPr/>
            </a:pPr>
            <a:endParaRPr lang="en-US" sz="1350" dirty="0">
              <a:solidFill>
                <a:schemeClr val="accent2"/>
              </a:solidFill>
              <a:latin typeface="Calibri" panose="020F0502020204030204"/>
              <a:ea typeface="+mn-ea"/>
              <a:cs typeface="+mn-cs"/>
            </a:endParaRPr>
          </a:p>
        </p:txBody>
      </p:sp>
      <p:sp>
        <p:nvSpPr>
          <p:cNvPr id="343" name="Arrow: Left 342">
            <a:extLst>
              <a:ext uri="{FF2B5EF4-FFF2-40B4-BE49-F238E27FC236}">
                <a16:creationId xmlns:a16="http://schemas.microsoft.com/office/drawing/2014/main" id="{DE8B8B34-985F-40A8-8ED9-ED7999C6CC74}"/>
              </a:ext>
            </a:extLst>
          </p:cNvPr>
          <p:cNvSpPr/>
          <p:nvPr/>
        </p:nvSpPr>
        <p:spPr>
          <a:xfrm>
            <a:off x="2146300" y="1889125"/>
            <a:ext cx="5430838" cy="396875"/>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50">
              <a:solidFill>
                <a:schemeClr val="accent2"/>
              </a:solidFill>
            </a:endParaRPr>
          </a:p>
        </p:txBody>
      </p:sp>
      <p:sp>
        <p:nvSpPr>
          <p:cNvPr id="344" name="Arrow: Left 343">
            <a:extLst>
              <a:ext uri="{FF2B5EF4-FFF2-40B4-BE49-F238E27FC236}">
                <a16:creationId xmlns:a16="http://schemas.microsoft.com/office/drawing/2014/main" id="{D8E9408F-7BC5-45FD-B929-3DB3C35002A8}"/>
              </a:ext>
            </a:extLst>
          </p:cNvPr>
          <p:cNvSpPr/>
          <p:nvPr/>
        </p:nvSpPr>
        <p:spPr>
          <a:xfrm rot="5400000">
            <a:off x="5937250" y="3549650"/>
            <a:ext cx="2981325" cy="396875"/>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50">
              <a:solidFill>
                <a:schemeClr val="accent2"/>
              </a:solidFill>
            </a:endParaRPr>
          </a:p>
        </p:txBody>
      </p:sp>
      <p:sp>
        <p:nvSpPr>
          <p:cNvPr id="17433" name="TextBox 344">
            <a:extLst>
              <a:ext uri="{FF2B5EF4-FFF2-40B4-BE49-F238E27FC236}">
                <a16:creationId xmlns:a16="http://schemas.microsoft.com/office/drawing/2014/main" id="{E9C225A6-0C0D-4761-85A4-FBFB0E343FAC}"/>
              </a:ext>
            </a:extLst>
          </p:cNvPr>
          <p:cNvSpPr txBox="1">
            <a:spLocks noChangeArrowheads="1"/>
          </p:cNvSpPr>
          <p:nvPr/>
        </p:nvSpPr>
        <p:spPr bwMode="auto">
          <a:xfrm>
            <a:off x="884238" y="1169988"/>
            <a:ext cx="1216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2100">
                <a:solidFill>
                  <a:schemeClr val="accent2"/>
                </a:solidFill>
                <a:cs typeface="Arial" panose="020B0604020202020204" pitchFamily="34" charset="0"/>
              </a:rPr>
              <a:t>Archives</a:t>
            </a:r>
          </a:p>
        </p:txBody>
      </p:sp>
      <p:sp>
        <p:nvSpPr>
          <p:cNvPr id="17434" name="TextBox 345">
            <a:extLst>
              <a:ext uri="{FF2B5EF4-FFF2-40B4-BE49-F238E27FC236}">
                <a16:creationId xmlns:a16="http://schemas.microsoft.com/office/drawing/2014/main" id="{62D15D7F-E561-4DAE-A540-3CC0C2CBF325}"/>
              </a:ext>
            </a:extLst>
          </p:cNvPr>
          <p:cNvSpPr txBox="1">
            <a:spLocks noChangeArrowheads="1"/>
          </p:cNvSpPr>
          <p:nvPr/>
        </p:nvSpPr>
        <p:spPr bwMode="auto">
          <a:xfrm>
            <a:off x="725488" y="4132263"/>
            <a:ext cx="1095375"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2100">
                <a:solidFill>
                  <a:schemeClr val="accent2"/>
                </a:solidFill>
                <a:cs typeface="Arial" panose="020B0604020202020204" pitchFamily="34" charset="0"/>
              </a:rPr>
              <a:t>Dossier</a:t>
            </a:r>
          </a:p>
        </p:txBody>
      </p:sp>
      <p:sp>
        <p:nvSpPr>
          <p:cNvPr id="17435" name="TextBox 346">
            <a:extLst>
              <a:ext uri="{FF2B5EF4-FFF2-40B4-BE49-F238E27FC236}">
                <a16:creationId xmlns:a16="http://schemas.microsoft.com/office/drawing/2014/main" id="{04BBD960-7C92-47CF-872B-D4A25594C02D}"/>
              </a:ext>
            </a:extLst>
          </p:cNvPr>
          <p:cNvSpPr txBox="1">
            <a:spLocks noChangeArrowheads="1"/>
          </p:cNvSpPr>
          <p:nvPr/>
        </p:nvSpPr>
        <p:spPr bwMode="auto">
          <a:xfrm>
            <a:off x="2105025" y="5030788"/>
            <a:ext cx="1497013"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2100">
                <a:solidFill>
                  <a:schemeClr val="accent2"/>
                </a:solidFill>
                <a:cs typeface="Arial" panose="020B0604020202020204" pitchFamily="34" charset="0"/>
              </a:rPr>
              <a:t>Digitization</a:t>
            </a:r>
          </a:p>
        </p:txBody>
      </p:sp>
      <p:sp>
        <p:nvSpPr>
          <p:cNvPr id="17436" name="TextBox 347">
            <a:extLst>
              <a:ext uri="{FF2B5EF4-FFF2-40B4-BE49-F238E27FC236}">
                <a16:creationId xmlns:a16="http://schemas.microsoft.com/office/drawing/2014/main" id="{7E76C759-06E8-4AF4-BD2A-5EB1A6929DFB}"/>
              </a:ext>
            </a:extLst>
          </p:cNvPr>
          <p:cNvSpPr txBox="1">
            <a:spLocks noChangeArrowheads="1"/>
          </p:cNvSpPr>
          <p:nvPr/>
        </p:nvSpPr>
        <p:spPr bwMode="auto">
          <a:xfrm>
            <a:off x="2251075" y="2233613"/>
            <a:ext cx="1928813"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2100">
                <a:solidFill>
                  <a:schemeClr val="accent2"/>
                </a:solidFill>
                <a:cs typeface="Arial" panose="020B0604020202020204" pitchFamily="34" charset="0"/>
              </a:rPr>
              <a:t>Data Capture</a:t>
            </a:r>
          </a:p>
        </p:txBody>
      </p:sp>
      <p:sp>
        <p:nvSpPr>
          <p:cNvPr id="17437" name="TextBox 348">
            <a:extLst>
              <a:ext uri="{FF2B5EF4-FFF2-40B4-BE49-F238E27FC236}">
                <a16:creationId xmlns:a16="http://schemas.microsoft.com/office/drawing/2014/main" id="{F9A5100D-7952-4B6D-85B4-2AD7FD00A674}"/>
              </a:ext>
            </a:extLst>
          </p:cNvPr>
          <p:cNvSpPr txBox="1">
            <a:spLocks noChangeArrowheads="1"/>
          </p:cNvSpPr>
          <p:nvPr/>
        </p:nvSpPr>
        <p:spPr bwMode="auto">
          <a:xfrm>
            <a:off x="4437063" y="4235450"/>
            <a:ext cx="935037"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2100">
                <a:solidFill>
                  <a:schemeClr val="accent2"/>
                </a:solidFill>
                <a:cs typeface="Arial" panose="020B0604020202020204" pitchFamily="34" charset="0"/>
              </a:rPr>
              <a:t>IPAS</a:t>
            </a:r>
          </a:p>
        </p:txBody>
      </p:sp>
      <p:sp>
        <p:nvSpPr>
          <p:cNvPr id="17438" name="TextBox 349">
            <a:extLst>
              <a:ext uri="{FF2B5EF4-FFF2-40B4-BE49-F238E27FC236}">
                <a16:creationId xmlns:a16="http://schemas.microsoft.com/office/drawing/2014/main" id="{0EF8147A-8549-4499-A1CA-18789E4B7115}"/>
              </a:ext>
            </a:extLst>
          </p:cNvPr>
          <p:cNvSpPr txBox="1">
            <a:spLocks noChangeArrowheads="1"/>
          </p:cNvSpPr>
          <p:nvPr/>
        </p:nvSpPr>
        <p:spPr bwMode="auto">
          <a:xfrm>
            <a:off x="5764213" y="5165725"/>
            <a:ext cx="153035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2100">
                <a:solidFill>
                  <a:schemeClr val="accent2"/>
                </a:solidFill>
                <a:cs typeface="Arial" panose="020B0604020202020204" pitchFamily="34" charset="0"/>
              </a:rPr>
              <a:t>Journal / Letters</a:t>
            </a:r>
          </a:p>
        </p:txBody>
      </p:sp>
      <p:sp>
        <p:nvSpPr>
          <p:cNvPr id="17439" name="TextBox 350">
            <a:extLst>
              <a:ext uri="{FF2B5EF4-FFF2-40B4-BE49-F238E27FC236}">
                <a16:creationId xmlns:a16="http://schemas.microsoft.com/office/drawing/2014/main" id="{DD716E8A-6870-4F83-9DB1-8670FEEA7C7D}"/>
              </a:ext>
            </a:extLst>
          </p:cNvPr>
          <p:cNvSpPr txBox="1">
            <a:spLocks noChangeArrowheads="1"/>
          </p:cNvSpPr>
          <p:nvPr/>
        </p:nvSpPr>
        <p:spPr bwMode="auto">
          <a:xfrm>
            <a:off x="5657850" y="3716338"/>
            <a:ext cx="1528763"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2100">
                <a:solidFill>
                  <a:schemeClr val="accent2"/>
                </a:solidFill>
                <a:cs typeface="Arial" panose="020B0604020202020204" pitchFamily="34" charset="0"/>
              </a:rPr>
              <a:t>Certificates</a:t>
            </a:r>
          </a:p>
        </p:txBody>
      </p:sp>
      <p:sp>
        <p:nvSpPr>
          <p:cNvPr id="72" name="Title 1">
            <a:extLst>
              <a:ext uri="{FF2B5EF4-FFF2-40B4-BE49-F238E27FC236}">
                <a16:creationId xmlns:a16="http://schemas.microsoft.com/office/drawing/2014/main" id="{4E564A9C-188D-47F1-AFE7-ADC66403DACD}"/>
              </a:ext>
            </a:extLst>
          </p:cNvPr>
          <p:cNvSpPr txBox="1">
            <a:spLocks/>
          </p:cNvSpPr>
          <p:nvPr/>
        </p:nvSpPr>
        <p:spPr bwMode="auto">
          <a:xfrm>
            <a:off x="-49213" y="234950"/>
            <a:ext cx="8961438" cy="941388"/>
          </a:xfrm>
          <a:prstGeom prst="rect">
            <a:avLst/>
          </a:prstGeom>
          <a:noFill/>
          <a:ln>
            <a:noFill/>
          </a:ln>
        </p:spPr>
        <p:txBody>
          <a:bodyPr/>
          <a:lstStyle/>
          <a:p>
            <a:pPr algn="ctr">
              <a:defRPr/>
            </a:pPr>
            <a:r>
              <a:rPr lang="en-US" altLang="en-US" sz="3200" dirty="0">
                <a:solidFill>
                  <a:srgbClr val="00408C"/>
                </a:solidFill>
                <a:latin typeface="+mn-lt"/>
              </a:rPr>
              <a:t>From Manual to Electronic Processing</a:t>
            </a:r>
            <a:endParaRPr lang="en-SG" altLang="en-US" sz="3200" dirty="0">
              <a:solidFill>
                <a:srgbClr val="00408C"/>
              </a:solidFill>
              <a:latin typeface="+mn-lt"/>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a:extLst>
              <a:ext uri="{FF2B5EF4-FFF2-40B4-BE49-F238E27FC236}">
                <a16:creationId xmlns:a16="http://schemas.microsoft.com/office/drawing/2014/main" id="{ED1E9253-53CA-42ED-B0EE-D14AE1F11ED3}"/>
              </a:ext>
            </a:extLst>
          </p:cNvPr>
          <p:cNvSpPr>
            <a:spLocks noGrp="1" noChangeArrowheads="1"/>
          </p:cNvSpPr>
          <p:nvPr>
            <p:ph type="title"/>
          </p:nvPr>
        </p:nvSpPr>
        <p:spPr/>
        <p:txBody>
          <a:bodyPr/>
          <a:lstStyle/>
          <a:p>
            <a:endParaRPr lang="en-US" altLang="en-US"/>
          </a:p>
        </p:txBody>
      </p:sp>
      <p:sp>
        <p:nvSpPr>
          <p:cNvPr id="18435" name="Slide Number Placeholder 3">
            <a:extLst>
              <a:ext uri="{FF2B5EF4-FFF2-40B4-BE49-F238E27FC236}">
                <a16:creationId xmlns:a16="http://schemas.microsoft.com/office/drawing/2014/main" id="{B15A8F95-AD12-487D-B0A4-9047C5306CFC}"/>
              </a:ext>
            </a:extLst>
          </p:cNvPr>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2200">
                <a:solidFill>
                  <a:schemeClr val="bg1"/>
                </a:solidFill>
                <a:latin typeface="Arial" panose="020B0604020202020204" pitchFamily="34" charset="0"/>
                <a:ea typeface="ヒラギノ角ゴ Pro W3"/>
                <a:cs typeface="ヒラギノ角ゴ Pro W3"/>
              </a:defRPr>
            </a:lvl9pPr>
          </a:lstStyle>
          <a:p>
            <a:fld id="{47058198-8E90-4234-A7A7-E751F4645B8E}" type="slidenum">
              <a:rPr lang="fr-FR" altLang="en-US" smtClean="0">
                <a:solidFill>
                  <a:srgbClr val="000000"/>
                </a:solidFill>
              </a:rPr>
              <a:pPr/>
              <a:t>9</a:t>
            </a:fld>
            <a:endParaRPr lang="fr-FR" altLang="en-US">
              <a:solidFill>
                <a:srgbClr val="000000"/>
              </a:solidFill>
            </a:endParaRPr>
          </a:p>
        </p:txBody>
      </p:sp>
      <p:pic>
        <p:nvPicPr>
          <p:cNvPr id="18436" name="Content Placeholder 6">
            <a:extLst>
              <a:ext uri="{FF2B5EF4-FFF2-40B4-BE49-F238E27FC236}">
                <a16:creationId xmlns:a16="http://schemas.microsoft.com/office/drawing/2014/main" id="{7D50CE14-3076-4454-BDF9-F242E0BC4F7E}"/>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0" y="0"/>
            <a:ext cx="9144000" cy="6858000"/>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arrow_POWER_USER_SEPARATOR_ICONS_direction_POWER_USER_SEPARATOR_ICONS_way_POWER_USER_SEPARATOR_ICONS_movement_POWER_USER_SEPARATOR_ICONS_point_POWER_USER_SEPARATOR_ICONS_sign_POWER_USER_SEPARATOR_ICONS_next_POWER_USER_SEPARATOR_ICONS_up_POWER_USER_SEPARATOR_ICONS_growth"/>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arrow_POWER_USER_SEPARATOR_ICONS_direction_POWER_USER_SEPARATOR_ICONS_way_POWER_USER_SEPARATOR_ICONS_movement_POWER_USER_SEPARATOR_ICONS_point_POWER_USER_SEPARATOR_ICONS_sign_POWER_USER_SEPARATOR_ICONS_next_POWER_USER_SEPARATOR_ICONS_up_POWER_USER_SEPARATOR_ICONS_growth"/>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arrow_POWER_USER_SEPARATOR_ICONS_direction_POWER_USER_SEPARATOR_ICONS_way_POWER_USER_SEPARATOR_ICONS_movement_POWER_USER_SEPARATOR_ICONS_point_POWER_USER_SEPARATOR_ICONS_sign_POWER_USER_SEPARATOR_ICONS_next_POWER_USER_SEPARATOR_ICONS_up_POWER_USER_SEPARATOR_ICONS_growth"/>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arrow_POWER_USER_SEPARATOR_ICONS_direction_POWER_USER_SEPARATOR_ICONS_way_POWER_USER_SEPARATOR_ICONS_movement_POWER_USER_SEPARATOR_ICONS_point_POWER_USER_SEPARATOR_ICONS_sign_POWER_USER_SEPARATOR_ICONS_next_POWER_USER_SEPARATOR_ICONS_up_POWER_USER_SEPARATOR_ICONS_growth"/>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arrow_POWER_USER_SEPARATOR_ICONS_direction_POWER_USER_SEPARATOR_ICONS_way_POWER_USER_SEPARATOR_ICONS_movement_POWER_USER_SEPARATOR_ICONS_point_POWER_USER_SEPARATOR_ICONS_sign_POWER_USER_SEPARATOR_ICONS_next_POWER_USER_SEPARATOR_ICONS_up_POWER_USER_SEPARATOR_ICONS_growth"/>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arrow_POWER_USER_SEPARATOR_ICONS_direction_POWER_USER_SEPARATOR_ICONS_way_POWER_USER_SEPARATOR_ICONS_movement_POWER_USER_SEPARATOR_ICONS_point_POWER_USER_SEPARATOR_ICONS_sign_POWER_USER_SEPARATOR_ICONS_next_POWER_USER_SEPARATOR_ICONS_up_POWER_USER_SEPARATOR_ICONS_growth"/>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book*booklet*books*culture*library*bookmark*literature*read*"/>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arrow_POWER_USER_SEPARATOR_ICONS_direction_POWER_USER_SEPARATOR_ICONS_way_POWER_USER_SEPARATOR_ICONS_movement_POWER_USER_SEPARATOR_ICONS_point_POWER_USER_SEPARATOR_ICONS_sign_POWER_USER_SEPARATOR_ICONS_next_POWER_USER_SEPARATOR_ICONS_up_POWER_USER_SEPARATOR_ICONS_growth"/>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arrow_POWER_USER_SEPARATOR_ICONS_direction_POWER_USER_SEPARATOR_ICONS_way_POWER_USER_SEPARATOR_ICONS_movement_POWER_USER_SEPARATOR_ICONS_point_POWER_USER_SEPARATOR_ICONS_sign_POWER_USER_SEPARATOR_ICONS_next_POWER_USER_SEPARATOR_ICONS_up_POWER_USER_SEPARATOR_ICONS_growth"/>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arrow_POWER_USER_SEPARATOR_ICONS_direction_POWER_USER_SEPARATOR_ICONS_way_POWER_USER_SEPARATOR_ICONS_movement_POWER_USER_SEPARATOR_ICONS_point_POWER_USER_SEPARATOR_ICONS_sign_POWER_USER_SEPARATOR_ICONS_next_POWER_USER_SEPARATOR_ICONS_up_POWER_USER_SEPARATOR_ICONS_growth"/>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arrow_POWER_USER_SEPARATOR_ICONS_direction_POWER_USER_SEPARATOR_ICONS_way_POWER_USER_SEPARATOR_ICONS_movement_POWER_USER_SEPARATOR_ICONS_point_POWER_USER_SEPARATOR_ICONS_sign_POWER_USER_SEPARATOR_ICONS_next_POWER_USER_SEPARATOR_ICONS_up_POWER_USER_SEPARATOR_ICONS_growth"/>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computer"/>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user_POWER_USER_SEPARATOR_ICONS_profile_POWER_USER_SEPARATOR_ICONS_personal-address_POWER_USER_SEPARATOR_ICONS_person_POWER_USER_SEPARATOR_ICONS_manager_POWER_USER_SEPARATOR_ICONS_management_POWER_USER_SEPARATOR_ICONS_info_POWER_USER_SEPARATOR_ICONS_industry_POWER_USER_SEPARATOR_ICONS_head_POWER_USER_SEPARATOR_ICONS_contact_POWER_USER_SEPARATOR_ICONS_collar_POWER_USER_SEPARATOR_ICONS_business_POWER_USER_SEPARATOR_ICONS_boss_POWER_USER_SEPARATOR_ICONS_user-profile"/>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locker_POWER_USER_SEPARATOR_ICONS_gym_POWER_USER_SEPARATOR_ICONS_lockers_POWER_USER_SEPARATOR_ICONS_school"/>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arrow_POWER_USER_SEPARATOR_ICONS_direction_POWER_USER_SEPARATOR_ICONS_way_POWER_USER_SEPARATOR_ICONS_movement_POWER_USER_SEPARATOR_ICONS_point_POWER_USER_SEPARATOR_ICONS_sign_POWER_USER_SEPARATOR_ICONS_next_POWER_USER_SEPARATOR_ICONS_up_POWER_USER_SEPARATOR_ICONS_growth"/>
</p:tagLst>
</file>

<file path=ppt/theme/theme1.xml><?xml version="1.0" encoding="utf-8"?>
<a:theme xmlns:a="http://schemas.openxmlformats.org/drawingml/2006/main" name="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Arial"/>
        <a:ea typeface=""/>
        <a:cs typeface="Arial Unicode MS"/>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ts val="550"/>
          </a:spcBef>
          <a:spcAft>
            <a:spcPct val="0"/>
          </a:spcAft>
          <a:buClr>
            <a:srgbClr val="000000"/>
          </a:buClr>
          <a:buSzPct val="100000"/>
          <a:buFont typeface="Times New Roman" pitchFamily="16" charset="0"/>
          <a:buNone/>
          <a:tabLst/>
          <a:defRPr kumimoji="0" lang="en-GB" altLang="en-US" sz="2200" b="0" i="0" u="none" strike="noStrike" cap="none" normalizeH="0" baseline="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ts val="550"/>
          </a:spcBef>
          <a:spcAft>
            <a:spcPct val="0"/>
          </a:spcAft>
          <a:buClr>
            <a:srgbClr val="000000"/>
          </a:buClr>
          <a:buSzPct val="100000"/>
          <a:buFont typeface="Times New Roman" pitchFamily="16" charset="0"/>
          <a:buNone/>
          <a:tabLst/>
          <a:defRPr kumimoji="0" lang="en-GB" altLang="en-US" sz="2200" b="0" i="0" u="none" strike="noStrike" cap="none" normalizeH="0" baseline="0" smtClean="0">
            <a:ln>
              <a:noFill/>
            </a:ln>
            <a:solidFill>
              <a:schemeClr val="bg1"/>
            </a:solidFill>
            <a:effectLst/>
            <a:latin typeface="Arial"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Arial"/>
        <a:ea typeface=""/>
        <a:cs typeface="Arial Unicode MS"/>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ts val="550"/>
          </a:spcBef>
          <a:spcAft>
            <a:spcPct val="0"/>
          </a:spcAft>
          <a:buClr>
            <a:srgbClr val="000000"/>
          </a:buClr>
          <a:buSzPct val="100000"/>
          <a:buFont typeface="Times New Roman" pitchFamily="16" charset="0"/>
          <a:buNone/>
          <a:tabLst/>
          <a:defRPr kumimoji="0" lang="en-GB" altLang="en-US" sz="2200" b="0" i="0" u="none" strike="noStrike" cap="none" normalizeH="0" baseline="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ts val="550"/>
          </a:spcBef>
          <a:spcAft>
            <a:spcPct val="0"/>
          </a:spcAft>
          <a:buClr>
            <a:srgbClr val="000000"/>
          </a:buClr>
          <a:buSzPct val="100000"/>
          <a:buFont typeface="Times New Roman" pitchFamily="16" charset="0"/>
          <a:buNone/>
          <a:tabLst/>
          <a:defRPr kumimoji="0" lang="en-GB" altLang="en-US" sz="2200" b="0" i="0" u="none" strike="noStrike" cap="none" normalizeH="0" baseline="0" smtClean="0">
            <a:ln>
              <a:noFill/>
            </a:ln>
            <a:solidFill>
              <a:schemeClr val="bg1"/>
            </a:solidFill>
            <a:effectLst/>
            <a:latin typeface="Arial"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152</TotalTime>
  <Words>1755</Words>
  <Application>Microsoft Office PowerPoint</Application>
  <PresentationFormat>On-screen Show (4:3)</PresentationFormat>
  <Paragraphs>393</Paragraphs>
  <Slides>68</Slides>
  <Notes>18</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68</vt:i4>
      </vt:variant>
    </vt:vector>
  </HeadingPairs>
  <TitlesOfParts>
    <vt:vector size="83" baseType="lpstr">
      <vt:lpstr>Gulim</vt:lpstr>
      <vt:lpstr>Malgun Gothic</vt:lpstr>
      <vt:lpstr>Malgun Gothic</vt:lpstr>
      <vt:lpstr>Arial</vt:lpstr>
      <vt:lpstr>Arial Unicode MS</vt:lpstr>
      <vt:lpstr>Calibri</vt:lpstr>
      <vt:lpstr>HY견고딕</vt:lpstr>
      <vt:lpstr>Microsoft Sans Serif</vt:lpstr>
      <vt:lpstr>Times New Roman</vt:lpstr>
      <vt:lpstr>Wingdings</vt:lpstr>
      <vt:lpstr>ヒラギノ角ゴ Pro W3</vt:lpstr>
      <vt:lpstr>산돌고딕 M</vt:lpstr>
      <vt:lpstr>Office Theme</vt:lpstr>
      <vt:lpstr>1_Office Theme</vt:lpstr>
      <vt:lpstr>Visi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P Office Digital Transformation</vt:lpstr>
      <vt:lpstr>IP Office Functions and Services</vt:lpstr>
      <vt:lpstr>What is IPAS?</vt:lpstr>
      <vt:lpstr>More IPAS Features</vt:lpstr>
      <vt:lpstr>IPAS Customzation</vt:lpstr>
      <vt:lpstr>Copyright Workflow in IPAS</vt:lpstr>
      <vt:lpstr>Copyright Administration in IPAS</vt:lpstr>
      <vt:lpstr>Copyright Office Action in IPAS</vt:lpstr>
      <vt:lpstr>PowerPoint Presentation</vt:lpstr>
      <vt:lpstr>IP Records in IPAS</vt:lpstr>
      <vt:lpstr>PowerPoint Presentation</vt:lpstr>
      <vt:lpstr>IPAS Data Input Verification – Check List</vt:lpstr>
      <vt:lpstr>PowerPoint Presentation</vt:lpstr>
      <vt:lpstr>PowerPoint Presentation</vt:lpstr>
      <vt:lpstr>IPAS 4 – Cloud Version</vt:lpstr>
      <vt:lpstr>Productivity Statist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IPO File Considerations</vt:lpstr>
      <vt:lpstr>What is WIPO Publish?</vt:lpstr>
      <vt:lpstr>PowerPoint Presentation</vt:lpstr>
      <vt:lpstr>From Paper Registry to Electronic Registry</vt:lpstr>
      <vt:lpstr>PowerPoint Presentation</vt:lpstr>
      <vt:lpstr>PowerPoint Presentation</vt:lpstr>
      <vt:lpstr>PowerPoint Presentation</vt:lpstr>
      <vt:lpstr>Fully customizable and configurable</vt:lpstr>
      <vt:lpstr>Fully customizable and configurable</vt:lpstr>
      <vt:lpstr>PowerPoint Presentation</vt:lpstr>
      <vt:lpstr>WIPO Publish Regional Configuration</vt:lpstr>
      <vt:lpstr>What is IPAS Madrid Module?</vt:lpstr>
      <vt:lpstr>PowerPoint Presentation</vt:lpstr>
      <vt:lpstr>Madrid Outgoing Notifications to the International Bureau of WIPO </vt:lpstr>
      <vt:lpstr>Madrid Outgoing Notifications to the International Bureau of WIPO </vt:lpstr>
      <vt:lpstr>IPAS Madrid Dashboard</vt:lpstr>
      <vt:lpstr>IPAS Madrid – Madrid Incoming Dashboard</vt:lpstr>
      <vt:lpstr>IPAS Madrid Incoming Dashboard</vt:lpstr>
      <vt:lpstr>IPAS Madrid: Incoming Dashboard</vt:lpstr>
      <vt:lpstr>IPAS Madrid Improvements : Madrid Outgoing Dashboard</vt:lpstr>
      <vt:lpstr>IPAS Madrid: Madrid Outgoing Dashboard</vt:lpstr>
      <vt:lpstr>IPAS Madrid - Support for Irregularity Notification</vt:lpstr>
      <vt:lpstr>IPAS Madrid: Support for Irregularity notification </vt:lpstr>
      <vt:lpstr>IP Office Digital Transformation</vt:lpstr>
      <vt:lpstr>Thank you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XML4IP - The Business Case</dc:title>
  <dc:creator>Waring</dc:creator>
  <cp:keywords>FOR OFFICIAL USE ONLY</cp:keywords>
  <cp:lastModifiedBy>Gregory Sadyalunda</cp:lastModifiedBy>
  <cp:revision>543</cp:revision>
  <cp:lastPrinted>1601-01-01T00:00:00Z</cp:lastPrinted>
  <dcterms:created xsi:type="dcterms:W3CDTF">2010-04-26T12:25:09Z</dcterms:created>
  <dcterms:modified xsi:type="dcterms:W3CDTF">2026-05-09T13:44: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92d500b0-1cd6-40c2-92c1-c4e1024e06a4</vt:lpwstr>
  </property>
  <property fmtid="{D5CDD505-2E9C-101B-9397-08002B2CF9AE}" pid="3" name="Classification">
    <vt:lpwstr>FOUO</vt:lpwstr>
  </property>
  <property fmtid="{D5CDD505-2E9C-101B-9397-08002B2CF9AE}" pid="4" name="VisualMarkings">
    <vt:lpwstr>Footer</vt:lpwstr>
  </property>
  <property fmtid="{D5CDD505-2E9C-101B-9397-08002B2CF9AE}" pid="5" name="Alignment">
    <vt:lpwstr>Centre</vt:lpwstr>
  </property>
  <property fmtid="{D5CDD505-2E9C-101B-9397-08002B2CF9AE}" pid="6" name="Language">
    <vt:lpwstr>English</vt:lpwstr>
  </property>
</Properties>
</file>